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765" r:id="rId6"/>
    <p:sldMasterId id="2147483780" r:id="rId7"/>
  </p:sldMasterIdLst>
  <p:notesMasterIdLst>
    <p:notesMasterId r:id="rId36"/>
  </p:notesMasterIdLst>
  <p:handoutMasterIdLst>
    <p:handoutMasterId r:id="rId37"/>
  </p:handoutMasterIdLst>
  <p:sldIdLst>
    <p:sldId id="551" r:id="rId8"/>
    <p:sldId id="562" r:id="rId9"/>
    <p:sldId id="563" r:id="rId10"/>
    <p:sldId id="582" r:id="rId11"/>
    <p:sldId id="568" r:id="rId12"/>
    <p:sldId id="569" r:id="rId13"/>
    <p:sldId id="570" r:id="rId14"/>
    <p:sldId id="559" r:id="rId15"/>
    <p:sldId id="381" r:id="rId16"/>
    <p:sldId id="382" r:id="rId17"/>
    <p:sldId id="504" r:id="rId18"/>
    <p:sldId id="564" r:id="rId19"/>
    <p:sldId id="565" r:id="rId20"/>
    <p:sldId id="408" r:id="rId21"/>
    <p:sldId id="466" r:id="rId22"/>
    <p:sldId id="447" r:id="rId23"/>
    <p:sldId id="572" r:id="rId24"/>
    <p:sldId id="573" r:id="rId25"/>
    <p:sldId id="418" r:id="rId26"/>
    <p:sldId id="454" r:id="rId27"/>
    <p:sldId id="417" r:id="rId28"/>
    <p:sldId id="575" r:id="rId29"/>
    <p:sldId id="576" r:id="rId30"/>
    <p:sldId id="578" r:id="rId31"/>
    <p:sldId id="579" r:id="rId32"/>
    <p:sldId id="581" r:id="rId33"/>
    <p:sldId id="444" r:id="rId34"/>
    <p:sldId id="445" r:id="rId35"/>
  </p:sldIdLst>
  <p:sldSz cx="9144000" cy="5143500" type="screen16x9"/>
  <p:notesSz cx="6811963" cy="9942513"/>
  <p:defaultTextStyle>
    <a:defPPr>
      <a:defRPr lang="nl-NL"/>
    </a:defPPr>
    <a:lvl1pPr marL="0" algn="l" defTabSz="457078" rtl="0" eaLnBrk="1" latinLnBrk="0" hangingPunct="1">
      <a:defRPr sz="1800" kern="1200">
        <a:solidFill>
          <a:schemeClr val="tx1"/>
        </a:solidFill>
        <a:latin typeface="+mn-lt"/>
        <a:ea typeface="+mn-ea"/>
        <a:cs typeface="+mn-cs"/>
      </a:defRPr>
    </a:lvl1pPr>
    <a:lvl2pPr marL="457078" algn="l" defTabSz="457078" rtl="0" eaLnBrk="1" latinLnBrk="0" hangingPunct="1">
      <a:defRPr sz="1800" kern="1200">
        <a:solidFill>
          <a:schemeClr val="tx1"/>
        </a:solidFill>
        <a:latin typeface="+mn-lt"/>
        <a:ea typeface="+mn-ea"/>
        <a:cs typeface="+mn-cs"/>
      </a:defRPr>
    </a:lvl2pPr>
    <a:lvl3pPr marL="914161" algn="l" defTabSz="457078" rtl="0" eaLnBrk="1" latinLnBrk="0" hangingPunct="1">
      <a:defRPr sz="1800" kern="1200">
        <a:solidFill>
          <a:schemeClr val="tx1"/>
        </a:solidFill>
        <a:latin typeface="+mn-lt"/>
        <a:ea typeface="+mn-ea"/>
        <a:cs typeface="+mn-cs"/>
      </a:defRPr>
    </a:lvl3pPr>
    <a:lvl4pPr marL="1371240" algn="l" defTabSz="457078" rtl="0" eaLnBrk="1" latinLnBrk="0" hangingPunct="1">
      <a:defRPr sz="1800" kern="1200">
        <a:solidFill>
          <a:schemeClr val="tx1"/>
        </a:solidFill>
        <a:latin typeface="+mn-lt"/>
        <a:ea typeface="+mn-ea"/>
        <a:cs typeface="+mn-cs"/>
      </a:defRPr>
    </a:lvl4pPr>
    <a:lvl5pPr marL="1828321" algn="l" defTabSz="457078" rtl="0" eaLnBrk="1" latinLnBrk="0" hangingPunct="1">
      <a:defRPr sz="1800" kern="1200">
        <a:solidFill>
          <a:schemeClr val="tx1"/>
        </a:solidFill>
        <a:latin typeface="+mn-lt"/>
        <a:ea typeface="+mn-ea"/>
        <a:cs typeface="+mn-cs"/>
      </a:defRPr>
    </a:lvl5pPr>
    <a:lvl6pPr marL="2285398" algn="l" defTabSz="457078" rtl="0" eaLnBrk="1" latinLnBrk="0" hangingPunct="1">
      <a:defRPr sz="1800" kern="1200">
        <a:solidFill>
          <a:schemeClr val="tx1"/>
        </a:solidFill>
        <a:latin typeface="+mn-lt"/>
        <a:ea typeface="+mn-ea"/>
        <a:cs typeface="+mn-cs"/>
      </a:defRPr>
    </a:lvl6pPr>
    <a:lvl7pPr marL="2742476" algn="l" defTabSz="457078" rtl="0" eaLnBrk="1" latinLnBrk="0" hangingPunct="1">
      <a:defRPr sz="1800" kern="1200">
        <a:solidFill>
          <a:schemeClr val="tx1"/>
        </a:solidFill>
        <a:latin typeface="+mn-lt"/>
        <a:ea typeface="+mn-ea"/>
        <a:cs typeface="+mn-cs"/>
      </a:defRPr>
    </a:lvl7pPr>
    <a:lvl8pPr marL="3199556" algn="l" defTabSz="457078" rtl="0" eaLnBrk="1" latinLnBrk="0" hangingPunct="1">
      <a:defRPr sz="1800" kern="1200">
        <a:solidFill>
          <a:schemeClr val="tx1"/>
        </a:solidFill>
        <a:latin typeface="+mn-lt"/>
        <a:ea typeface="+mn-ea"/>
        <a:cs typeface="+mn-cs"/>
      </a:defRPr>
    </a:lvl8pPr>
    <a:lvl9pPr marL="3656636" algn="l" defTabSz="45707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833">
          <p15:clr>
            <a:srgbClr val="A4A3A4"/>
          </p15:clr>
        </p15:guide>
        <p15:guide id="2" pos="5609">
          <p15:clr>
            <a:srgbClr val="A4A3A4"/>
          </p15:clr>
        </p15:guide>
        <p15:guide id="3" orient="horz" pos="898">
          <p15:clr>
            <a:srgbClr val="A4A3A4"/>
          </p15:clr>
        </p15:guide>
        <p15:guide id="4" orient="horz" pos="2714">
          <p15:clr>
            <a:srgbClr val="A4A3A4"/>
          </p15:clr>
        </p15:guide>
        <p15:guide id="5" orient="horz" pos="172">
          <p15:clr>
            <a:srgbClr val="A4A3A4"/>
          </p15:clr>
        </p15:guide>
        <p15:guide id="6" orient="horz" pos="2132">
          <p15:clr>
            <a:srgbClr val="A4A3A4"/>
          </p15:clr>
        </p15:guide>
        <p15:guide id="7" orient="horz" pos="573">
          <p15:clr>
            <a:srgbClr val="A4A3A4"/>
          </p15:clr>
        </p15:guide>
        <p15:guide id="8" pos="167">
          <p15:clr>
            <a:srgbClr val="A4A3A4"/>
          </p15:clr>
        </p15:guide>
        <p15:guide id="9" pos="2879">
          <p15:clr>
            <a:srgbClr val="A4A3A4"/>
          </p15:clr>
        </p15:guide>
        <p15:guide id="10" orient="horz" pos="144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guide id="3" orient="horz" pos="3127">
          <p15:clr>
            <a:srgbClr val="A4A3A4"/>
          </p15:clr>
        </p15:guide>
        <p15:guide id="4" pos="2141">
          <p15:clr>
            <a:srgbClr val="A4A3A4"/>
          </p15:clr>
        </p15:guide>
        <p15:guide id="5" orient="horz" pos="2885">
          <p15:clr>
            <a:srgbClr val="A4A3A4"/>
          </p15:clr>
        </p15:guide>
        <p15:guide id="6" orient="horz" pos="3132">
          <p15:clr>
            <a:srgbClr val="A4A3A4"/>
          </p15:clr>
        </p15:guide>
        <p15:guide id="7" pos="2165">
          <p15:clr>
            <a:srgbClr val="A4A3A4"/>
          </p15:clr>
        </p15:guide>
        <p15:guide id="8" pos="214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arriet Kaol" initials="H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5415"/>
    <a:srgbClr val="EE3E27"/>
    <a:srgbClr val="207C9E"/>
    <a:srgbClr val="4D96B1"/>
    <a:srgbClr val="79B0C5"/>
    <a:srgbClr val="A6CBD8"/>
    <a:srgbClr val="000000"/>
    <a:srgbClr val="1E92C0"/>
    <a:srgbClr val="972B0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525" autoAdjust="0"/>
    <p:restoredTop sz="68685" autoAdjust="0"/>
  </p:normalViewPr>
  <p:slideViewPr>
    <p:cSldViewPr snapToGrid="0" snapToObjects="1">
      <p:cViewPr>
        <p:scale>
          <a:sx n="111" d="100"/>
          <a:sy n="111" d="100"/>
        </p:scale>
        <p:origin x="-1650" y="-72"/>
      </p:cViewPr>
      <p:guideLst>
        <p:guide orient="horz" pos="833"/>
        <p:guide orient="horz" pos="898"/>
        <p:guide orient="horz" pos="2714"/>
        <p:guide orient="horz" pos="172"/>
        <p:guide orient="horz" pos="2132"/>
        <p:guide orient="horz" pos="573"/>
        <p:guide orient="horz" pos="1440"/>
        <p:guide pos="5609"/>
        <p:guide pos="167"/>
        <p:guide pos="2879"/>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p:scale>
          <a:sx n="150" d="100"/>
          <a:sy n="150" d="100"/>
        </p:scale>
        <p:origin x="-1560" y="72"/>
      </p:cViewPr>
      <p:guideLst>
        <p:guide orient="horz" pos="2880"/>
        <p:guide orient="horz" pos="3127"/>
        <p:guide orient="horz" pos="2885"/>
        <p:guide orient="horz" pos="3132"/>
        <p:guide pos="2160"/>
        <p:guide pos="2141"/>
        <p:guide pos="2165"/>
        <p:guide pos="214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51851" cy="497126"/>
          </a:xfrm>
          <a:prstGeom prst="rect">
            <a:avLst/>
          </a:prstGeom>
        </p:spPr>
        <p:txBody>
          <a:bodyPr vert="horz" lIns="95734" tIns="47867" rIns="95734" bIns="47867" rtlCol="0"/>
          <a:lstStyle>
            <a:lvl1pPr algn="l">
              <a:defRPr sz="1300"/>
            </a:lvl1pPr>
          </a:lstStyle>
          <a:p>
            <a:endParaRPr lang="en-GB" dirty="0"/>
          </a:p>
        </p:txBody>
      </p:sp>
      <p:sp>
        <p:nvSpPr>
          <p:cNvPr id="3" name="Tijdelijke aanduiding voor datum 2"/>
          <p:cNvSpPr>
            <a:spLocks noGrp="1"/>
          </p:cNvSpPr>
          <p:nvPr>
            <p:ph type="dt" sz="quarter" idx="1"/>
          </p:nvPr>
        </p:nvSpPr>
        <p:spPr>
          <a:xfrm>
            <a:off x="3858536" y="0"/>
            <a:ext cx="2951851" cy="497126"/>
          </a:xfrm>
          <a:prstGeom prst="rect">
            <a:avLst/>
          </a:prstGeom>
        </p:spPr>
        <p:txBody>
          <a:bodyPr vert="horz" lIns="95734" tIns="47867" rIns="95734" bIns="47867" rtlCol="0"/>
          <a:lstStyle>
            <a:lvl1pPr algn="r">
              <a:defRPr sz="1300"/>
            </a:lvl1pPr>
          </a:lstStyle>
          <a:p>
            <a:fld id="{F8F56AF3-A95B-7C4A-8D7D-6218DCD7C90E}" type="datetimeFigureOut">
              <a:rPr lang="en-GB" smtClean="0"/>
              <a:t>22/02/2016</a:t>
            </a:fld>
            <a:endParaRPr lang="en-GB" dirty="0"/>
          </a:p>
        </p:txBody>
      </p:sp>
      <p:sp>
        <p:nvSpPr>
          <p:cNvPr id="4" name="Tijdelijke aanduiding voor voettekst 3"/>
          <p:cNvSpPr>
            <a:spLocks noGrp="1"/>
          </p:cNvSpPr>
          <p:nvPr>
            <p:ph type="ftr" sz="quarter" idx="2"/>
          </p:nvPr>
        </p:nvSpPr>
        <p:spPr>
          <a:xfrm>
            <a:off x="0" y="9443661"/>
            <a:ext cx="2951851" cy="497126"/>
          </a:xfrm>
          <a:prstGeom prst="rect">
            <a:avLst/>
          </a:prstGeom>
        </p:spPr>
        <p:txBody>
          <a:bodyPr vert="horz" lIns="95734" tIns="47867" rIns="95734" bIns="47867" rtlCol="0" anchor="b"/>
          <a:lstStyle>
            <a:lvl1pPr algn="l">
              <a:defRPr sz="1300"/>
            </a:lvl1pPr>
          </a:lstStyle>
          <a:p>
            <a:endParaRPr lang="en-GB" dirty="0"/>
          </a:p>
        </p:txBody>
      </p:sp>
      <p:sp>
        <p:nvSpPr>
          <p:cNvPr id="5" name="Tijdelijke aanduiding voor dianummer 4"/>
          <p:cNvSpPr>
            <a:spLocks noGrp="1"/>
          </p:cNvSpPr>
          <p:nvPr>
            <p:ph type="sldNum" sz="quarter" idx="3"/>
          </p:nvPr>
        </p:nvSpPr>
        <p:spPr>
          <a:xfrm>
            <a:off x="3858536" y="9443661"/>
            <a:ext cx="2951851" cy="497126"/>
          </a:xfrm>
          <a:prstGeom prst="rect">
            <a:avLst/>
          </a:prstGeom>
        </p:spPr>
        <p:txBody>
          <a:bodyPr vert="horz" lIns="95734" tIns="47867" rIns="95734" bIns="47867" rtlCol="0" anchor="b"/>
          <a:lstStyle>
            <a:lvl1pPr algn="r">
              <a:defRPr sz="1300"/>
            </a:lvl1pPr>
          </a:lstStyle>
          <a:p>
            <a:fld id="{ABAB55A4-2AED-5E47-A098-493C7256396F}" type="slidenum">
              <a:rPr lang="en-GB" smtClean="0"/>
              <a:t>‹nr.›</a:t>
            </a:fld>
            <a:endParaRPr lang="en-GB" dirty="0"/>
          </a:p>
        </p:txBody>
      </p:sp>
    </p:spTree>
    <p:extLst>
      <p:ext uri="{BB962C8B-B14F-4D97-AF65-F5344CB8AC3E}">
        <p14:creationId xmlns:p14="http://schemas.microsoft.com/office/powerpoint/2010/main" val="41469818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51851" cy="497126"/>
          </a:xfrm>
          <a:prstGeom prst="rect">
            <a:avLst/>
          </a:prstGeom>
        </p:spPr>
        <p:txBody>
          <a:bodyPr vert="horz" lIns="95734" tIns="47867" rIns="95734" bIns="47867" rtlCol="0"/>
          <a:lstStyle>
            <a:lvl1pPr algn="l">
              <a:defRPr sz="1300"/>
            </a:lvl1pPr>
          </a:lstStyle>
          <a:p>
            <a:endParaRPr lang="en-GB" dirty="0"/>
          </a:p>
        </p:txBody>
      </p:sp>
      <p:sp>
        <p:nvSpPr>
          <p:cNvPr id="3" name="Tijdelijke aanduiding voor datum 2"/>
          <p:cNvSpPr>
            <a:spLocks noGrp="1"/>
          </p:cNvSpPr>
          <p:nvPr>
            <p:ph type="dt" idx="1"/>
          </p:nvPr>
        </p:nvSpPr>
        <p:spPr>
          <a:xfrm>
            <a:off x="3858536" y="0"/>
            <a:ext cx="2951851" cy="497126"/>
          </a:xfrm>
          <a:prstGeom prst="rect">
            <a:avLst/>
          </a:prstGeom>
        </p:spPr>
        <p:txBody>
          <a:bodyPr vert="horz" lIns="95734" tIns="47867" rIns="95734" bIns="47867" rtlCol="0"/>
          <a:lstStyle>
            <a:lvl1pPr algn="r">
              <a:defRPr sz="1300"/>
            </a:lvl1pPr>
          </a:lstStyle>
          <a:p>
            <a:fld id="{1B234C53-D52D-6B4B-BB2B-56AA80B070CD}" type="datetimeFigureOut">
              <a:rPr lang="en-GB" smtClean="0"/>
              <a:t>22/02/2016</a:t>
            </a:fld>
            <a:endParaRPr lang="en-GB" dirty="0"/>
          </a:p>
        </p:txBody>
      </p:sp>
      <p:sp>
        <p:nvSpPr>
          <p:cNvPr id="4" name="Tijdelijke aanduiding voor dia-afbeelding 3"/>
          <p:cNvSpPr>
            <a:spLocks noGrp="1" noRot="1" noChangeAspect="1"/>
          </p:cNvSpPr>
          <p:nvPr>
            <p:ph type="sldImg" idx="2"/>
          </p:nvPr>
        </p:nvSpPr>
        <p:spPr>
          <a:xfrm>
            <a:off x="92075" y="746125"/>
            <a:ext cx="6627813" cy="3729038"/>
          </a:xfrm>
          <a:prstGeom prst="rect">
            <a:avLst/>
          </a:prstGeom>
          <a:noFill/>
          <a:ln w="12700">
            <a:solidFill>
              <a:prstClr val="black"/>
            </a:solidFill>
          </a:ln>
        </p:spPr>
        <p:txBody>
          <a:bodyPr vert="horz" lIns="95734" tIns="47867" rIns="95734" bIns="47867" rtlCol="0" anchor="ctr"/>
          <a:lstStyle/>
          <a:p>
            <a:endParaRPr lang="nl-NL" dirty="0"/>
          </a:p>
        </p:txBody>
      </p:sp>
      <p:sp>
        <p:nvSpPr>
          <p:cNvPr id="5" name="Tijdelijke aanduiding voor notities 4"/>
          <p:cNvSpPr>
            <a:spLocks noGrp="1"/>
          </p:cNvSpPr>
          <p:nvPr>
            <p:ph type="body" sz="quarter" idx="3"/>
          </p:nvPr>
        </p:nvSpPr>
        <p:spPr>
          <a:xfrm>
            <a:off x="681197" y="4722694"/>
            <a:ext cx="5449570" cy="4474131"/>
          </a:xfrm>
          <a:prstGeom prst="rect">
            <a:avLst/>
          </a:prstGeom>
        </p:spPr>
        <p:txBody>
          <a:bodyPr vert="horz" lIns="95734" tIns="47867" rIns="95734" bIns="47867" rtlCol="0"/>
          <a:lstStyle/>
          <a:p>
            <a:pPr lvl="0"/>
            <a:r>
              <a:rPr lang="en-GB" dirty="0" err="1" smtClean="0"/>
              <a:t>Klik</a:t>
            </a:r>
            <a:r>
              <a:rPr lang="en-GB" dirty="0" smtClean="0"/>
              <a:t> om de </a:t>
            </a:r>
            <a:r>
              <a:rPr lang="en-GB" dirty="0" err="1" smtClean="0"/>
              <a:t>tekststijl</a:t>
            </a:r>
            <a:r>
              <a:rPr lang="en-GB" dirty="0" smtClean="0"/>
              <a:t> van het model te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6" name="Tijdelijke aanduiding voor voettekst 5"/>
          <p:cNvSpPr>
            <a:spLocks noGrp="1"/>
          </p:cNvSpPr>
          <p:nvPr>
            <p:ph type="ftr" sz="quarter" idx="4"/>
          </p:nvPr>
        </p:nvSpPr>
        <p:spPr>
          <a:xfrm>
            <a:off x="0" y="9443661"/>
            <a:ext cx="2951851" cy="497126"/>
          </a:xfrm>
          <a:prstGeom prst="rect">
            <a:avLst/>
          </a:prstGeom>
        </p:spPr>
        <p:txBody>
          <a:bodyPr vert="horz" lIns="95734" tIns="47867" rIns="95734" bIns="47867" rtlCol="0" anchor="b"/>
          <a:lstStyle>
            <a:lvl1pPr algn="l">
              <a:defRPr sz="1300"/>
            </a:lvl1pPr>
          </a:lstStyle>
          <a:p>
            <a:endParaRPr lang="en-GB" dirty="0"/>
          </a:p>
        </p:txBody>
      </p:sp>
      <p:sp>
        <p:nvSpPr>
          <p:cNvPr id="7" name="Tijdelijke aanduiding voor dianummer 6"/>
          <p:cNvSpPr>
            <a:spLocks noGrp="1"/>
          </p:cNvSpPr>
          <p:nvPr>
            <p:ph type="sldNum" sz="quarter" idx="5"/>
          </p:nvPr>
        </p:nvSpPr>
        <p:spPr>
          <a:xfrm>
            <a:off x="3858536" y="9443661"/>
            <a:ext cx="2951851" cy="497126"/>
          </a:xfrm>
          <a:prstGeom prst="rect">
            <a:avLst/>
          </a:prstGeom>
        </p:spPr>
        <p:txBody>
          <a:bodyPr vert="horz" lIns="95734" tIns="47867" rIns="95734" bIns="47867" rtlCol="0" anchor="b"/>
          <a:lstStyle>
            <a:lvl1pPr algn="r">
              <a:defRPr sz="1300"/>
            </a:lvl1pPr>
          </a:lstStyle>
          <a:p>
            <a:fld id="{30605BC1-E516-5A41-83E7-7CCB36C91AFA}" type="slidenum">
              <a:rPr lang="en-GB" smtClean="0"/>
              <a:t>‹nr.›</a:t>
            </a:fld>
            <a:endParaRPr lang="en-GB" dirty="0"/>
          </a:p>
        </p:txBody>
      </p:sp>
    </p:spTree>
    <p:extLst>
      <p:ext uri="{BB962C8B-B14F-4D97-AF65-F5344CB8AC3E}">
        <p14:creationId xmlns:p14="http://schemas.microsoft.com/office/powerpoint/2010/main" val="3236259517"/>
      </p:ext>
    </p:extLst>
  </p:cSld>
  <p:clrMap bg1="lt1" tx1="dk1" bg2="lt2" tx2="dk2" accent1="accent1" accent2="accent2" accent3="accent3" accent4="accent4" accent5="accent5" accent6="accent6" hlink="hlink" folHlink="folHlink"/>
  <p:hf hdr="0" ftr="0" dt="0"/>
  <p:notesStyle>
    <a:lvl1pPr marL="0" algn="l" defTabSz="457078" rtl="0" eaLnBrk="1" latinLnBrk="0" hangingPunct="1">
      <a:defRPr sz="1200" kern="1200">
        <a:solidFill>
          <a:schemeClr val="tx1"/>
        </a:solidFill>
        <a:latin typeface="+mn-lt"/>
        <a:ea typeface="+mn-ea"/>
        <a:cs typeface="+mn-cs"/>
      </a:defRPr>
    </a:lvl1pPr>
    <a:lvl2pPr marL="457078" algn="l" defTabSz="457078" rtl="0" eaLnBrk="1" latinLnBrk="0" hangingPunct="1">
      <a:defRPr sz="1200" kern="1200">
        <a:solidFill>
          <a:schemeClr val="tx1"/>
        </a:solidFill>
        <a:latin typeface="+mn-lt"/>
        <a:ea typeface="+mn-ea"/>
        <a:cs typeface="+mn-cs"/>
      </a:defRPr>
    </a:lvl2pPr>
    <a:lvl3pPr marL="914161" algn="l" defTabSz="457078" rtl="0" eaLnBrk="1" latinLnBrk="0" hangingPunct="1">
      <a:defRPr sz="1200" kern="1200">
        <a:solidFill>
          <a:schemeClr val="tx1"/>
        </a:solidFill>
        <a:latin typeface="+mn-lt"/>
        <a:ea typeface="+mn-ea"/>
        <a:cs typeface="+mn-cs"/>
      </a:defRPr>
    </a:lvl3pPr>
    <a:lvl4pPr marL="1371240" algn="l" defTabSz="457078" rtl="0" eaLnBrk="1" latinLnBrk="0" hangingPunct="1">
      <a:defRPr sz="1200" kern="1200">
        <a:solidFill>
          <a:schemeClr val="tx1"/>
        </a:solidFill>
        <a:latin typeface="+mn-lt"/>
        <a:ea typeface="+mn-ea"/>
        <a:cs typeface="+mn-cs"/>
      </a:defRPr>
    </a:lvl4pPr>
    <a:lvl5pPr marL="1828321" algn="l" defTabSz="457078" rtl="0" eaLnBrk="1" latinLnBrk="0" hangingPunct="1">
      <a:defRPr sz="1200" kern="1200">
        <a:solidFill>
          <a:schemeClr val="tx1"/>
        </a:solidFill>
        <a:latin typeface="+mn-lt"/>
        <a:ea typeface="+mn-ea"/>
        <a:cs typeface="+mn-cs"/>
      </a:defRPr>
    </a:lvl5pPr>
    <a:lvl6pPr marL="2285398" algn="l" defTabSz="457078" rtl="0" eaLnBrk="1" latinLnBrk="0" hangingPunct="1">
      <a:defRPr sz="1200" kern="1200">
        <a:solidFill>
          <a:schemeClr val="tx1"/>
        </a:solidFill>
        <a:latin typeface="+mn-lt"/>
        <a:ea typeface="+mn-ea"/>
        <a:cs typeface="+mn-cs"/>
      </a:defRPr>
    </a:lvl6pPr>
    <a:lvl7pPr marL="2742476" algn="l" defTabSz="457078" rtl="0" eaLnBrk="1" latinLnBrk="0" hangingPunct="1">
      <a:defRPr sz="1200" kern="1200">
        <a:solidFill>
          <a:schemeClr val="tx1"/>
        </a:solidFill>
        <a:latin typeface="+mn-lt"/>
        <a:ea typeface="+mn-ea"/>
        <a:cs typeface="+mn-cs"/>
      </a:defRPr>
    </a:lvl7pPr>
    <a:lvl8pPr marL="3199556" algn="l" defTabSz="457078" rtl="0" eaLnBrk="1" latinLnBrk="0" hangingPunct="1">
      <a:defRPr sz="1200" kern="1200">
        <a:solidFill>
          <a:schemeClr val="tx1"/>
        </a:solidFill>
        <a:latin typeface="+mn-lt"/>
        <a:ea typeface="+mn-ea"/>
        <a:cs typeface="+mn-cs"/>
      </a:defRPr>
    </a:lvl8pPr>
    <a:lvl9pPr marL="3656636" algn="l" defTabSz="4570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pPr rtl="0"/>
            <a:endParaRPr lang="en-GB" baseline="0" dirty="0" smtClean="0"/>
          </a:p>
        </p:txBody>
      </p:sp>
      <p:sp>
        <p:nvSpPr>
          <p:cNvPr id="4" name="Slide Number Placeholder 3"/>
          <p:cNvSpPr>
            <a:spLocks noGrp="1"/>
          </p:cNvSpPr>
          <p:nvPr>
            <p:ph type="sldNum" sz="quarter" idx="10"/>
          </p:nvPr>
        </p:nvSpPr>
        <p:spPr/>
        <p:txBody>
          <a:bodyPr/>
          <a:lstStyle/>
          <a:p>
            <a:fld id="{30605BC1-E516-5A41-83E7-7CCB36C91AFA}"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2440820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605BC1-E516-5A41-83E7-7CCB36C91AFA}" type="slidenum">
              <a:rPr lang="en-GB" smtClean="0"/>
              <a:t>10</a:t>
            </a:fld>
            <a:endParaRPr lang="en-GB" dirty="0"/>
          </a:p>
        </p:txBody>
      </p:sp>
    </p:spTree>
    <p:extLst>
      <p:ext uri="{BB962C8B-B14F-4D97-AF65-F5344CB8AC3E}">
        <p14:creationId xmlns:p14="http://schemas.microsoft.com/office/powerpoint/2010/main" val="78105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30605BC1-E516-5A41-83E7-7CCB36C91AFA}" type="slidenum">
              <a:rPr lang="en-GB" smtClean="0"/>
              <a:t>11</a:t>
            </a:fld>
            <a:endParaRPr lang="en-GB" dirty="0"/>
          </a:p>
        </p:txBody>
      </p:sp>
    </p:spTree>
    <p:extLst>
      <p:ext uri="{BB962C8B-B14F-4D97-AF65-F5344CB8AC3E}">
        <p14:creationId xmlns:p14="http://schemas.microsoft.com/office/powerpoint/2010/main" val="1871676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2075" y="746125"/>
            <a:ext cx="6627813" cy="3729038"/>
          </a:xfrm>
        </p:spPr>
      </p:sp>
      <p:sp>
        <p:nvSpPr>
          <p:cNvPr id="3" name="Tijdelijke aanduiding voor notities 2"/>
          <p:cNvSpPr>
            <a:spLocks noGrp="1"/>
          </p:cNvSpPr>
          <p:nvPr>
            <p:ph type="body" idx="1"/>
          </p:nvPr>
        </p:nvSpPr>
        <p:spPr/>
        <p:txBody>
          <a:bodyPr/>
          <a:lstStyle/>
          <a:p>
            <a:pPr marL="0" marR="0" indent="0" algn="l" defTabSz="457130" rtl="0" eaLnBrk="1" fontAlgn="auto" latinLnBrk="0" hangingPunct="1">
              <a:lnSpc>
                <a:spcPct val="100000"/>
              </a:lnSpc>
              <a:spcBef>
                <a:spcPts val="0"/>
              </a:spcBef>
              <a:spcAft>
                <a:spcPts val="0"/>
              </a:spcAft>
              <a:buClrTx/>
              <a:buSzTx/>
              <a:buFontTx/>
              <a:buNone/>
              <a:tabLst/>
              <a:defRPr/>
            </a:pPr>
            <a:endParaRPr lang="en-GB" sz="1100" dirty="0" smtClean="0"/>
          </a:p>
        </p:txBody>
      </p:sp>
      <p:sp>
        <p:nvSpPr>
          <p:cNvPr id="4" name="Tijdelijke aanduiding voor dianummer 3"/>
          <p:cNvSpPr>
            <a:spLocks noGrp="1"/>
          </p:cNvSpPr>
          <p:nvPr>
            <p:ph type="sldNum" sz="quarter" idx="10"/>
          </p:nvPr>
        </p:nvSpPr>
        <p:spPr/>
        <p:txBody>
          <a:bodyPr/>
          <a:lstStyle/>
          <a:p>
            <a:fld id="{30605BC1-E516-5A41-83E7-7CCB36C91AFA}" type="slidenum">
              <a:rPr lang="nl-NL" smtClean="0"/>
              <a:t>12</a:t>
            </a:fld>
            <a:endParaRPr lang="nl-NL" dirty="0"/>
          </a:p>
        </p:txBody>
      </p:sp>
    </p:spTree>
    <p:extLst>
      <p:ext uri="{BB962C8B-B14F-4D97-AF65-F5344CB8AC3E}">
        <p14:creationId xmlns:p14="http://schemas.microsoft.com/office/powerpoint/2010/main" val="16283543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2075" y="746125"/>
            <a:ext cx="6627813" cy="3729038"/>
          </a:xfrm>
        </p:spPr>
      </p:sp>
      <p:sp>
        <p:nvSpPr>
          <p:cNvPr id="3" name="Tijdelijke aanduiding voor notities 2"/>
          <p:cNvSpPr>
            <a:spLocks noGrp="1"/>
          </p:cNvSpPr>
          <p:nvPr>
            <p:ph type="body" idx="1"/>
          </p:nvPr>
        </p:nvSpPr>
        <p:spPr/>
        <p:txBody>
          <a:bodyPr/>
          <a:lstStyle/>
          <a:p>
            <a:endParaRPr lang="en-GB" sz="1200" dirty="0" smtClean="0"/>
          </a:p>
        </p:txBody>
      </p:sp>
      <p:sp>
        <p:nvSpPr>
          <p:cNvPr id="4" name="Tijdelijke aanduiding voor dianummer 3"/>
          <p:cNvSpPr>
            <a:spLocks noGrp="1"/>
          </p:cNvSpPr>
          <p:nvPr>
            <p:ph type="sldNum" sz="quarter" idx="10"/>
          </p:nvPr>
        </p:nvSpPr>
        <p:spPr/>
        <p:txBody>
          <a:bodyPr/>
          <a:lstStyle/>
          <a:p>
            <a:fld id="{30605BC1-E516-5A41-83E7-7CCB36C91AFA}" type="slidenum">
              <a:rPr lang="nl-NL" smtClean="0"/>
              <a:t>13</a:t>
            </a:fld>
            <a:endParaRPr lang="nl-NL" dirty="0"/>
          </a:p>
        </p:txBody>
      </p:sp>
    </p:spTree>
    <p:extLst>
      <p:ext uri="{BB962C8B-B14F-4D97-AF65-F5344CB8AC3E}">
        <p14:creationId xmlns:p14="http://schemas.microsoft.com/office/powerpoint/2010/main" val="1628354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pPr defTabSz="478669">
              <a:defRPr/>
            </a:pPr>
            <a:endParaRPr lang="en-GB" dirty="0" smtClean="0"/>
          </a:p>
          <a:p>
            <a:pPr defTabSz="478669">
              <a:defRPr/>
            </a:pPr>
            <a:endParaRPr lang="en-GB" dirty="0"/>
          </a:p>
        </p:txBody>
      </p:sp>
      <p:sp>
        <p:nvSpPr>
          <p:cNvPr id="4" name="Slide Number Placeholder 3"/>
          <p:cNvSpPr>
            <a:spLocks noGrp="1"/>
          </p:cNvSpPr>
          <p:nvPr>
            <p:ph type="sldNum" sz="quarter" idx="10"/>
          </p:nvPr>
        </p:nvSpPr>
        <p:spPr/>
        <p:txBody>
          <a:bodyPr/>
          <a:lstStyle/>
          <a:p>
            <a:fld id="{30605BC1-E516-5A41-83E7-7CCB36C91AFA}" type="slidenum">
              <a:rPr lang="en-GB" smtClean="0"/>
              <a:t>14</a:t>
            </a:fld>
            <a:endParaRPr lang="en-GB" dirty="0"/>
          </a:p>
        </p:txBody>
      </p:sp>
    </p:spTree>
    <p:extLst>
      <p:ext uri="{BB962C8B-B14F-4D97-AF65-F5344CB8AC3E}">
        <p14:creationId xmlns:p14="http://schemas.microsoft.com/office/powerpoint/2010/main" val="78105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2075" y="746125"/>
            <a:ext cx="6627813" cy="3729038"/>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1635944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2075" y="746125"/>
            <a:ext cx="6627813" cy="3729038"/>
          </a:xfrm>
        </p:spPr>
      </p:sp>
      <p:sp>
        <p:nvSpPr>
          <p:cNvPr id="3" name="Tijdelijke aanduiding voor notities 2"/>
          <p:cNvSpPr>
            <a:spLocks noGrp="1"/>
          </p:cNvSpPr>
          <p:nvPr>
            <p:ph type="body" idx="1"/>
          </p:nvPr>
        </p:nvSpPr>
        <p:spPr/>
        <p:txBody>
          <a:bodyPr/>
          <a:lstStyle/>
          <a:p>
            <a:endParaRPr lang="en-GB" dirty="0" smtClean="0"/>
          </a:p>
          <a:p>
            <a:endParaRPr lang="en-GB" dirty="0" smtClean="0"/>
          </a:p>
          <a:p>
            <a:endParaRPr lang="en-GB"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t>16</a:t>
            </a:fld>
            <a:endParaRPr lang="en-GB" dirty="0"/>
          </a:p>
        </p:txBody>
      </p:sp>
    </p:spTree>
    <p:extLst>
      <p:ext uri="{BB962C8B-B14F-4D97-AF65-F5344CB8AC3E}">
        <p14:creationId xmlns:p14="http://schemas.microsoft.com/office/powerpoint/2010/main" val="13487326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t>17</a:t>
            </a:fld>
            <a:endParaRPr lang="en-GB" dirty="0"/>
          </a:p>
        </p:txBody>
      </p:sp>
    </p:spTree>
    <p:extLst>
      <p:ext uri="{BB962C8B-B14F-4D97-AF65-F5344CB8AC3E}">
        <p14:creationId xmlns:p14="http://schemas.microsoft.com/office/powerpoint/2010/main" val="36423352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t>18</a:t>
            </a:fld>
            <a:endParaRPr lang="en-GB" dirty="0"/>
          </a:p>
        </p:txBody>
      </p:sp>
    </p:spTree>
    <p:extLst>
      <p:ext uri="{BB962C8B-B14F-4D97-AF65-F5344CB8AC3E}">
        <p14:creationId xmlns:p14="http://schemas.microsoft.com/office/powerpoint/2010/main" val="31495867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605BC1-E516-5A41-83E7-7CCB36C91AFA}" type="slidenum">
              <a:rPr lang="en-GB" smtClean="0"/>
              <a:t>19</a:t>
            </a:fld>
            <a:endParaRPr lang="en-GB" dirty="0"/>
          </a:p>
        </p:txBody>
      </p:sp>
    </p:spTree>
    <p:extLst>
      <p:ext uri="{BB962C8B-B14F-4D97-AF65-F5344CB8AC3E}">
        <p14:creationId xmlns:p14="http://schemas.microsoft.com/office/powerpoint/2010/main" val="78105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2075" y="746125"/>
            <a:ext cx="6627813" cy="3729038"/>
          </a:xfrm>
        </p:spPr>
      </p:sp>
      <p:sp>
        <p:nvSpPr>
          <p:cNvPr id="3" name="Tijdelijke aanduiding voor notities 2"/>
          <p:cNvSpPr>
            <a:spLocks noGrp="1"/>
          </p:cNvSpPr>
          <p:nvPr>
            <p:ph type="body" idx="1"/>
          </p:nvPr>
        </p:nvSpPr>
        <p:spPr/>
        <p:txBody>
          <a:bodyPr/>
          <a:lstStyle/>
          <a:p>
            <a:pPr defTabSz="478669">
              <a:defRPr/>
            </a:pPr>
            <a:endParaRPr lang="en-US" b="0" baseline="0" dirty="0" smtClean="0"/>
          </a:p>
        </p:txBody>
      </p:sp>
      <p:sp>
        <p:nvSpPr>
          <p:cNvPr id="4" name="Tijdelijke aanduiding voor dianummer 3"/>
          <p:cNvSpPr>
            <a:spLocks noGrp="1"/>
          </p:cNvSpPr>
          <p:nvPr>
            <p:ph type="sldNum" sz="quarter" idx="10"/>
          </p:nvPr>
        </p:nvSpPr>
        <p:spPr/>
        <p:txBody>
          <a:bodyPr/>
          <a:lstStyle/>
          <a:p>
            <a:fld id="{30605BC1-E516-5A41-83E7-7CCB36C91AFA}" type="slidenum">
              <a:rPr lang="nl-NL" smtClean="0">
                <a:solidFill>
                  <a:prstClr val="black"/>
                </a:solidFill>
              </a:rPr>
              <a:pPr/>
              <a:t>2</a:t>
            </a:fld>
            <a:endParaRPr lang="nl-NL" dirty="0">
              <a:solidFill>
                <a:prstClr val="black"/>
              </a:solidFill>
            </a:endParaRPr>
          </a:p>
        </p:txBody>
      </p:sp>
    </p:spTree>
    <p:extLst>
      <p:ext uri="{BB962C8B-B14F-4D97-AF65-F5344CB8AC3E}">
        <p14:creationId xmlns:p14="http://schemas.microsoft.com/office/powerpoint/2010/main" val="37619912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endParaRPr lang="en-GB" sz="1300" b="0" dirty="0" smtClean="0"/>
          </a:p>
        </p:txBody>
      </p:sp>
      <p:sp>
        <p:nvSpPr>
          <p:cNvPr id="4" name="Slide Number Placeholder 3"/>
          <p:cNvSpPr>
            <a:spLocks noGrp="1"/>
          </p:cNvSpPr>
          <p:nvPr>
            <p:ph type="sldNum" sz="quarter" idx="10"/>
          </p:nvPr>
        </p:nvSpPr>
        <p:spPr/>
        <p:txBody>
          <a:bodyPr/>
          <a:lstStyle/>
          <a:p>
            <a:fld id="{30605BC1-E516-5A41-83E7-7CCB36C91AFA}"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38531947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30605BC1-E516-5A41-83E7-7CCB36C91AFA}" type="slidenum">
              <a:rPr lang="en-GB" smtClean="0"/>
              <a:t>21</a:t>
            </a:fld>
            <a:endParaRPr lang="en-GB" dirty="0"/>
          </a:p>
        </p:txBody>
      </p:sp>
    </p:spTree>
    <p:extLst>
      <p:ext uri="{BB962C8B-B14F-4D97-AF65-F5344CB8AC3E}">
        <p14:creationId xmlns:p14="http://schemas.microsoft.com/office/powerpoint/2010/main" val="18401999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3663" y="746125"/>
            <a:ext cx="6624637" cy="3727450"/>
          </a:xfrm>
        </p:spPr>
      </p:sp>
      <p:sp>
        <p:nvSpPr>
          <p:cNvPr id="3" name="Tijdelijke aanduiding voor notities 2"/>
          <p:cNvSpPr>
            <a:spLocks noGrp="1"/>
          </p:cNvSpPr>
          <p:nvPr>
            <p:ph type="body" idx="1"/>
          </p:nvPr>
        </p:nvSpPr>
        <p:spPr/>
        <p:txBody>
          <a:bodyPr/>
          <a:lstStyle/>
          <a:p>
            <a:pPr lvl="1"/>
            <a:endParaRPr lang="en-GB" sz="1600"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t>22</a:t>
            </a:fld>
            <a:endParaRPr lang="en-GB" dirty="0"/>
          </a:p>
        </p:txBody>
      </p:sp>
    </p:spTree>
    <p:extLst>
      <p:ext uri="{BB962C8B-B14F-4D97-AF65-F5344CB8AC3E}">
        <p14:creationId xmlns:p14="http://schemas.microsoft.com/office/powerpoint/2010/main" val="28404129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3663" y="746125"/>
            <a:ext cx="6624637" cy="3727450"/>
          </a:xfrm>
        </p:spPr>
      </p:sp>
      <p:sp>
        <p:nvSpPr>
          <p:cNvPr id="3" name="Tijdelijke aanduiding voor notities 2"/>
          <p:cNvSpPr>
            <a:spLocks noGrp="1"/>
          </p:cNvSpPr>
          <p:nvPr>
            <p:ph type="body" idx="1"/>
          </p:nvPr>
        </p:nvSpPr>
        <p:spPr/>
        <p:txBody>
          <a:bodyPr/>
          <a:lstStyle/>
          <a:p>
            <a:pPr>
              <a:lnSpc>
                <a:spcPct val="150000"/>
              </a:lnSpc>
            </a:pPr>
            <a:endParaRPr lang="en-US" sz="1200" dirty="0" smtClean="0">
              <a:latin typeface="Arial" panose="020B0604020202020204" pitchFamily="34" charset="0"/>
              <a:cs typeface="Arial" panose="020B0604020202020204" pitchFamily="34" charset="0"/>
            </a:endParaRPr>
          </a:p>
          <a:p>
            <a:pPr>
              <a:lnSpc>
                <a:spcPct val="150000"/>
              </a:lnSpc>
            </a:pPr>
            <a:endParaRPr lang="en-US" sz="1200" dirty="0" smtClean="0">
              <a:latin typeface="Arial" panose="020B0604020202020204" pitchFamily="34" charset="0"/>
              <a:cs typeface="Arial" panose="020B0604020202020204" pitchFamily="34" charset="0"/>
            </a:endParaRPr>
          </a:p>
          <a:p>
            <a:pPr>
              <a:lnSpc>
                <a:spcPct val="114000"/>
              </a:lnSpc>
            </a:pPr>
            <a:endParaRPr lang="en-US" sz="1200" dirty="0" smtClean="0">
              <a:latin typeface="Arial" panose="020B0604020202020204" pitchFamily="34" charset="0"/>
              <a:cs typeface="Arial" panose="020B0604020202020204" pitchFamily="34" charset="0"/>
            </a:endParaRPr>
          </a:p>
          <a:p>
            <a:endParaRPr lang="en-GB"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t>23</a:t>
            </a:fld>
            <a:endParaRPr lang="en-GB" dirty="0"/>
          </a:p>
        </p:txBody>
      </p:sp>
    </p:spTree>
    <p:extLst>
      <p:ext uri="{BB962C8B-B14F-4D97-AF65-F5344CB8AC3E}">
        <p14:creationId xmlns:p14="http://schemas.microsoft.com/office/powerpoint/2010/main" val="2840412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t>24</a:t>
            </a:fld>
            <a:endParaRPr lang="en-GB" dirty="0"/>
          </a:p>
        </p:txBody>
      </p:sp>
    </p:spTree>
    <p:extLst>
      <p:ext uri="{BB962C8B-B14F-4D97-AF65-F5344CB8AC3E}">
        <p14:creationId xmlns:p14="http://schemas.microsoft.com/office/powerpoint/2010/main" val="20672620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3663" y="746125"/>
            <a:ext cx="6624637" cy="3727450"/>
          </a:xfrm>
        </p:spPr>
      </p:sp>
      <p:sp>
        <p:nvSpPr>
          <p:cNvPr id="3" name="Tijdelijke aanduiding voor notities 2"/>
          <p:cNvSpPr>
            <a:spLocks noGrp="1"/>
          </p:cNvSpPr>
          <p:nvPr>
            <p:ph type="body" idx="1"/>
          </p:nvPr>
        </p:nvSpPr>
        <p:spPr/>
        <p:txBody>
          <a:bodyPr/>
          <a:lstStyle/>
          <a:p>
            <a:pPr lvl="1"/>
            <a:endParaRPr lang="en-GB" sz="1600"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t>25</a:t>
            </a:fld>
            <a:endParaRPr lang="en-GB" dirty="0"/>
          </a:p>
        </p:txBody>
      </p:sp>
    </p:spTree>
    <p:extLst>
      <p:ext uri="{BB962C8B-B14F-4D97-AF65-F5344CB8AC3E}">
        <p14:creationId xmlns:p14="http://schemas.microsoft.com/office/powerpoint/2010/main" val="28404129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6125"/>
            <a:ext cx="6624637" cy="372745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nl-NL"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0605BC1-E516-5A41-83E7-7CCB36C91AFA}" type="slidenum">
              <a:rPr lang="nl-NL" smtClean="0">
                <a:solidFill>
                  <a:prstClr val="black"/>
                </a:solidFill>
              </a:rPr>
              <a:pPr/>
              <a:t>26</a:t>
            </a:fld>
            <a:endParaRPr lang="nl-NL" dirty="0">
              <a:solidFill>
                <a:prstClr val="black"/>
              </a:solidFill>
            </a:endParaRPr>
          </a:p>
        </p:txBody>
      </p:sp>
    </p:spTree>
    <p:extLst>
      <p:ext uri="{BB962C8B-B14F-4D97-AF65-F5344CB8AC3E}">
        <p14:creationId xmlns:p14="http://schemas.microsoft.com/office/powerpoint/2010/main" val="32454950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endParaRPr lang="en-GB" sz="1300" dirty="0"/>
          </a:p>
          <a:p>
            <a:pPr marL="170149" indent="-170149">
              <a:buFontTx/>
              <a:buChar char="-"/>
            </a:pPr>
            <a:endParaRPr lang="en-GB" dirty="0"/>
          </a:p>
        </p:txBody>
      </p:sp>
      <p:sp>
        <p:nvSpPr>
          <p:cNvPr id="4" name="Slide Number Placeholder 3"/>
          <p:cNvSpPr>
            <a:spLocks noGrp="1"/>
          </p:cNvSpPr>
          <p:nvPr>
            <p:ph type="sldNum" sz="quarter" idx="10"/>
          </p:nvPr>
        </p:nvSpPr>
        <p:spPr/>
        <p:txBody>
          <a:bodyPr/>
          <a:lstStyle/>
          <a:p>
            <a:fld id="{30605BC1-E516-5A41-83E7-7CCB36C91AFA}" type="slidenum">
              <a:rPr lang="en-GB" smtClean="0">
                <a:solidFill>
                  <a:prstClr val="black"/>
                </a:solidFill>
              </a:rPr>
              <a:pPr/>
              <a:t>27</a:t>
            </a:fld>
            <a:endParaRPr lang="en-GB" dirty="0">
              <a:solidFill>
                <a:prstClr val="black"/>
              </a:solidFill>
            </a:endParaRPr>
          </a:p>
        </p:txBody>
      </p:sp>
    </p:spTree>
    <p:extLst>
      <p:ext uri="{BB962C8B-B14F-4D97-AF65-F5344CB8AC3E}">
        <p14:creationId xmlns:p14="http://schemas.microsoft.com/office/powerpoint/2010/main" val="5242844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605BC1-E516-5A41-83E7-7CCB36C91AFA}"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3407396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2075" y="746125"/>
            <a:ext cx="6627813" cy="3729038"/>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t>3</a:t>
            </a:fld>
            <a:endParaRPr lang="en-GB" dirty="0"/>
          </a:p>
        </p:txBody>
      </p:sp>
    </p:spTree>
    <p:extLst>
      <p:ext uri="{BB962C8B-B14F-4D97-AF65-F5344CB8AC3E}">
        <p14:creationId xmlns:p14="http://schemas.microsoft.com/office/powerpoint/2010/main" val="3370593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30605BC1-E516-5A41-83E7-7CCB36C91AFA}" type="slidenum">
              <a:rPr lang="nl-NL" smtClean="0">
                <a:solidFill>
                  <a:prstClr val="black"/>
                </a:solidFill>
              </a:rPr>
              <a:pPr/>
              <a:t>4</a:t>
            </a:fld>
            <a:endParaRPr lang="nl-NL" dirty="0">
              <a:solidFill>
                <a:prstClr val="black"/>
              </a:solidFill>
            </a:endParaRPr>
          </a:p>
        </p:txBody>
      </p:sp>
    </p:spTree>
    <p:extLst>
      <p:ext uri="{BB962C8B-B14F-4D97-AF65-F5344CB8AC3E}">
        <p14:creationId xmlns:p14="http://schemas.microsoft.com/office/powerpoint/2010/main" val="4104278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2075" y="746125"/>
            <a:ext cx="6627813" cy="3729038"/>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0605BC1-E516-5A41-83E7-7CCB36C91AFA}" type="slidenum">
              <a:rPr lang="nl-NL" smtClean="0"/>
              <a:t>5</a:t>
            </a:fld>
            <a:endParaRPr lang="nl-NL" dirty="0"/>
          </a:p>
        </p:txBody>
      </p:sp>
    </p:spTree>
    <p:extLst>
      <p:ext uri="{BB962C8B-B14F-4D97-AF65-F5344CB8AC3E}">
        <p14:creationId xmlns:p14="http://schemas.microsoft.com/office/powerpoint/2010/main" val="3928218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pPr defTabSz="561558">
              <a:defRPr/>
            </a:pPr>
            <a:endParaRPr lang="en-GB" dirty="0"/>
          </a:p>
        </p:txBody>
      </p:sp>
      <p:sp>
        <p:nvSpPr>
          <p:cNvPr id="4" name="Slide Number Placeholder 3"/>
          <p:cNvSpPr>
            <a:spLocks noGrp="1"/>
          </p:cNvSpPr>
          <p:nvPr>
            <p:ph type="sldNum" sz="quarter" idx="10"/>
          </p:nvPr>
        </p:nvSpPr>
        <p:spPr/>
        <p:txBody>
          <a:bodyPr/>
          <a:lstStyle/>
          <a:p>
            <a:fld id="{30605BC1-E516-5A41-83E7-7CCB36C91AFA}" type="slidenum">
              <a:rPr lang="en-GB" smtClean="0"/>
              <a:t>6</a:t>
            </a:fld>
            <a:endParaRPr lang="en-GB" dirty="0"/>
          </a:p>
        </p:txBody>
      </p:sp>
    </p:spTree>
    <p:extLst>
      <p:ext uri="{BB962C8B-B14F-4D97-AF65-F5344CB8AC3E}">
        <p14:creationId xmlns:p14="http://schemas.microsoft.com/office/powerpoint/2010/main" val="1252140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endParaRPr lang="en-GB" sz="1800" dirty="0">
              <a:sym typeface="Wingdings 3"/>
            </a:endParaRPr>
          </a:p>
        </p:txBody>
      </p:sp>
      <p:sp>
        <p:nvSpPr>
          <p:cNvPr id="4" name="Slide Number Placeholder 3"/>
          <p:cNvSpPr>
            <a:spLocks noGrp="1"/>
          </p:cNvSpPr>
          <p:nvPr>
            <p:ph type="sldNum" sz="quarter" idx="10"/>
          </p:nvPr>
        </p:nvSpPr>
        <p:spPr/>
        <p:txBody>
          <a:bodyPr/>
          <a:lstStyle/>
          <a:p>
            <a:fld id="{30605BC1-E516-5A41-83E7-7CCB36C91AFA}" type="slidenum">
              <a:rPr lang="en-GB" smtClean="0"/>
              <a:t>7</a:t>
            </a:fld>
            <a:endParaRPr lang="en-GB" dirty="0"/>
          </a:p>
        </p:txBody>
      </p:sp>
    </p:spTree>
    <p:extLst>
      <p:ext uri="{BB962C8B-B14F-4D97-AF65-F5344CB8AC3E}">
        <p14:creationId xmlns:p14="http://schemas.microsoft.com/office/powerpoint/2010/main" val="29201125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2075" y="746125"/>
            <a:ext cx="6627813" cy="3729038"/>
          </a:xfrm>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0605BC1-E516-5A41-83E7-7CCB36C91AFA}" type="slidenum">
              <a:rPr lang="en-GB" smtClean="0"/>
              <a:t>8</a:t>
            </a:fld>
            <a:endParaRPr lang="en-GB" dirty="0"/>
          </a:p>
        </p:txBody>
      </p:sp>
    </p:spTree>
    <p:extLst>
      <p:ext uri="{BB962C8B-B14F-4D97-AF65-F5344CB8AC3E}">
        <p14:creationId xmlns:p14="http://schemas.microsoft.com/office/powerpoint/2010/main" val="3741953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7813" cy="3729038"/>
          </a:xfrm>
        </p:spPr>
      </p:sp>
      <p:sp>
        <p:nvSpPr>
          <p:cNvPr id="3" name="Notes Placeholder 2"/>
          <p:cNvSpPr>
            <a:spLocks noGrp="1"/>
          </p:cNvSpPr>
          <p:nvPr>
            <p:ph type="body" idx="1"/>
          </p:nvPr>
        </p:nvSpPr>
        <p:spPr/>
        <p:txBody>
          <a:bodyPr/>
          <a:lstStyle/>
          <a:p>
            <a:endParaRPr lang="en-GB" b="0" baseline="0" dirty="0" smtClean="0"/>
          </a:p>
          <a:p>
            <a:endParaRPr lang="en-GB" dirty="0"/>
          </a:p>
        </p:txBody>
      </p:sp>
      <p:sp>
        <p:nvSpPr>
          <p:cNvPr id="4" name="Slide Number Placeholder 3"/>
          <p:cNvSpPr>
            <a:spLocks noGrp="1"/>
          </p:cNvSpPr>
          <p:nvPr>
            <p:ph type="sldNum" sz="quarter" idx="10"/>
          </p:nvPr>
        </p:nvSpPr>
        <p:spPr/>
        <p:txBody>
          <a:bodyPr/>
          <a:lstStyle/>
          <a:p>
            <a:fld id="{30605BC1-E516-5A41-83E7-7CCB36C91AFA}" type="slidenum">
              <a:rPr lang="en-GB" smtClean="0"/>
              <a:t>9</a:t>
            </a:fld>
            <a:endParaRPr lang="en-GB" dirty="0"/>
          </a:p>
        </p:txBody>
      </p:sp>
    </p:spTree>
    <p:extLst>
      <p:ext uri="{BB962C8B-B14F-4D97-AF65-F5344CB8AC3E}">
        <p14:creationId xmlns:p14="http://schemas.microsoft.com/office/powerpoint/2010/main" val="1634818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 pag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21337" y="1716685"/>
            <a:ext cx="7044229" cy="1102519"/>
          </a:xfrm>
          <a:prstGeom prst="rect">
            <a:avLst/>
          </a:prstGeom>
        </p:spPr>
        <p:txBody>
          <a:bodyPr lIns="91417" tIns="45709" rIns="91417" bIns="45709"/>
          <a:lstStyle>
            <a:lvl1pPr algn="l">
              <a:defRPr b="0" i="0">
                <a:solidFill>
                  <a:srgbClr val="207C9E"/>
                </a:solidFill>
                <a:latin typeface="+mn-lt"/>
                <a:cs typeface="Arial"/>
              </a:defRPr>
            </a:lvl1pPr>
          </a:lstStyle>
          <a:p>
            <a:r>
              <a:rPr lang="en-GB" dirty="0" err="1" smtClean="0"/>
              <a:t>Titel</a:t>
            </a:r>
            <a:r>
              <a:rPr lang="en-GB" dirty="0" smtClean="0"/>
              <a:t> van de </a:t>
            </a:r>
            <a:r>
              <a:rPr lang="en-GB" dirty="0" err="1" smtClean="0"/>
              <a:t>presentatie</a:t>
            </a:r>
            <a:endParaRPr lang="en-GB" dirty="0"/>
          </a:p>
        </p:txBody>
      </p:sp>
      <p:sp>
        <p:nvSpPr>
          <p:cNvPr id="3" name="Subtitel 2"/>
          <p:cNvSpPr>
            <a:spLocks noGrp="1"/>
          </p:cNvSpPr>
          <p:nvPr>
            <p:ph type="subTitle" idx="1" hasCustomPrompt="1"/>
          </p:nvPr>
        </p:nvSpPr>
        <p:spPr>
          <a:xfrm>
            <a:off x="521331" y="2826125"/>
            <a:ext cx="6400800" cy="620935"/>
          </a:xfrm>
          <a:prstGeom prst="rect">
            <a:avLst/>
          </a:prstGeom>
        </p:spPr>
        <p:txBody>
          <a:bodyPr lIns="91417" tIns="45709" rIns="91417" bIns="45709"/>
          <a:lstStyle>
            <a:lvl1pPr marL="0" indent="0" algn="l">
              <a:buNone/>
              <a:defRPr sz="1600">
                <a:solidFill>
                  <a:srgbClr val="EE3E27"/>
                </a:solidFill>
                <a:latin typeface="+mn-lt"/>
                <a:cs typeface="Arial"/>
              </a:defRPr>
            </a:lvl1pPr>
            <a:lvl2pPr marL="457078" indent="0" algn="ctr">
              <a:buNone/>
              <a:defRPr>
                <a:solidFill>
                  <a:schemeClr val="tx1">
                    <a:tint val="75000"/>
                  </a:schemeClr>
                </a:solidFill>
              </a:defRPr>
            </a:lvl2pPr>
            <a:lvl3pPr marL="914161" indent="0" algn="ctr">
              <a:buNone/>
              <a:defRPr>
                <a:solidFill>
                  <a:schemeClr val="tx1">
                    <a:tint val="75000"/>
                  </a:schemeClr>
                </a:solidFill>
              </a:defRPr>
            </a:lvl3pPr>
            <a:lvl4pPr marL="1371240" indent="0" algn="ctr">
              <a:buNone/>
              <a:defRPr>
                <a:solidFill>
                  <a:schemeClr val="tx1">
                    <a:tint val="75000"/>
                  </a:schemeClr>
                </a:solidFill>
              </a:defRPr>
            </a:lvl4pPr>
            <a:lvl5pPr marL="1828321" indent="0" algn="ctr">
              <a:buNone/>
              <a:defRPr>
                <a:solidFill>
                  <a:schemeClr val="tx1">
                    <a:tint val="75000"/>
                  </a:schemeClr>
                </a:solidFill>
              </a:defRPr>
            </a:lvl5pPr>
            <a:lvl6pPr marL="2285398" indent="0" algn="ctr">
              <a:buNone/>
              <a:defRPr>
                <a:solidFill>
                  <a:schemeClr val="tx1">
                    <a:tint val="75000"/>
                  </a:schemeClr>
                </a:solidFill>
              </a:defRPr>
            </a:lvl6pPr>
            <a:lvl7pPr marL="2742476" indent="0" algn="ctr">
              <a:buNone/>
              <a:defRPr>
                <a:solidFill>
                  <a:schemeClr val="tx1">
                    <a:tint val="75000"/>
                  </a:schemeClr>
                </a:solidFill>
              </a:defRPr>
            </a:lvl7pPr>
            <a:lvl8pPr marL="3199556" indent="0" algn="ctr">
              <a:buNone/>
              <a:defRPr>
                <a:solidFill>
                  <a:schemeClr val="tx1">
                    <a:tint val="75000"/>
                  </a:schemeClr>
                </a:solidFill>
              </a:defRPr>
            </a:lvl8pPr>
            <a:lvl9pPr marL="3656636" indent="0" algn="ctr">
              <a:buNone/>
              <a:defRPr>
                <a:solidFill>
                  <a:schemeClr val="tx1">
                    <a:tint val="75000"/>
                  </a:schemeClr>
                </a:solidFill>
              </a:defRPr>
            </a:lvl9pPr>
          </a:lstStyle>
          <a:p>
            <a:r>
              <a:rPr lang="en-GB" dirty="0" smtClean="0"/>
              <a:t>Datum</a:t>
            </a:r>
            <a:endParaRPr lang="en-GB" dirty="0"/>
          </a:p>
        </p:txBody>
      </p:sp>
      <p:sp>
        <p:nvSpPr>
          <p:cNvPr id="5" name="Tijdelijke aanduiding voor voettekst 4"/>
          <p:cNvSpPr>
            <a:spLocks noGrp="1"/>
          </p:cNvSpPr>
          <p:nvPr>
            <p:ph type="ftr" sz="quarter" idx="11"/>
          </p:nvPr>
        </p:nvSpPr>
        <p:spPr>
          <a:xfrm>
            <a:off x="2865196" y="4718255"/>
            <a:ext cx="5924792" cy="365125"/>
          </a:xfrm>
          <a:prstGeom prst="rect">
            <a:avLst/>
          </a:prstGeom>
        </p:spPr>
        <p:txBody>
          <a:bodyPr anchor="b" anchorCtr="0"/>
          <a:lstStyle>
            <a:lvl1pPr algn="r">
              <a:defRPr>
                <a:latin typeface="+mn-lt"/>
              </a:defRPr>
            </a:lvl1pPr>
          </a:lstStyle>
          <a:p>
            <a:endParaRPr lang="en-GB" dirty="0" smtClean="0"/>
          </a:p>
        </p:txBody>
      </p:sp>
      <p:pic>
        <p:nvPicPr>
          <p:cNvPr id="6" name="Afbeelding 5"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151453206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1" y="273844"/>
            <a:ext cx="7886700" cy="994172"/>
          </a:xfrm>
          <a:prstGeom prst="rect">
            <a:avLst/>
          </a:prstGeom>
        </p:spPr>
        <p:txBody>
          <a:bodyPr lIns="68563" tIns="34285" rIns="68563" bIns="34285"/>
          <a:lstStyle>
            <a:lvl1pPr>
              <a:defRPr>
                <a:latin typeface="+mn-lt"/>
              </a:defRPr>
            </a:lvl1pPr>
          </a:lstStyle>
          <a:p>
            <a:r>
              <a:rPr lang="en-GB" dirty="0" smtClean="0"/>
              <a:t>Click to edit Master title style</a:t>
            </a:r>
            <a:endParaRPr lang="en-GB" dirty="0"/>
          </a:p>
        </p:txBody>
      </p:sp>
      <p:sp>
        <p:nvSpPr>
          <p:cNvPr id="4" name="Footer Placeholder 3"/>
          <p:cNvSpPr>
            <a:spLocks noGrp="1"/>
          </p:cNvSpPr>
          <p:nvPr>
            <p:ph type="ftr" sz="quarter" idx="11"/>
          </p:nvPr>
        </p:nvSpPr>
        <p:spPr/>
        <p:txBody>
          <a:bodyPr lIns="68563" tIns="34285" rIns="68563" bIns="34285"/>
          <a:lstStyle>
            <a:lvl1pPr>
              <a:defRPr>
                <a:latin typeface="+mn-lt"/>
              </a:defRPr>
            </a:lvl1pPr>
          </a:lstStyle>
          <a:p>
            <a:endParaRPr lang="en-GB" dirty="0"/>
          </a:p>
        </p:txBody>
      </p:sp>
    </p:spTree>
    <p:extLst>
      <p:ext uri="{BB962C8B-B14F-4D97-AF65-F5344CB8AC3E}">
        <p14:creationId xmlns:p14="http://schemas.microsoft.com/office/powerpoint/2010/main" val="147940226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itchFamily="34" charset="0"/>
              </a:defRPr>
            </a:lvl1pPr>
          </a:lstStyle>
          <a:p>
            <a:endParaRPr lang="en-GB" dirty="0" smtClean="0"/>
          </a:p>
        </p:txBody>
      </p:sp>
      <p:sp>
        <p:nvSpPr>
          <p:cNvPr id="4" name="Text Placeholder 3"/>
          <p:cNvSpPr>
            <a:spLocks noGrp="1"/>
          </p:cNvSpPr>
          <p:nvPr>
            <p:ph type="body" sz="quarter" idx="11"/>
          </p:nvPr>
        </p:nvSpPr>
        <p:spPr>
          <a:xfrm>
            <a:off x="617538" y="273050"/>
            <a:ext cx="8286750" cy="486075"/>
          </a:xfrm>
          <a:prstGeom prst="rect">
            <a:avLst/>
          </a:prstGeom>
        </p:spPr>
        <p:txBody>
          <a:bodyPr lIns="91417" tIns="45709" rIns="91417" bIns="45709"/>
          <a:lstStyle>
            <a:lvl1pPr marL="0" indent="0">
              <a:buNone/>
              <a:defRPr sz="2000">
                <a:latin typeface="Calibri" pitchFamily="34" charset="0"/>
              </a:defRPr>
            </a:lvl1pPr>
          </a:lstStyle>
          <a:p>
            <a:pPr lvl="0"/>
            <a:endParaRPr lang="en-GB" dirty="0"/>
          </a:p>
        </p:txBody>
      </p:sp>
    </p:spTree>
    <p:extLst>
      <p:ext uri="{BB962C8B-B14F-4D97-AF65-F5344CB8AC3E}">
        <p14:creationId xmlns:p14="http://schemas.microsoft.com/office/powerpoint/2010/main" val="103276138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Intro page">
    <p:spTree>
      <p:nvGrpSpPr>
        <p:cNvPr id="1" name=""/>
        <p:cNvGrpSpPr/>
        <p:nvPr/>
      </p:nvGrpSpPr>
      <p:grpSpPr>
        <a:xfrm>
          <a:off x="0" y="0"/>
          <a:ext cx="0" cy="0"/>
          <a:chOff x="0" y="0"/>
          <a:chExt cx="0" cy="0"/>
        </a:xfrm>
      </p:grpSpPr>
      <p:sp>
        <p:nvSpPr>
          <p:cNvPr id="8" name="Tijdelijke aanduiding voor inhoud 2"/>
          <p:cNvSpPr>
            <a:spLocks noGrp="1"/>
          </p:cNvSpPr>
          <p:nvPr>
            <p:ph sz="half" idx="1"/>
          </p:nvPr>
        </p:nvSpPr>
        <p:spPr>
          <a:xfrm>
            <a:off x="-1" y="670964"/>
            <a:ext cx="4572001" cy="3622899"/>
          </a:xfrm>
          <a:prstGeom prst="rect">
            <a:avLst/>
          </a:prstGeom>
        </p:spPr>
        <p:txBody>
          <a:bodyPr lIns="91430" tIns="45715" rIns="91430" bIns="45715"/>
          <a:lstStyle>
            <a:lvl1pPr marL="0" indent="0">
              <a:buNone/>
              <a:defRPr sz="2800">
                <a:latin typeface="Calibri" pitchFamily="34" charset="0"/>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endParaRPr lang="en-GB" dirty="0"/>
          </a:p>
        </p:txBody>
      </p:sp>
      <p:sp>
        <p:nvSpPr>
          <p:cNvPr id="9" name="Tijdelijke aanduiding voor inhoud 2"/>
          <p:cNvSpPr>
            <a:spLocks noGrp="1"/>
          </p:cNvSpPr>
          <p:nvPr>
            <p:ph sz="half" idx="12" hasCustomPrompt="1"/>
          </p:nvPr>
        </p:nvSpPr>
        <p:spPr>
          <a:xfrm>
            <a:off x="4645025" y="3393863"/>
            <a:ext cx="900000" cy="900000"/>
          </a:xfrm>
          <a:prstGeom prst="rect">
            <a:avLst/>
          </a:prstGeom>
        </p:spPr>
        <p:txBody>
          <a:bodyPr lIns="91430" tIns="45715" rIns="91430" bIns="45715"/>
          <a:lstStyle>
            <a:lvl1pPr marL="0" indent="0">
              <a:buNone/>
              <a:defRPr sz="2800">
                <a:latin typeface="Calibri" pitchFamily="34" charset="0"/>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smtClean="0"/>
              <a:t>         </a:t>
            </a:r>
            <a:endParaRPr lang="en-GB" dirty="0"/>
          </a:p>
        </p:txBody>
      </p:sp>
      <p:sp>
        <p:nvSpPr>
          <p:cNvPr id="10" name="Tijdelijke aanduiding voor inhoud 2"/>
          <p:cNvSpPr>
            <a:spLocks noGrp="1"/>
          </p:cNvSpPr>
          <p:nvPr>
            <p:ph sz="half" idx="13"/>
          </p:nvPr>
        </p:nvSpPr>
        <p:spPr>
          <a:xfrm>
            <a:off x="7353938" y="2030740"/>
            <a:ext cx="1260000" cy="1260000"/>
          </a:xfrm>
          <a:prstGeom prst="rect">
            <a:avLst/>
          </a:prstGeom>
        </p:spPr>
        <p:txBody>
          <a:bodyPr lIns="91430" tIns="45715" rIns="91430" bIns="45715"/>
          <a:lstStyle>
            <a:lvl1pPr marL="0" indent="0">
              <a:buNone/>
              <a:defRPr sz="2800">
                <a:latin typeface="Calibri" pitchFamily="34" charset="0"/>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endParaRPr lang="en-GB" dirty="0"/>
          </a:p>
        </p:txBody>
      </p:sp>
      <p:sp>
        <p:nvSpPr>
          <p:cNvPr id="11" name="Rechthoek 10"/>
          <p:cNvSpPr>
            <a:spLocks noChangeAspect="1"/>
          </p:cNvSpPr>
          <p:nvPr userDrawn="1"/>
        </p:nvSpPr>
        <p:spPr>
          <a:xfrm>
            <a:off x="4645025" y="670964"/>
            <a:ext cx="2628000" cy="2628000"/>
          </a:xfrm>
          <a:prstGeom prst="rect">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defTabSz="457137"/>
            <a:r>
              <a:rPr lang="en-GB" dirty="0" smtClean="0">
                <a:solidFill>
                  <a:prstClr val="white"/>
                </a:solidFill>
                <a:latin typeface="Calibri" pitchFamily="34" charset="0"/>
              </a:rPr>
              <a:t>        </a:t>
            </a:r>
            <a:endParaRPr lang="en-GB" dirty="0">
              <a:solidFill>
                <a:prstClr val="white"/>
              </a:solidFill>
              <a:latin typeface="Calibri" pitchFamily="34" charset="0"/>
            </a:endParaRPr>
          </a:p>
        </p:txBody>
      </p:sp>
      <p:sp>
        <p:nvSpPr>
          <p:cNvPr id="12" name="Rechthoek 11"/>
          <p:cNvSpPr>
            <a:spLocks noChangeAspect="1"/>
          </p:cNvSpPr>
          <p:nvPr userDrawn="1"/>
        </p:nvSpPr>
        <p:spPr>
          <a:xfrm>
            <a:off x="7344802" y="318325"/>
            <a:ext cx="288000" cy="288000"/>
          </a:xfrm>
          <a:prstGeom prst="rect">
            <a:avLst/>
          </a:prstGeom>
          <a:solidFill>
            <a:srgbClr val="EE3E27"/>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defTabSz="457137"/>
            <a:endParaRPr lang="en-GB" dirty="0">
              <a:solidFill>
                <a:prstClr val="white"/>
              </a:solidFill>
              <a:latin typeface="Calibri" pitchFamily="34" charset="0"/>
            </a:endParaRPr>
          </a:p>
        </p:txBody>
      </p:sp>
      <p:sp>
        <p:nvSpPr>
          <p:cNvPr id="13" name="Rechthoek 12"/>
          <p:cNvSpPr>
            <a:spLocks noChangeAspect="1"/>
          </p:cNvSpPr>
          <p:nvPr userDrawn="1"/>
        </p:nvSpPr>
        <p:spPr>
          <a:xfrm>
            <a:off x="8694168" y="4782860"/>
            <a:ext cx="288000" cy="28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defTabSz="457137"/>
            <a:endParaRPr lang="en-GB" dirty="0">
              <a:solidFill>
                <a:prstClr val="white"/>
              </a:solidFill>
              <a:latin typeface="Calibri" pitchFamily="34" charset="0"/>
            </a:endParaRPr>
          </a:p>
        </p:txBody>
      </p:sp>
      <p:sp>
        <p:nvSpPr>
          <p:cNvPr id="16" name="Tijdelijke aanduiding voor inhoud 5"/>
          <p:cNvSpPr>
            <a:spLocks noGrp="1"/>
          </p:cNvSpPr>
          <p:nvPr>
            <p:ph sz="quarter" idx="4"/>
          </p:nvPr>
        </p:nvSpPr>
        <p:spPr>
          <a:xfrm>
            <a:off x="4789901" y="740798"/>
            <a:ext cx="2398306" cy="1433541"/>
          </a:xfrm>
          <a:prstGeom prst="rect">
            <a:avLst/>
          </a:prstGeom>
        </p:spPr>
        <p:txBody>
          <a:bodyPr lIns="91430" tIns="45715" rIns="91430" bIns="45715"/>
          <a:lstStyle>
            <a:lvl1pPr marL="0" indent="0">
              <a:buNone/>
              <a:defRPr sz="2800" b="0" i="0">
                <a:solidFill>
                  <a:srgbClr val="FFFFFF"/>
                </a:solidFill>
                <a:latin typeface="Calibri" pitchFamily="34" charset="0"/>
                <a:cs typeface="Aria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err="1" smtClean="0"/>
              <a:t>Klik</a:t>
            </a:r>
            <a:r>
              <a:rPr lang="en-GB" dirty="0" smtClean="0"/>
              <a:t> om de </a:t>
            </a:r>
            <a:r>
              <a:rPr lang="en-GB" dirty="0" err="1" smtClean="0"/>
              <a:t>tekststijl</a:t>
            </a:r>
            <a:r>
              <a:rPr lang="en-GB" dirty="0" smtClean="0"/>
              <a:t> van het model te</a:t>
            </a:r>
          </a:p>
        </p:txBody>
      </p:sp>
      <p:sp>
        <p:nvSpPr>
          <p:cNvPr id="17" name="Tijdelijke aanduiding voor inhoud 5"/>
          <p:cNvSpPr>
            <a:spLocks noGrp="1"/>
          </p:cNvSpPr>
          <p:nvPr>
            <p:ph sz="quarter" idx="14"/>
          </p:nvPr>
        </p:nvSpPr>
        <p:spPr>
          <a:xfrm>
            <a:off x="4789902" y="2170451"/>
            <a:ext cx="2145195" cy="524637"/>
          </a:xfrm>
          <a:prstGeom prst="rect">
            <a:avLst/>
          </a:prstGeom>
        </p:spPr>
        <p:txBody>
          <a:bodyPr lIns="91430" tIns="45715" rIns="91430" bIns="45715"/>
          <a:lstStyle>
            <a:lvl1pPr marL="0" indent="0">
              <a:buNone/>
              <a:defRPr sz="1100" b="0" i="0">
                <a:solidFill>
                  <a:srgbClr val="FFFFFF"/>
                </a:solidFill>
                <a:latin typeface="Calibri" pitchFamily="34" charset="0"/>
                <a:cs typeface="Aria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err="1" smtClean="0"/>
              <a:t>Klik</a:t>
            </a:r>
            <a:r>
              <a:rPr lang="en-GB" dirty="0" smtClean="0"/>
              <a:t> om de </a:t>
            </a:r>
            <a:r>
              <a:rPr lang="en-GB" dirty="0" err="1" smtClean="0"/>
              <a:t>tekststijl</a:t>
            </a:r>
            <a:r>
              <a:rPr lang="en-GB" dirty="0" smtClean="0"/>
              <a:t> van het model te </a:t>
            </a:r>
            <a:r>
              <a:rPr lang="en-GB" dirty="0" err="1" smtClean="0"/>
              <a:t>bewerken</a:t>
            </a:r>
            <a:endParaRPr lang="en-GB" dirty="0" smtClean="0"/>
          </a:p>
        </p:txBody>
      </p:sp>
      <p:sp>
        <p:nvSpPr>
          <p:cNvPr id="18" name="Tijdelijke aanduiding voor inhoud 5"/>
          <p:cNvSpPr>
            <a:spLocks noGrp="1"/>
          </p:cNvSpPr>
          <p:nvPr>
            <p:ph sz="quarter" idx="15"/>
          </p:nvPr>
        </p:nvSpPr>
        <p:spPr>
          <a:xfrm>
            <a:off x="4786973" y="2889283"/>
            <a:ext cx="2145195" cy="308276"/>
          </a:xfrm>
          <a:prstGeom prst="rect">
            <a:avLst/>
          </a:prstGeom>
        </p:spPr>
        <p:txBody>
          <a:bodyPr lIns="91430" tIns="45715" rIns="91430" bIns="45715"/>
          <a:lstStyle>
            <a:lvl1pPr marL="0" indent="0">
              <a:buNone/>
              <a:defRPr sz="1200" b="0" i="0">
                <a:solidFill>
                  <a:srgbClr val="FFFFFF"/>
                </a:solidFill>
                <a:latin typeface="Calibri" pitchFamily="34" charset="0"/>
                <a:cs typeface="Aria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err="1" smtClean="0"/>
              <a:t>Klik</a:t>
            </a:r>
            <a:r>
              <a:rPr lang="en-GB" dirty="0" smtClean="0"/>
              <a:t> om</a:t>
            </a:r>
          </a:p>
        </p:txBody>
      </p:sp>
    </p:spTree>
    <p:extLst>
      <p:ext uri="{BB962C8B-B14F-4D97-AF65-F5344CB8AC3E}">
        <p14:creationId xmlns:p14="http://schemas.microsoft.com/office/powerpoint/2010/main" val="214734960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itchFamily="34" charset="0"/>
              </a:defRPr>
            </a:lvl1pPr>
          </a:lstStyle>
          <a:p>
            <a:r>
              <a:rPr lang="en-GB" dirty="0" smtClean="0"/>
              <a:t>Lorem</a:t>
            </a:r>
          </a:p>
        </p:txBody>
      </p:sp>
    </p:spTree>
    <p:extLst>
      <p:ext uri="{BB962C8B-B14F-4D97-AF65-F5344CB8AC3E}">
        <p14:creationId xmlns:p14="http://schemas.microsoft.com/office/powerpoint/2010/main" val="264737803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itchFamily="34" charset="0"/>
              </a:defRPr>
            </a:lvl1pPr>
          </a:lstStyle>
          <a:p>
            <a:r>
              <a:rPr lang="en-GB" dirty="0" smtClean="0"/>
              <a:t>Lorem</a:t>
            </a:r>
          </a:p>
        </p:txBody>
      </p:sp>
      <p:sp>
        <p:nvSpPr>
          <p:cNvPr id="5" name="Text Placeholder 3"/>
          <p:cNvSpPr>
            <a:spLocks noGrp="1"/>
          </p:cNvSpPr>
          <p:nvPr>
            <p:ph type="body" sz="quarter" idx="11"/>
          </p:nvPr>
        </p:nvSpPr>
        <p:spPr>
          <a:xfrm>
            <a:off x="61913" y="97775"/>
            <a:ext cx="8286750" cy="486075"/>
          </a:xfrm>
          <a:prstGeom prst="rect">
            <a:avLst/>
          </a:prstGeom>
        </p:spPr>
        <p:txBody>
          <a:bodyPr lIns="91430" tIns="45715" rIns="91430" bIns="45715"/>
          <a:lstStyle>
            <a:lvl1pPr marL="0" indent="0">
              <a:buNone/>
              <a:defRPr sz="2200">
                <a:latin typeface="Calibri" pitchFamily="34" charset="0"/>
              </a:defRPr>
            </a:lvl1pPr>
          </a:lstStyle>
          <a:p>
            <a:pPr lvl="0"/>
            <a:endParaRPr lang="en-GB" dirty="0"/>
          </a:p>
        </p:txBody>
      </p:sp>
    </p:spTree>
    <p:extLst>
      <p:ext uri="{BB962C8B-B14F-4D97-AF65-F5344CB8AC3E}">
        <p14:creationId xmlns:p14="http://schemas.microsoft.com/office/powerpoint/2010/main" val="145087329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image left, text page">
    <p:spTree>
      <p:nvGrpSpPr>
        <p:cNvPr id="1" name=""/>
        <p:cNvGrpSpPr/>
        <p:nvPr/>
      </p:nvGrpSpPr>
      <p:grpSpPr>
        <a:xfrm>
          <a:off x="0" y="0"/>
          <a:ext cx="0" cy="0"/>
          <a:chOff x="0" y="0"/>
          <a:chExt cx="0" cy="0"/>
        </a:xfrm>
      </p:grpSpPr>
      <p:sp>
        <p:nvSpPr>
          <p:cNvPr id="2" name="Titel 1"/>
          <p:cNvSpPr>
            <a:spLocks noGrp="1"/>
          </p:cNvSpPr>
          <p:nvPr>
            <p:ph type="title"/>
          </p:nvPr>
        </p:nvSpPr>
        <p:spPr>
          <a:xfrm>
            <a:off x="457200" y="434376"/>
            <a:ext cx="7218004" cy="652794"/>
          </a:xfrm>
          <a:prstGeom prst="rect">
            <a:avLst/>
          </a:prstGeom>
        </p:spPr>
        <p:txBody>
          <a:bodyPr lIns="91430" tIns="45715" rIns="91430" bIns="45715"/>
          <a:lstStyle>
            <a:lvl1pPr algn="l">
              <a:defRPr sz="3200" b="0" i="0">
                <a:solidFill>
                  <a:srgbClr val="207C9E"/>
                </a:solidFill>
                <a:latin typeface="Calibri" pitchFamily="34" charset="0"/>
                <a:cs typeface="Arial"/>
              </a:defRPr>
            </a:lvl1pPr>
          </a:lstStyle>
          <a:p>
            <a:r>
              <a:rPr lang="en-GB" dirty="0" err="1" smtClean="0"/>
              <a:t>Titelstijl</a:t>
            </a:r>
            <a:r>
              <a:rPr lang="en-GB" dirty="0" smtClean="0"/>
              <a:t> van model </a:t>
            </a:r>
            <a:r>
              <a:rPr lang="en-GB" dirty="0" err="1" smtClean="0"/>
              <a:t>bewerken</a:t>
            </a:r>
            <a:endParaRPr lang="en-GB" dirty="0"/>
          </a:p>
        </p:txBody>
      </p:sp>
      <p:sp>
        <p:nvSpPr>
          <p:cNvPr id="3" name="Tijdelijke aanduiding voor inhoud 2"/>
          <p:cNvSpPr>
            <a:spLocks noGrp="1"/>
          </p:cNvSpPr>
          <p:nvPr>
            <p:ph idx="1"/>
          </p:nvPr>
        </p:nvSpPr>
        <p:spPr>
          <a:xfrm>
            <a:off x="3380745" y="1208295"/>
            <a:ext cx="4294460" cy="3166798"/>
          </a:xfrm>
          <a:prstGeom prst="rect">
            <a:avLst/>
          </a:prstGeom>
        </p:spPr>
        <p:txBody>
          <a:bodyPr lIns="91430" tIns="45715" rIns="91430" bIns="45715"/>
          <a:lstStyle>
            <a:lvl1pPr marL="268250" indent="-250791">
              <a:lnSpc>
                <a:spcPct val="120000"/>
              </a:lnSpc>
              <a:buClr>
                <a:srgbClr val="EE3E27"/>
              </a:buClr>
              <a:buFont typeface="Wingdings" charset="2"/>
              <a:buChar char="§"/>
              <a:defRPr sz="2000">
                <a:solidFill>
                  <a:srgbClr val="207C9E"/>
                </a:solidFill>
                <a:latin typeface="Calibri" pitchFamily="34" charset="0"/>
                <a:cs typeface="Arial"/>
              </a:defRPr>
            </a:lvl1pPr>
            <a:lvl2pPr>
              <a:lnSpc>
                <a:spcPct val="120000"/>
              </a:lnSpc>
              <a:buClr>
                <a:srgbClr val="EE3E27"/>
              </a:buClr>
              <a:defRPr sz="1800">
                <a:solidFill>
                  <a:srgbClr val="207C9E"/>
                </a:solidFill>
                <a:latin typeface="Calibri" pitchFamily="34" charset="0"/>
                <a:cs typeface="Arial"/>
              </a:defRPr>
            </a:lvl2pPr>
            <a:lvl3pPr>
              <a:lnSpc>
                <a:spcPct val="120000"/>
              </a:lnSpc>
              <a:buClr>
                <a:srgbClr val="EE3E27"/>
              </a:buClr>
              <a:defRPr sz="1600">
                <a:solidFill>
                  <a:srgbClr val="207C9E"/>
                </a:solidFill>
                <a:latin typeface="Calibri" pitchFamily="34" charset="0"/>
                <a:cs typeface="Arial"/>
              </a:defRPr>
            </a:lvl3pPr>
            <a:lvl4pPr>
              <a:lnSpc>
                <a:spcPct val="120000"/>
              </a:lnSpc>
              <a:buClr>
                <a:srgbClr val="EE3E27"/>
              </a:buClr>
              <a:defRPr sz="1400">
                <a:solidFill>
                  <a:srgbClr val="207C9E"/>
                </a:solidFill>
                <a:latin typeface="Calibri" pitchFamily="34" charset="0"/>
                <a:cs typeface="Arial"/>
              </a:defRPr>
            </a:lvl4pPr>
            <a:lvl5pPr>
              <a:lnSpc>
                <a:spcPct val="120000"/>
              </a:lnSpc>
              <a:buClr>
                <a:srgbClr val="EE3E27"/>
              </a:buClr>
              <a:defRPr sz="1400">
                <a:solidFill>
                  <a:srgbClr val="207C9E"/>
                </a:solidFill>
                <a:latin typeface="Calibri" pitchFamily="34" charset="0"/>
                <a:cs typeface="Arial"/>
              </a:defRPr>
            </a:lvl5pPr>
          </a:lstStyle>
          <a:p>
            <a:pPr lvl="0"/>
            <a:r>
              <a:rPr lang="en-GB" dirty="0" err="1" smtClean="0"/>
              <a:t>Klik</a:t>
            </a:r>
            <a:r>
              <a:rPr lang="en-GB" dirty="0" smtClean="0"/>
              <a:t> om de </a:t>
            </a:r>
            <a:r>
              <a:rPr lang="en-GB" dirty="0" err="1" smtClean="0"/>
              <a:t>tekststijl</a:t>
            </a:r>
            <a:r>
              <a:rPr lang="en-GB" dirty="0" smtClean="0"/>
              <a:t> van het model te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8" name="Tijdelijke aanduiding voor afbeelding 2"/>
          <p:cNvSpPr>
            <a:spLocks noGrp="1"/>
          </p:cNvSpPr>
          <p:nvPr>
            <p:ph type="pic" idx="12"/>
          </p:nvPr>
        </p:nvSpPr>
        <p:spPr>
          <a:xfrm>
            <a:off x="2" y="1322390"/>
            <a:ext cx="3380744" cy="3044561"/>
          </a:xfrm>
          <a:prstGeom prst="rect">
            <a:avLst/>
          </a:prstGeom>
        </p:spPr>
        <p:txBody>
          <a:bodyPr lIns="91430" tIns="45715" rIns="91430" bIns="45715"/>
          <a:lstStyle>
            <a:lvl1pPr marL="0" indent="0">
              <a:buNone/>
              <a:defRPr sz="3200">
                <a:latin typeface="Calibri" pitchFamily="34" charset="0"/>
              </a:defRPr>
            </a:lvl1pPr>
            <a:lvl2pPr marL="457137" indent="0">
              <a:buNone/>
              <a:defRPr sz="2800"/>
            </a:lvl2pPr>
            <a:lvl3pPr marL="914274" indent="0">
              <a:buNone/>
              <a:defRPr sz="2400"/>
            </a:lvl3pPr>
            <a:lvl4pPr marL="1371410" indent="0">
              <a:buNone/>
              <a:defRPr sz="2000"/>
            </a:lvl4pPr>
            <a:lvl5pPr marL="1828546" indent="0">
              <a:buNone/>
              <a:defRPr sz="2000"/>
            </a:lvl5pPr>
            <a:lvl6pPr marL="2285683" indent="0">
              <a:buNone/>
              <a:defRPr sz="2000"/>
            </a:lvl6pPr>
            <a:lvl7pPr marL="2742820" indent="0">
              <a:buNone/>
              <a:defRPr sz="2000"/>
            </a:lvl7pPr>
            <a:lvl8pPr marL="3199956" indent="0">
              <a:buNone/>
              <a:defRPr sz="2000"/>
            </a:lvl8pPr>
            <a:lvl9pPr marL="3657093" indent="0">
              <a:buNone/>
              <a:defRPr sz="2000"/>
            </a:lvl9pPr>
          </a:lstStyle>
          <a:p>
            <a:endParaRPr lang="nl-NL" dirty="0"/>
          </a:p>
        </p:txBody>
      </p:sp>
      <p:sp>
        <p:nvSpPr>
          <p:cNvPr id="9" name="Tijdelijke aanduiding voor voettekst 4"/>
          <p:cNvSpPr>
            <a:spLocks noGrp="1"/>
          </p:cNvSpPr>
          <p:nvPr>
            <p:ph type="ftr" sz="quarter" idx="11"/>
          </p:nvPr>
        </p:nvSpPr>
        <p:spPr>
          <a:xfrm>
            <a:off x="2865196" y="4739054"/>
            <a:ext cx="5924792" cy="365125"/>
          </a:xfrm>
          <a:prstGeom prst="rect">
            <a:avLst/>
          </a:prstGeom>
        </p:spPr>
        <p:txBody>
          <a:bodyPr anchor="b" anchorCtr="0"/>
          <a:lstStyle>
            <a:lvl1pPr algn="r">
              <a:defRPr>
                <a:latin typeface="Calibri" pitchFamily="34" charset="0"/>
              </a:defRPr>
            </a:lvl1pPr>
          </a:lstStyle>
          <a:p>
            <a:r>
              <a:rPr lang="en-GB" dirty="0" smtClean="0"/>
              <a:t>Lorem</a:t>
            </a:r>
          </a:p>
        </p:txBody>
      </p:sp>
      <p:pic>
        <p:nvPicPr>
          <p:cNvPr id="10" name="Afbeelding 9" descr="USEF outline blauw_20%.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371986495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image right, text page">
    <p:spTree>
      <p:nvGrpSpPr>
        <p:cNvPr id="1" name=""/>
        <p:cNvGrpSpPr/>
        <p:nvPr/>
      </p:nvGrpSpPr>
      <p:grpSpPr>
        <a:xfrm>
          <a:off x="0" y="0"/>
          <a:ext cx="0" cy="0"/>
          <a:chOff x="0" y="0"/>
          <a:chExt cx="0" cy="0"/>
        </a:xfrm>
      </p:grpSpPr>
      <p:sp>
        <p:nvSpPr>
          <p:cNvPr id="2" name="Titel 1"/>
          <p:cNvSpPr>
            <a:spLocks noGrp="1"/>
          </p:cNvSpPr>
          <p:nvPr>
            <p:ph type="title"/>
          </p:nvPr>
        </p:nvSpPr>
        <p:spPr>
          <a:xfrm>
            <a:off x="457200" y="434376"/>
            <a:ext cx="7218004" cy="652794"/>
          </a:xfrm>
          <a:prstGeom prst="rect">
            <a:avLst/>
          </a:prstGeom>
        </p:spPr>
        <p:txBody>
          <a:bodyPr lIns="91430" tIns="45715" rIns="91430" bIns="45715"/>
          <a:lstStyle>
            <a:lvl1pPr algn="l">
              <a:defRPr sz="3200" b="0" i="0">
                <a:solidFill>
                  <a:srgbClr val="207C9E"/>
                </a:solidFill>
                <a:latin typeface="Calibri" pitchFamily="34" charset="0"/>
                <a:cs typeface="Arial"/>
              </a:defRPr>
            </a:lvl1pPr>
          </a:lstStyle>
          <a:p>
            <a:r>
              <a:rPr lang="en-GB" dirty="0" err="1" smtClean="0"/>
              <a:t>Titelstijl</a:t>
            </a:r>
            <a:r>
              <a:rPr lang="en-GB" dirty="0" smtClean="0"/>
              <a:t> van model </a:t>
            </a:r>
            <a:r>
              <a:rPr lang="en-GB" dirty="0" err="1" smtClean="0"/>
              <a:t>bewerken</a:t>
            </a:r>
            <a:endParaRPr lang="en-GB" dirty="0"/>
          </a:p>
        </p:txBody>
      </p:sp>
      <p:sp>
        <p:nvSpPr>
          <p:cNvPr id="3" name="Tijdelijke aanduiding voor inhoud 2"/>
          <p:cNvSpPr>
            <a:spLocks noGrp="1"/>
          </p:cNvSpPr>
          <p:nvPr>
            <p:ph idx="1"/>
          </p:nvPr>
        </p:nvSpPr>
        <p:spPr>
          <a:xfrm>
            <a:off x="457201" y="1208292"/>
            <a:ext cx="4294460" cy="3166798"/>
          </a:xfrm>
          <a:prstGeom prst="rect">
            <a:avLst/>
          </a:prstGeom>
        </p:spPr>
        <p:txBody>
          <a:bodyPr lIns="91430" tIns="45715" rIns="91430" bIns="45715"/>
          <a:lstStyle>
            <a:lvl1pPr marL="268250" indent="-250791">
              <a:lnSpc>
                <a:spcPct val="120000"/>
              </a:lnSpc>
              <a:buClr>
                <a:srgbClr val="EE3E27"/>
              </a:buClr>
              <a:buFont typeface="Wingdings" charset="2"/>
              <a:buChar char="§"/>
              <a:defRPr sz="2000">
                <a:solidFill>
                  <a:srgbClr val="207C9E"/>
                </a:solidFill>
                <a:latin typeface="Calibri" pitchFamily="34" charset="0"/>
                <a:cs typeface="Arial"/>
              </a:defRPr>
            </a:lvl1pPr>
            <a:lvl2pPr>
              <a:lnSpc>
                <a:spcPct val="120000"/>
              </a:lnSpc>
              <a:buClr>
                <a:srgbClr val="EE3E27"/>
              </a:buClr>
              <a:defRPr sz="1800">
                <a:solidFill>
                  <a:srgbClr val="207C9E"/>
                </a:solidFill>
                <a:latin typeface="Calibri" pitchFamily="34" charset="0"/>
                <a:cs typeface="Arial"/>
              </a:defRPr>
            </a:lvl2pPr>
            <a:lvl3pPr>
              <a:lnSpc>
                <a:spcPct val="120000"/>
              </a:lnSpc>
              <a:buClr>
                <a:srgbClr val="EE3E27"/>
              </a:buClr>
              <a:defRPr sz="1600">
                <a:solidFill>
                  <a:srgbClr val="207C9E"/>
                </a:solidFill>
                <a:latin typeface="Calibri" pitchFamily="34" charset="0"/>
                <a:cs typeface="Arial"/>
              </a:defRPr>
            </a:lvl3pPr>
            <a:lvl4pPr>
              <a:lnSpc>
                <a:spcPct val="120000"/>
              </a:lnSpc>
              <a:buClr>
                <a:srgbClr val="EE3E27"/>
              </a:buClr>
              <a:defRPr sz="1400">
                <a:solidFill>
                  <a:srgbClr val="207C9E"/>
                </a:solidFill>
                <a:latin typeface="Calibri" pitchFamily="34" charset="0"/>
                <a:cs typeface="Arial"/>
              </a:defRPr>
            </a:lvl4pPr>
            <a:lvl5pPr>
              <a:lnSpc>
                <a:spcPct val="120000"/>
              </a:lnSpc>
              <a:buClr>
                <a:srgbClr val="EE3E27"/>
              </a:buClr>
              <a:defRPr sz="1400">
                <a:solidFill>
                  <a:srgbClr val="207C9E"/>
                </a:solidFill>
                <a:latin typeface="Calibri" pitchFamily="34" charset="0"/>
                <a:cs typeface="Arial"/>
              </a:defRPr>
            </a:lvl5pPr>
          </a:lstStyle>
          <a:p>
            <a:pPr lvl="0"/>
            <a:r>
              <a:rPr lang="en-GB" dirty="0" err="1" smtClean="0"/>
              <a:t>Klik</a:t>
            </a:r>
            <a:r>
              <a:rPr lang="en-GB" dirty="0" smtClean="0"/>
              <a:t> om de </a:t>
            </a:r>
            <a:r>
              <a:rPr lang="en-GB" dirty="0" err="1" smtClean="0"/>
              <a:t>tekststijl</a:t>
            </a:r>
            <a:r>
              <a:rPr lang="en-GB" dirty="0" smtClean="0"/>
              <a:t> van het model te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9" name="Tijdelijke aanduiding voor voettekst 4"/>
          <p:cNvSpPr>
            <a:spLocks noGrp="1"/>
          </p:cNvSpPr>
          <p:nvPr>
            <p:ph type="ftr" sz="quarter" idx="11"/>
          </p:nvPr>
        </p:nvSpPr>
        <p:spPr>
          <a:xfrm>
            <a:off x="2865196" y="4718250"/>
            <a:ext cx="5924792" cy="365125"/>
          </a:xfrm>
          <a:prstGeom prst="rect">
            <a:avLst/>
          </a:prstGeom>
        </p:spPr>
        <p:txBody>
          <a:bodyPr anchor="b" anchorCtr="0"/>
          <a:lstStyle>
            <a:lvl1pPr algn="r">
              <a:defRPr>
                <a:latin typeface="Calibri" pitchFamily="34" charset="0"/>
              </a:defRPr>
            </a:lvl1pPr>
          </a:lstStyle>
          <a:p>
            <a:r>
              <a:rPr lang="en-GB" dirty="0" smtClean="0"/>
              <a:t>Lorem</a:t>
            </a:r>
          </a:p>
        </p:txBody>
      </p:sp>
      <p:pic>
        <p:nvPicPr>
          <p:cNvPr id="6" name="Afbeelding 5" descr="USEF outline blauw_20%.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9303" b="73476"/>
          <a:stretch/>
        </p:blipFill>
        <p:spPr>
          <a:xfrm>
            <a:off x="7986255" y="56997"/>
            <a:ext cx="1157746" cy="1143155"/>
          </a:xfrm>
          <a:prstGeom prst="rect">
            <a:avLst/>
          </a:prstGeom>
        </p:spPr>
      </p:pic>
      <p:sp>
        <p:nvSpPr>
          <p:cNvPr id="8" name="Tijdelijke aanduiding voor afbeelding 2"/>
          <p:cNvSpPr>
            <a:spLocks noGrp="1"/>
          </p:cNvSpPr>
          <p:nvPr>
            <p:ph type="pic" idx="12"/>
          </p:nvPr>
        </p:nvSpPr>
        <p:spPr>
          <a:xfrm>
            <a:off x="4751660" y="1322390"/>
            <a:ext cx="4392340" cy="3044561"/>
          </a:xfrm>
          <a:prstGeom prst="rect">
            <a:avLst/>
          </a:prstGeom>
        </p:spPr>
        <p:txBody>
          <a:bodyPr lIns="91430" tIns="45715" rIns="91430" bIns="45715"/>
          <a:lstStyle>
            <a:lvl1pPr marL="0" indent="0">
              <a:buNone/>
              <a:defRPr sz="3200">
                <a:latin typeface="Calibri" pitchFamily="34" charset="0"/>
              </a:defRPr>
            </a:lvl1pPr>
            <a:lvl2pPr marL="457137" indent="0">
              <a:buNone/>
              <a:defRPr sz="2800"/>
            </a:lvl2pPr>
            <a:lvl3pPr marL="914274" indent="0">
              <a:buNone/>
              <a:defRPr sz="2400"/>
            </a:lvl3pPr>
            <a:lvl4pPr marL="1371410" indent="0">
              <a:buNone/>
              <a:defRPr sz="2000"/>
            </a:lvl4pPr>
            <a:lvl5pPr marL="1828546" indent="0">
              <a:buNone/>
              <a:defRPr sz="2000"/>
            </a:lvl5pPr>
            <a:lvl6pPr marL="2285683" indent="0">
              <a:buNone/>
              <a:defRPr sz="2000"/>
            </a:lvl6pPr>
            <a:lvl7pPr marL="2742820" indent="0">
              <a:buNone/>
              <a:defRPr sz="2000"/>
            </a:lvl7pPr>
            <a:lvl8pPr marL="3199956" indent="0">
              <a:buNone/>
              <a:defRPr sz="2000"/>
            </a:lvl8pPr>
            <a:lvl9pPr marL="3657093" indent="0">
              <a:buNone/>
              <a:defRPr sz="2000"/>
            </a:lvl9pPr>
          </a:lstStyle>
          <a:p>
            <a:endParaRPr lang="nl-NL" dirty="0"/>
          </a:p>
        </p:txBody>
      </p:sp>
    </p:spTree>
    <p:extLst>
      <p:ext uri="{BB962C8B-B14F-4D97-AF65-F5344CB8AC3E}">
        <p14:creationId xmlns:p14="http://schemas.microsoft.com/office/powerpoint/2010/main" val="150184640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mage page">
    <p:spTree>
      <p:nvGrpSpPr>
        <p:cNvPr id="1" name=""/>
        <p:cNvGrpSpPr/>
        <p:nvPr/>
      </p:nvGrpSpPr>
      <p:grpSpPr>
        <a:xfrm>
          <a:off x="0" y="0"/>
          <a:ext cx="0" cy="0"/>
          <a:chOff x="0" y="0"/>
          <a:chExt cx="0" cy="0"/>
        </a:xfrm>
      </p:grpSpPr>
      <p:sp>
        <p:nvSpPr>
          <p:cNvPr id="5" name="Tijdelijke aanduiding voor afbeelding 2"/>
          <p:cNvSpPr>
            <a:spLocks noGrp="1"/>
          </p:cNvSpPr>
          <p:nvPr>
            <p:ph type="pic" idx="1"/>
          </p:nvPr>
        </p:nvSpPr>
        <p:spPr>
          <a:xfrm>
            <a:off x="0" y="2788"/>
            <a:ext cx="9144000" cy="4373299"/>
          </a:xfrm>
          <a:prstGeom prst="rect">
            <a:avLst/>
          </a:prstGeom>
        </p:spPr>
        <p:txBody>
          <a:bodyPr lIns="91430" tIns="45715" rIns="91430" bIns="45715"/>
          <a:lstStyle>
            <a:lvl1pPr marL="0" indent="0">
              <a:buNone/>
              <a:defRPr sz="3200">
                <a:latin typeface="Calibri" pitchFamily="34" charset="0"/>
              </a:defRPr>
            </a:lvl1pPr>
            <a:lvl2pPr marL="457137" indent="0">
              <a:buNone/>
              <a:defRPr sz="2800"/>
            </a:lvl2pPr>
            <a:lvl3pPr marL="914274" indent="0">
              <a:buNone/>
              <a:defRPr sz="2400"/>
            </a:lvl3pPr>
            <a:lvl4pPr marL="1371410" indent="0">
              <a:buNone/>
              <a:defRPr sz="2000"/>
            </a:lvl4pPr>
            <a:lvl5pPr marL="1828546" indent="0">
              <a:buNone/>
              <a:defRPr sz="2000"/>
            </a:lvl5pPr>
            <a:lvl6pPr marL="2285683" indent="0">
              <a:buNone/>
              <a:defRPr sz="2000"/>
            </a:lvl6pPr>
            <a:lvl7pPr marL="2742820" indent="0">
              <a:buNone/>
              <a:defRPr sz="2000"/>
            </a:lvl7pPr>
            <a:lvl8pPr marL="3199956" indent="0">
              <a:buNone/>
              <a:defRPr sz="2000"/>
            </a:lvl8pPr>
            <a:lvl9pPr marL="3657093" indent="0">
              <a:buNone/>
              <a:defRPr sz="2000"/>
            </a:lvl9pPr>
          </a:lstStyle>
          <a:p>
            <a:endParaRPr lang="nl-NL" dirty="0"/>
          </a:p>
        </p:txBody>
      </p:sp>
      <p:sp>
        <p:nvSpPr>
          <p:cNvPr id="4" name="Tijdelijke aanduiding voor voettekst 4"/>
          <p:cNvSpPr>
            <a:spLocks noGrp="1"/>
          </p:cNvSpPr>
          <p:nvPr>
            <p:ph type="ftr" sz="quarter" idx="11"/>
          </p:nvPr>
        </p:nvSpPr>
        <p:spPr>
          <a:xfrm>
            <a:off x="2865196" y="4714629"/>
            <a:ext cx="5924792" cy="365125"/>
          </a:xfrm>
          <a:prstGeom prst="rect">
            <a:avLst/>
          </a:prstGeom>
        </p:spPr>
        <p:txBody>
          <a:bodyPr anchor="b" anchorCtr="0"/>
          <a:lstStyle>
            <a:lvl1pPr algn="r">
              <a:defRPr>
                <a:latin typeface="Calibri" pitchFamily="34" charset="0"/>
              </a:defRPr>
            </a:lvl1pPr>
          </a:lstStyle>
          <a:p>
            <a:r>
              <a:rPr lang="en-GB" dirty="0" smtClean="0"/>
              <a:t>Lorem</a:t>
            </a:r>
          </a:p>
        </p:txBody>
      </p:sp>
    </p:spTree>
    <p:extLst>
      <p:ext uri="{BB962C8B-B14F-4D97-AF65-F5344CB8AC3E}">
        <p14:creationId xmlns:p14="http://schemas.microsoft.com/office/powerpoint/2010/main" val="168862215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page">
    <p:spTree>
      <p:nvGrpSpPr>
        <p:cNvPr id="1" name=""/>
        <p:cNvGrpSpPr/>
        <p:nvPr/>
      </p:nvGrpSpPr>
      <p:grpSpPr>
        <a:xfrm>
          <a:off x="0" y="0"/>
          <a:ext cx="0" cy="0"/>
          <a:chOff x="0" y="0"/>
          <a:chExt cx="0" cy="0"/>
        </a:xfrm>
      </p:grpSpPr>
      <p:sp>
        <p:nvSpPr>
          <p:cNvPr id="6" name="Rechthoek 5"/>
          <p:cNvSpPr>
            <a:spLocks/>
          </p:cNvSpPr>
          <p:nvPr userDrawn="1"/>
        </p:nvSpPr>
        <p:spPr>
          <a:xfrm>
            <a:off x="0" y="0"/>
            <a:ext cx="9144000" cy="4559436"/>
          </a:xfrm>
          <a:prstGeom prst="rect">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defTabSz="457137"/>
            <a:r>
              <a:rPr lang="en-GB" dirty="0" smtClean="0">
                <a:solidFill>
                  <a:prstClr val="white"/>
                </a:solidFill>
                <a:latin typeface="Calibri" pitchFamily="34" charset="0"/>
              </a:rPr>
              <a:t>        </a:t>
            </a:r>
            <a:endParaRPr lang="en-GB" dirty="0">
              <a:solidFill>
                <a:prstClr val="white"/>
              </a:solidFill>
              <a:latin typeface="Calibri" pitchFamily="34" charset="0"/>
            </a:endParaRPr>
          </a:p>
        </p:txBody>
      </p:sp>
      <p:sp>
        <p:nvSpPr>
          <p:cNvPr id="2" name="Titel 1"/>
          <p:cNvSpPr>
            <a:spLocks noGrp="1"/>
          </p:cNvSpPr>
          <p:nvPr>
            <p:ph type="title"/>
          </p:nvPr>
        </p:nvSpPr>
        <p:spPr>
          <a:xfrm>
            <a:off x="466852" y="1934926"/>
            <a:ext cx="8229600" cy="857250"/>
          </a:xfrm>
          <a:prstGeom prst="rect">
            <a:avLst/>
          </a:prstGeom>
        </p:spPr>
        <p:txBody>
          <a:bodyPr lIns="91430" tIns="45715" rIns="91430" bIns="45715"/>
          <a:lstStyle>
            <a:lvl1pPr algn="l">
              <a:defRPr b="0" i="0">
                <a:solidFill>
                  <a:schemeClr val="bg1"/>
                </a:solidFill>
                <a:latin typeface="Calibri" pitchFamily="34" charset="0"/>
                <a:cs typeface="Arial"/>
              </a:defRPr>
            </a:lvl1pPr>
          </a:lstStyle>
          <a:p>
            <a:r>
              <a:rPr lang="en-GB" dirty="0" err="1" smtClean="0"/>
              <a:t>Titelstijl</a:t>
            </a:r>
            <a:r>
              <a:rPr lang="en-GB" dirty="0" smtClean="0"/>
              <a:t> van model </a:t>
            </a:r>
            <a:r>
              <a:rPr lang="en-GB" dirty="0" err="1" smtClean="0"/>
              <a:t>bewerken</a:t>
            </a:r>
            <a:endParaRPr lang="en-GB" dirty="0"/>
          </a:p>
        </p:txBody>
      </p:sp>
      <p:sp>
        <p:nvSpPr>
          <p:cNvPr id="5" name="Tijdelijke aanduiding voor voettekst 4"/>
          <p:cNvSpPr>
            <a:spLocks noGrp="1"/>
          </p:cNvSpPr>
          <p:nvPr>
            <p:ph type="ftr" sz="quarter" idx="11"/>
          </p:nvPr>
        </p:nvSpPr>
        <p:spPr>
          <a:xfrm>
            <a:off x="2865196" y="4714329"/>
            <a:ext cx="5924792" cy="365125"/>
          </a:xfrm>
          <a:prstGeom prst="rect">
            <a:avLst/>
          </a:prstGeom>
        </p:spPr>
        <p:txBody>
          <a:bodyPr anchor="b" anchorCtr="0"/>
          <a:lstStyle>
            <a:lvl1pPr algn="r">
              <a:defRPr>
                <a:latin typeface="Calibri" pitchFamily="34" charset="0"/>
              </a:defRPr>
            </a:lvl1pPr>
          </a:lstStyle>
          <a:p>
            <a:r>
              <a:rPr lang="en-GB" dirty="0" smtClean="0"/>
              <a:t>Lorem</a:t>
            </a:r>
          </a:p>
        </p:txBody>
      </p:sp>
      <p:sp>
        <p:nvSpPr>
          <p:cNvPr id="10" name="Tijdelijke aanduiding voor inhoud 2"/>
          <p:cNvSpPr>
            <a:spLocks noGrp="1"/>
          </p:cNvSpPr>
          <p:nvPr>
            <p:ph idx="1" hasCustomPrompt="1"/>
          </p:nvPr>
        </p:nvSpPr>
        <p:spPr>
          <a:xfrm>
            <a:off x="466852" y="3085288"/>
            <a:ext cx="4294460" cy="415622"/>
          </a:xfrm>
          <a:prstGeom prst="rect">
            <a:avLst/>
          </a:prstGeom>
        </p:spPr>
        <p:txBody>
          <a:bodyPr lIns="91430" tIns="45715" rIns="91430" bIns="45715"/>
          <a:lstStyle>
            <a:lvl1pPr marL="17460" indent="0">
              <a:lnSpc>
                <a:spcPct val="120000"/>
              </a:lnSpc>
              <a:buClr>
                <a:srgbClr val="EE3E27"/>
              </a:buClr>
              <a:buFont typeface="Wingdings" charset="2"/>
              <a:buNone/>
              <a:defRPr sz="2000">
                <a:solidFill>
                  <a:srgbClr val="FFFFFF"/>
                </a:solidFill>
                <a:latin typeface="Calibri" pitchFamily="34" charset="0"/>
                <a:cs typeface="Arial"/>
              </a:defRPr>
            </a:lvl1pPr>
            <a:lvl2pPr>
              <a:lnSpc>
                <a:spcPct val="120000"/>
              </a:lnSpc>
              <a:buClr>
                <a:srgbClr val="EE3E27"/>
              </a:buClr>
              <a:defRPr sz="1800">
                <a:solidFill>
                  <a:srgbClr val="FFFFFF"/>
                </a:solidFill>
                <a:latin typeface="Helvetica"/>
                <a:cs typeface="Helvetica"/>
              </a:defRPr>
            </a:lvl2pPr>
            <a:lvl3pPr>
              <a:lnSpc>
                <a:spcPct val="120000"/>
              </a:lnSpc>
              <a:buClr>
                <a:srgbClr val="EE3E27"/>
              </a:buClr>
              <a:defRPr sz="1600">
                <a:solidFill>
                  <a:srgbClr val="FFFFFF"/>
                </a:solidFill>
                <a:latin typeface="Helvetica"/>
                <a:cs typeface="Helvetica"/>
              </a:defRPr>
            </a:lvl3pPr>
            <a:lvl4pPr>
              <a:lnSpc>
                <a:spcPct val="120000"/>
              </a:lnSpc>
              <a:buClr>
                <a:srgbClr val="EE3E27"/>
              </a:buClr>
              <a:defRPr sz="1400">
                <a:solidFill>
                  <a:srgbClr val="FFFFFF"/>
                </a:solidFill>
                <a:latin typeface="Helvetica"/>
                <a:cs typeface="Helvetica"/>
              </a:defRPr>
            </a:lvl4pPr>
            <a:lvl5pPr>
              <a:lnSpc>
                <a:spcPct val="120000"/>
              </a:lnSpc>
              <a:buClr>
                <a:srgbClr val="EE3E27"/>
              </a:buClr>
              <a:defRPr sz="1400">
                <a:solidFill>
                  <a:srgbClr val="FFFFFF"/>
                </a:solidFill>
                <a:latin typeface="Helvetica"/>
                <a:cs typeface="Helvetica"/>
              </a:defRPr>
            </a:lvl5pPr>
          </a:lstStyle>
          <a:p>
            <a:pPr lvl="0"/>
            <a:r>
              <a:rPr lang="en-GB" dirty="0" smtClean="0"/>
              <a:t>E-mail </a:t>
            </a:r>
            <a:r>
              <a:rPr lang="en-GB" dirty="0" err="1" smtClean="0"/>
              <a:t>adres</a:t>
            </a:r>
            <a:endParaRPr lang="en-GB" dirty="0"/>
          </a:p>
        </p:txBody>
      </p:sp>
      <p:sp>
        <p:nvSpPr>
          <p:cNvPr id="11" name="Tijdelijke aanduiding voor inhoud 2"/>
          <p:cNvSpPr>
            <a:spLocks noGrp="1"/>
          </p:cNvSpPr>
          <p:nvPr>
            <p:ph idx="12" hasCustomPrompt="1"/>
          </p:nvPr>
        </p:nvSpPr>
        <p:spPr>
          <a:xfrm>
            <a:off x="466852" y="3500912"/>
            <a:ext cx="4294460" cy="431509"/>
          </a:xfrm>
          <a:prstGeom prst="rect">
            <a:avLst/>
          </a:prstGeom>
        </p:spPr>
        <p:txBody>
          <a:bodyPr lIns="91430" tIns="45715" rIns="91430" bIns="45715" anchor="t" anchorCtr="0"/>
          <a:lstStyle>
            <a:lvl1pPr marL="17460" indent="0">
              <a:lnSpc>
                <a:spcPct val="120000"/>
              </a:lnSpc>
              <a:buClr>
                <a:srgbClr val="EE3E27"/>
              </a:buClr>
              <a:buFont typeface="Wingdings" charset="2"/>
              <a:buNone/>
              <a:defRPr sz="2000">
                <a:solidFill>
                  <a:schemeClr val="bg1"/>
                </a:solidFill>
                <a:latin typeface="Calibri" pitchFamily="34" charset="0"/>
                <a:cs typeface="Arial"/>
              </a:defRPr>
            </a:lvl1pPr>
            <a:lvl2pPr>
              <a:lnSpc>
                <a:spcPct val="120000"/>
              </a:lnSpc>
              <a:buClr>
                <a:srgbClr val="EE3E27"/>
              </a:buClr>
              <a:defRPr sz="1800">
                <a:solidFill>
                  <a:srgbClr val="FFFFFF"/>
                </a:solidFill>
                <a:latin typeface="Helvetica"/>
                <a:cs typeface="Helvetica"/>
              </a:defRPr>
            </a:lvl2pPr>
            <a:lvl3pPr>
              <a:lnSpc>
                <a:spcPct val="120000"/>
              </a:lnSpc>
              <a:buClr>
                <a:srgbClr val="EE3E27"/>
              </a:buClr>
              <a:defRPr sz="1600">
                <a:solidFill>
                  <a:srgbClr val="FFFFFF"/>
                </a:solidFill>
                <a:latin typeface="Helvetica"/>
                <a:cs typeface="Helvetica"/>
              </a:defRPr>
            </a:lvl3pPr>
            <a:lvl4pPr>
              <a:lnSpc>
                <a:spcPct val="120000"/>
              </a:lnSpc>
              <a:buClr>
                <a:srgbClr val="EE3E27"/>
              </a:buClr>
              <a:defRPr sz="1400">
                <a:solidFill>
                  <a:srgbClr val="FFFFFF"/>
                </a:solidFill>
                <a:latin typeface="Helvetica"/>
                <a:cs typeface="Helvetica"/>
              </a:defRPr>
            </a:lvl4pPr>
            <a:lvl5pPr>
              <a:lnSpc>
                <a:spcPct val="120000"/>
              </a:lnSpc>
              <a:buClr>
                <a:srgbClr val="EE3E27"/>
              </a:buClr>
              <a:defRPr sz="1400">
                <a:solidFill>
                  <a:srgbClr val="FFFFFF"/>
                </a:solidFill>
                <a:latin typeface="Helvetica"/>
                <a:cs typeface="Helvetica"/>
              </a:defRPr>
            </a:lvl5pPr>
          </a:lstStyle>
          <a:p>
            <a:pPr lvl="0"/>
            <a:r>
              <a:rPr lang="en-GB" dirty="0" smtClean="0"/>
              <a:t>website</a:t>
            </a:r>
            <a:endParaRPr lang="en-GB" dirty="0"/>
          </a:p>
        </p:txBody>
      </p:sp>
      <p:pic>
        <p:nvPicPr>
          <p:cNvPr id="8" name="Afbeelding 7" descr="USEF outline blauw_20%.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687671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1"/>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15" name="Rectangle 14"/>
          <p:cNvSpPr/>
          <p:nvPr userDrawn="1"/>
        </p:nvSpPr>
        <p:spPr>
          <a:xfrm>
            <a:off x="1" y="870349"/>
            <a:ext cx="8893174" cy="2338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2" name="Title 1"/>
          <p:cNvSpPr>
            <a:spLocks noGrp="1"/>
          </p:cNvSpPr>
          <p:nvPr>
            <p:ph type="ctrTitle"/>
          </p:nvPr>
        </p:nvSpPr>
        <p:spPr>
          <a:xfrm>
            <a:off x="250825" y="1231399"/>
            <a:ext cx="6445251" cy="499839"/>
          </a:xfrm>
        </p:spPr>
        <p:txBody>
          <a:bodyPr>
            <a:noAutofit/>
          </a:bodyPr>
          <a:lstStyle>
            <a:lvl1pPr>
              <a:lnSpc>
                <a:spcPct val="91000"/>
              </a:lnSpc>
              <a:defRPr sz="2200">
                <a:solidFill>
                  <a:schemeClr val="bg1"/>
                </a:solidFill>
              </a:defRPr>
            </a:lvl1pPr>
          </a:lstStyle>
          <a:p>
            <a:r>
              <a:rPr lang="en-GB" dirty="0" smtClean="0"/>
              <a:t>Click to edit Master title style</a:t>
            </a:r>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8412" r="1"/>
          <a:stretch/>
        </p:blipFill>
        <p:spPr bwMode="auto">
          <a:xfrm>
            <a:off x="0" y="195264"/>
            <a:ext cx="8893174" cy="4438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1" y="3153435"/>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 y="4704306"/>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7" y="4869563"/>
            <a:ext cx="2045659" cy="138499"/>
          </a:xfrm>
          <a:prstGeom prst="rect">
            <a:avLst/>
          </a:prstGeom>
          <a:noFill/>
        </p:spPr>
        <p:txBody>
          <a:bodyPr wrap="square" lIns="0" tIns="0" rIns="0" bIns="0" rtlCol="0">
            <a:spAutoFit/>
          </a:bodyPr>
          <a:lstStyle/>
          <a:p>
            <a:pPr algn="r" defTabSz="914296"/>
            <a:r>
              <a:rPr lang="en-GB" sz="900" b="1" cap="all" noProof="1" smtClean="0">
                <a:solidFill>
                  <a:srgbClr val="3F9C35"/>
                </a:solidFill>
              </a:rPr>
              <a:t>Safer, smarter, greener</a:t>
            </a:r>
            <a:endParaRPr lang="en-GB" sz="900" b="1" cap="all" noProof="1">
              <a:solidFill>
                <a:srgbClr val="3F9C35"/>
              </a:solidFill>
            </a:endParaRPr>
          </a:p>
        </p:txBody>
      </p:sp>
      <p:sp>
        <p:nvSpPr>
          <p:cNvPr id="8" name="Date Placeholder 7"/>
          <p:cNvSpPr>
            <a:spLocks noGrp="1"/>
          </p:cNvSpPr>
          <p:nvPr>
            <p:ph type="dt" sz="half" idx="15"/>
          </p:nvPr>
        </p:nvSpPr>
        <p:spPr/>
        <p:txBody>
          <a:bodyPr/>
          <a:lstStyle>
            <a:lvl1pPr>
              <a:defRPr>
                <a:solidFill>
                  <a:schemeClr val="bg1"/>
                </a:solidFill>
              </a:defRPr>
            </a:lvl1pPr>
          </a:lstStyle>
          <a:p>
            <a:endParaRPr lang="en-GB" dirty="0">
              <a:solidFill>
                <a:srgbClr val="FFFFFF"/>
              </a:solidFill>
            </a:endParaRPr>
          </a:p>
        </p:txBody>
      </p:sp>
      <p:sp>
        <p:nvSpPr>
          <p:cNvPr id="10" name="Footer Placeholder 9"/>
          <p:cNvSpPr>
            <a:spLocks noGrp="1"/>
          </p:cNvSpPr>
          <p:nvPr>
            <p:ph type="ftr" sz="quarter" idx="16"/>
          </p:nvPr>
        </p:nvSpPr>
        <p:spPr/>
        <p:txBody>
          <a:bodyPr/>
          <a:lstStyle/>
          <a:p>
            <a:endParaRPr lang="en-GB" dirty="0">
              <a:solidFill>
                <a:srgbClr val="333333"/>
              </a:solidFill>
            </a:endParaRPr>
          </a:p>
        </p:txBody>
      </p:sp>
      <p:sp>
        <p:nvSpPr>
          <p:cNvPr id="11" name="Slide Number Placeholder 10"/>
          <p:cNvSpPr>
            <a:spLocks noGrp="1"/>
          </p:cNvSpPr>
          <p:nvPr>
            <p:ph type="sldNum" sz="quarter" idx="17"/>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sp>
        <p:nvSpPr>
          <p:cNvPr id="23" name="TextBox 22"/>
          <p:cNvSpPr txBox="1"/>
          <p:nvPr userDrawn="1"/>
        </p:nvSpPr>
        <p:spPr>
          <a:xfrm>
            <a:off x="491056" y="4888445"/>
            <a:ext cx="732573" cy="107722"/>
          </a:xfrm>
          <a:prstGeom prst="rect">
            <a:avLst/>
          </a:prstGeom>
          <a:noFill/>
        </p:spPr>
        <p:txBody>
          <a:bodyPr wrap="none" lIns="0" tIns="0" rIns="0" bIns="0" rtlCol="0">
            <a:spAutoFit/>
          </a:bodyPr>
          <a:lstStyle/>
          <a:p>
            <a:pPr defTabSz="914296"/>
            <a:r>
              <a:rPr lang="en-GB" sz="700" dirty="0" smtClean="0">
                <a:solidFill>
                  <a:srgbClr val="333333"/>
                </a:solidFill>
              </a:rPr>
              <a:t>DNV GL © 2014</a:t>
            </a:r>
            <a:endParaRPr lang="en-GB" sz="700" dirty="0">
              <a:solidFill>
                <a:srgbClr val="333333"/>
              </a:solidFill>
            </a:endParaRPr>
          </a:p>
        </p:txBody>
      </p:sp>
      <p:sp>
        <p:nvSpPr>
          <p:cNvPr id="21" name="SD_FLD_DocumentNumber"/>
          <p:cNvSpPr txBox="1">
            <a:spLocks noChangeArrowheads="1"/>
          </p:cNvSpPr>
          <p:nvPr userDrawn="1"/>
        </p:nvSpPr>
        <p:spPr bwMode="auto">
          <a:xfrm>
            <a:off x="1691681" y="4888274"/>
            <a:ext cx="2805707" cy="1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4296"/>
            <a:endParaRPr lang="en-GB" altLang="ja-JP" sz="700" dirty="0">
              <a:solidFill>
                <a:srgbClr val="000000"/>
              </a:solidFill>
              <a:ea typeface="ＭＳ Ｐゴシック" charset="-128"/>
              <a:cs typeface="Arial" charset="0"/>
            </a:endParaRPr>
          </a:p>
        </p:txBody>
      </p:sp>
      <p:sp>
        <p:nvSpPr>
          <p:cNvPr id="27" name="SD_FLD_DocumentDate"/>
          <p:cNvSpPr/>
          <p:nvPr userDrawn="1"/>
        </p:nvSpPr>
        <p:spPr>
          <a:xfrm>
            <a:off x="249522" y="2897100"/>
            <a:ext cx="6446555" cy="248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296">
              <a:lnSpc>
                <a:spcPct val="114000"/>
              </a:lnSpc>
              <a:spcBef>
                <a:spcPts val="600"/>
              </a:spcBef>
              <a:buClr>
                <a:srgbClr val="3F9C35"/>
              </a:buClr>
              <a:buFont typeface="Wingdings 2" pitchFamily="18" charset="2"/>
              <a:buNone/>
            </a:pPr>
            <a:r>
              <a:rPr lang="en-GB" sz="1600" smtClean="0">
                <a:solidFill>
                  <a:srgbClr val="0F204B"/>
                </a:solidFill>
              </a:rPr>
              <a:t>19 January 2016</a:t>
            </a:r>
            <a:endParaRPr lang="en-GB" sz="1600" dirty="0" smtClean="0">
              <a:solidFill>
                <a:srgbClr val="0F204B"/>
              </a:solidFill>
            </a:endParaRPr>
          </a:p>
        </p:txBody>
      </p:sp>
      <p:sp>
        <p:nvSpPr>
          <p:cNvPr id="28" name="SD_FLD_Author"/>
          <p:cNvSpPr txBox="1">
            <a:spLocks noChangeArrowheads="1"/>
          </p:cNvSpPr>
          <p:nvPr userDrawn="1"/>
        </p:nvSpPr>
        <p:spPr bwMode="auto">
          <a:xfrm>
            <a:off x="250823" y="2681100"/>
            <a:ext cx="6445252" cy="218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4296">
              <a:lnSpc>
                <a:spcPct val="114000"/>
              </a:lnSpc>
              <a:spcBef>
                <a:spcPts val="600"/>
              </a:spcBef>
              <a:buClr>
                <a:srgbClr val="3F9C35"/>
              </a:buClr>
              <a:buFont typeface="Wingdings 2" pitchFamily="18" charset="2"/>
              <a:buNone/>
            </a:pPr>
            <a:endParaRPr lang="en-GB" altLang="ja-JP" sz="1600" b="1" dirty="0">
              <a:solidFill>
                <a:srgbClr val="0F204B"/>
              </a:solidFill>
            </a:endParaRPr>
          </a:p>
        </p:txBody>
      </p:sp>
      <p:sp>
        <p:nvSpPr>
          <p:cNvPr id="22" name="SD_FLD_BusinessAreaName"/>
          <p:cNvSpPr/>
          <p:nvPr userDrawn="1"/>
        </p:nvSpPr>
        <p:spPr>
          <a:xfrm>
            <a:off x="250823" y="1047600"/>
            <a:ext cx="6445252" cy="162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296">
              <a:lnSpc>
                <a:spcPct val="113000"/>
              </a:lnSpc>
              <a:spcBef>
                <a:spcPts val="600"/>
              </a:spcBef>
            </a:pPr>
            <a:endParaRPr lang="en-GB" sz="1200" b="1" cap="all" dirty="0" smtClean="0">
              <a:solidFill>
                <a:srgbClr val="FFFFFF"/>
              </a:solidFill>
            </a:endParaRPr>
          </a:p>
        </p:txBody>
      </p:sp>
      <p:sp>
        <p:nvSpPr>
          <p:cNvPr id="26" name="Subtitle 2"/>
          <p:cNvSpPr>
            <a:spLocks noGrp="1"/>
          </p:cNvSpPr>
          <p:nvPr>
            <p:ph type="subTitle" idx="1"/>
          </p:nvPr>
        </p:nvSpPr>
        <p:spPr>
          <a:xfrm>
            <a:off x="250825" y="1815666"/>
            <a:ext cx="6445250" cy="486054"/>
          </a:xfrm>
        </p:spPr>
        <p:txBody>
          <a:bodyPr/>
          <a:lstStyle>
            <a:lvl1pPr marL="0" indent="0" algn="l" defTabSz="914296" rtl="0" eaLnBrk="1" latinLnBrk="0" hangingPunct="1">
              <a:buNone/>
              <a:defRPr lang="en-US" sz="1600" b="1" kern="1200" dirty="0">
                <a:solidFill>
                  <a:schemeClr val="bg1"/>
                </a:solidFill>
                <a:latin typeface="+mn-lt"/>
                <a:ea typeface="+mn-ea"/>
                <a:cs typeface="+mn-cs"/>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4" indent="0" algn="ctr">
              <a:buNone/>
              <a:defRPr>
                <a:solidFill>
                  <a:schemeClr val="tx1">
                    <a:tint val="75000"/>
                  </a:schemeClr>
                </a:solidFill>
              </a:defRPr>
            </a:lvl4pPr>
            <a:lvl5pPr marL="1828592" indent="0" algn="ctr">
              <a:buNone/>
              <a:defRPr>
                <a:solidFill>
                  <a:schemeClr val="tx1">
                    <a:tint val="75000"/>
                  </a:schemeClr>
                </a:solidFill>
              </a:defRPr>
            </a:lvl5pPr>
            <a:lvl6pPr marL="2285740" indent="0" algn="ctr">
              <a:buNone/>
              <a:defRPr>
                <a:solidFill>
                  <a:schemeClr val="tx1">
                    <a:tint val="75000"/>
                  </a:schemeClr>
                </a:solidFill>
              </a:defRPr>
            </a:lvl6pPr>
            <a:lvl7pPr marL="2742888" indent="0" algn="ctr">
              <a:buNone/>
              <a:defRPr>
                <a:solidFill>
                  <a:schemeClr val="tx1">
                    <a:tint val="75000"/>
                  </a:schemeClr>
                </a:solidFill>
              </a:defRPr>
            </a:lvl7pPr>
            <a:lvl8pPr marL="3200036" indent="0" algn="ctr">
              <a:buNone/>
              <a:defRPr>
                <a:solidFill>
                  <a:schemeClr val="tx1">
                    <a:tint val="75000"/>
                  </a:schemeClr>
                </a:solidFill>
              </a:defRPr>
            </a:lvl8pPr>
            <a:lvl9pPr marL="3657184" indent="0" algn="ctr">
              <a:buNone/>
              <a:defRPr>
                <a:solidFill>
                  <a:schemeClr val="tx1">
                    <a:tint val="75000"/>
                  </a:schemeClr>
                </a:solidFill>
              </a:defRPr>
            </a:lvl9pPr>
          </a:lstStyle>
          <a:p>
            <a:r>
              <a:rPr lang="en-GB" dirty="0" smtClean="0"/>
              <a:t>Click to edit Master subtitle style</a:t>
            </a:r>
            <a:endParaRPr lang="en-GB" dirty="0"/>
          </a:p>
        </p:txBody>
      </p:sp>
      <p:sp>
        <p:nvSpPr>
          <p:cNvPr id="29" name="SD_FLD_Draft" hidden="1"/>
          <p:cNvSpPr txBox="1">
            <a:spLocks noChangeArrowheads="1"/>
          </p:cNvSpPr>
          <p:nvPr userDrawn="1"/>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4296">
              <a:spcBef>
                <a:spcPct val="50000"/>
              </a:spcBef>
            </a:pPr>
            <a:r>
              <a:rPr lang="en-GB" altLang="ja-JP" sz="1600" cap="all" dirty="0" smtClean="0">
                <a:solidFill>
                  <a:srgbClr val="C4262E"/>
                </a:solidFill>
                <a:ea typeface="ＭＳ Ｐゴシック" charset="-128"/>
                <a:cs typeface="Arial" charset="0"/>
              </a:rPr>
              <a:t>Draft</a:t>
            </a:r>
            <a:endParaRPr lang="en-GB" altLang="ja-JP" sz="1600" cap="all" dirty="0">
              <a:solidFill>
                <a:srgbClr val="C4262E"/>
              </a:solidFill>
              <a:ea typeface="ＭＳ Ｐゴシック" charset="-128"/>
              <a:cs typeface="Arial" charset="0"/>
            </a:endParaRPr>
          </a:p>
        </p:txBody>
      </p:sp>
    </p:spTree>
    <p:extLst>
      <p:ext uri="{BB962C8B-B14F-4D97-AF65-F5344CB8AC3E}">
        <p14:creationId xmlns:p14="http://schemas.microsoft.com/office/powerpoint/2010/main" val="2852879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page">
    <p:spTree>
      <p:nvGrpSpPr>
        <p:cNvPr id="1" name=""/>
        <p:cNvGrpSpPr/>
        <p:nvPr/>
      </p:nvGrpSpPr>
      <p:grpSpPr>
        <a:xfrm>
          <a:off x="0" y="0"/>
          <a:ext cx="0" cy="0"/>
          <a:chOff x="0" y="0"/>
          <a:chExt cx="0" cy="0"/>
        </a:xfrm>
      </p:grpSpPr>
      <p:sp>
        <p:nvSpPr>
          <p:cNvPr id="8" name="Tijdelijke aanduiding voor inhoud 2"/>
          <p:cNvSpPr>
            <a:spLocks noGrp="1"/>
          </p:cNvSpPr>
          <p:nvPr>
            <p:ph sz="half" idx="1"/>
          </p:nvPr>
        </p:nvSpPr>
        <p:spPr>
          <a:xfrm>
            <a:off x="-1" y="670964"/>
            <a:ext cx="4572001" cy="3622899"/>
          </a:xfrm>
          <a:prstGeom prst="rect">
            <a:avLst/>
          </a:prstGeom>
        </p:spPr>
        <p:txBody>
          <a:bodyPr lIns="91417" tIns="45709" rIns="91417" bIns="45709"/>
          <a:lstStyle>
            <a:lvl1pPr marL="0" indent="0">
              <a:buNone/>
              <a:defRPr sz="2800">
                <a:latin typeface="+mj-l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endParaRPr lang="en-GB" dirty="0"/>
          </a:p>
        </p:txBody>
      </p:sp>
      <p:sp>
        <p:nvSpPr>
          <p:cNvPr id="9" name="Tijdelijke aanduiding voor inhoud 2"/>
          <p:cNvSpPr>
            <a:spLocks noGrp="1"/>
          </p:cNvSpPr>
          <p:nvPr>
            <p:ph sz="half" idx="12" hasCustomPrompt="1"/>
          </p:nvPr>
        </p:nvSpPr>
        <p:spPr>
          <a:xfrm>
            <a:off x="4645025" y="3393863"/>
            <a:ext cx="900000" cy="900000"/>
          </a:xfrm>
          <a:prstGeom prst="rect">
            <a:avLst/>
          </a:prstGeom>
        </p:spPr>
        <p:txBody>
          <a:bodyPr lIns="91417" tIns="45709" rIns="91417" bIns="45709"/>
          <a:lstStyle>
            <a:lvl1pPr marL="0" indent="0">
              <a:buNone/>
              <a:defRPr sz="2800">
                <a:latin typeface="+mj-l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smtClean="0"/>
              <a:t>         </a:t>
            </a:r>
            <a:endParaRPr lang="en-GB" dirty="0"/>
          </a:p>
        </p:txBody>
      </p:sp>
      <p:sp>
        <p:nvSpPr>
          <p:cNvPr id="10" name="Tijdelijke aanduiding voor inhoud 2"/>
          <p:cNvSpPr>
            <a:spLocks noGrp="1"/>
          </p:cNvSpPr>
          <p:nvPr>
            <p:ph sz="half" idx="13"/>
          </p:nvPr>
        </p:nvSpPr>
        <p:spPr>
          <a:xfrm>
            <a:off x="7353938" y="2030740"/>
            <a:ext cx="1260000" cy="1260000"/>
          </a:xfrm>
          <a:prstGeom prst="rect">
            <a:avLst/>
          </a:prstGeom>
        </p:spPr>
        <p:txBody>
          <a:bodyPr lIns="91417" tIns="45709" rIns="91417" bIns="45709"/>
          <a:lstStyle>
            <a:lvl1pPr marL="0" indent="0">
              <a:buNone/>
              <a:defRPr sz="2800">
                <a:latin typeface="+mj-l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endParaRPr lang="en-GB" dirty="0"/>
          </a:p>
        </p:txBody>
      </p:sp>
      <p:sp>
        <p:nvSpPr>
          <p:cNvPr id="11" name="Rechthoek 10"/>
          <p:cNvSpPr>
            <a:spLocks noChangeAspect="1"/>
          </p:cNvSpPr>
          <p:nvPr userDrawn="1"/>
        </p:nvSpPr>
        <p:spPr>
          <a:xfrm>
            <a:off x="4645025" y="670964"/>
            <a:ext cx="2628000" cy="2628000"/>
          </a:xfrm>
          <a:prstGeom prst="rect">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latin typeface="+mj-lt"/>
              </a:rPr>
              <a:t>        </a:t>
            </a:r>
            <a:endParaRPr lang="en-GB" dirty="0">
              <a:latin typeface="+mj-lt"/>
            </a:endParaRPr>
          </a:p>
        </p:txBody>
      </p:sp>
      <p:sp>
        <p:nvSpPr>
          <p:cNvPr id="12" name="Rechthoek 11"/>
          <p:cNvSpPr>
            <a:spLocks noChangeAspect="1"/>
          </p:cNvSpPr>
          <p:nvPr userDrawn="1"/>
        </p:nvSpPr>
        <p:spPr>
          <a:xfrm>
            <a:off x="7344802" y="318325"/>
            <a:ext cx="288000" cy="288000"/>
          </a:xfrm>
          <a:prstGeom prst="rect">
            <a:avLst/>
          </a:prstGeom>
          <a:solidFill>
            <a:srgbClr val="EE3E27"/>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latin typeface="+mj-lt"/>
            </a:endParaRPr>
          </a:p>
        </p:txBody>
      </p:sp>
      <p:sp>
        <p:nvSpPr>
          <p:cNvPr id="13" name="Rechthoek 12"/>
          <p:cNvSpPr>
            <a:spLocks noChangeAspect="1"/>
          </p:cNvSpPr>
          <p:nvPr userDrawn="1"/>
        </p:nvSpPr>
        <p:spPr>
          <a:xfrm>
            <a:off x="8694168" y="4782860"/>
            <a:ext cx="288000" cy="28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sp>
        <p:nvSpPr>
          <p:cNvPr id="16" name="Tijdelijke aanduiding voor inhoud 5"/>
          <p:cNvSpPr>
            <a:spLocks noGrp="1"/>
          </p:cNvSpPr>
          <p:nvPr>
            <p:ph sz="quarter" idx="4"/>
          </p:nvPr>
        </p:nvSpPr>
        <p:spPr>
          <a:xfrm>
            <a:off x="4789902" y="740798"/>
            <a:ext cx="2398306" cy="1433541"/>
          </a:xfrm>
          <a:prstGeom prst="rect">
            <a:avLst/>
          </a:prstGeom>
        </p:spPr>
        <p:txBody>
          <a:bodyPr lIns="91417" tIns="45709" rIns="91417" bIns="45709"/>
          <a:lstStyle>
            <a:lvl1pPr marL="0" indent="0">
              <a:buNone/>
              <a:defRPr sz="2800" b="0" i="0">
                <a:solidFill>
                  <a:srgbClr val="FFFFFF"/>
                </a:solidFill>
                <a:latin typeface="+mj-lt"/>
                <a:cs typeface="Aria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err="1" smtClean="0"/>
              <a:t>Klik</a:t>
            </a:r>
            <a:r>
              <a:rPr lang="en-GB" dirty="0" smtClean="0"/>
              <a:t> om de </a:t>
            </a:r>
            <a:r>
              <a:rPr lang="en-GB" dirty="0" err="1" smtClean="0"/>
              <a:t>tekststijl</a:t>
            </a:r>
            <a:r>
              <a:rPr lang="en-GB" dirty="0" smtClean="0"/>
              <a:t> van het model te</a:t>
            </a:r>
          </a:p>
        </p:txBody>
      </p:sp>
      <p:sp>
        <p:nvSpPr>
          <p:cNvPr id="17" name="Tijdelijke aanduiding voor inhoud 5"/>
          <p:cNvSpPr>
            <a:spLocks noGrp="1"/>
          </p:cNvSpPr>
          <p:nvPr>
            <p:ph sz="quarter" idx="14"/>
          </p:nvPr>
        </p:nvSpPr>
        <p:spPr>
          <a:xfrm>
            <a:off x="4789902" y="2170451"/>
            <a:ext cx="2145195" cy="524637"/>
          </a:xfrm>
          <a:prstGeom prst="rect">
            <a:avLst/>
          </a:prstGeom>
        </p:spPr>
        <p:txBody>
          <a:bodyPr lIns="91417" tIns="45709" rIns="91417" bIns="45709"/>
          <a:lstStyle>
            <a:lvl1pPr marL="0" indent="0">
              <a:buNone/>
              <a:defRPr sz="1100" b="0" i="0">
                <a:solidFill>
                  <a:srgbClr val="FFFFFF"/>
                </a:solidFill>
                <a:latin typeface="+mj-lt"/>
                <a:cs typeface="Aria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err="1" smtClean="0"/>
              <a:t>Klik</a:t>
            </a:r>
            <a:r>
              <a:rPr lang="en-GB" dirty="0" smtClean="0"/>
              <a:t> om de </a:t>
            </a:r>
            <a:r>
              <a:rPr lang="en-GB" dirty="0" err="1" smtClean="0"/>
              <a:t>tekststijl</a:t>
            </a:r>
            <a:r>
              <a:rPr lang="en-GB" dirty="0" smtClean="0"/>
              <a:t> van het model te </a:t>
            </a:r>
            <a:r>
              <a:rPr lang="en-GB" dirty="0" err="1" smtClean="0"/>
              <a:t>bewerken</a:t>
            </a:r>
            <a:endParaRPr lang="en-GB" dirty="0" smtClean="0"/>
          </a:p>
        </p:txBody>
      </p:sp>
      <p:sp>
        <p:nvSpPr>
          <p:cNvPr id="18" name="Tijdelijke aanduiding voor inhoud 5"/>
          <p:cNvSpPr>
            <a:spLocks noGrp="1"/>
          </p:cNvSpPr>
          <p:nvPr>
            <p:ph sz="quarter" idx="15"/>
          </p:nvPr>
        </p:nvSpPr>
        <p:spPr>
          <a:xfrm>
            <a:off x="4786974" y="2889283"/>
            <a:ext cx="2145195" cy="308276"/>
          </a:xfrm>
          <a:prstGeom prst="rect">
            <a:avLst/>
          </a:prstGeom>
        </p:spPr>
        <p:txBody>
          <a:bodyPr lIns="91417" tIns="45709" rIns="91417" bIns="45709"/>
          <a:lstStyle>
            <a:lvl1pPr marL="0" indent="0">
              <a:buNone/>
              <a:defRPr sz="1200" b="0" i="0">
                <a:solidFill>
                  <a:srgbClr val="FFFFFF"/>
                </a:solidFill>
                <a:latin typeface="+mj-lt"/>
                <a:cs typeface="Aria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err="1" smtClean="0"/>
              <a:t>Klik</a:t>
            </a:r>
            <a:r>
              <a:rPr lang="en-GB" dirty="0" smtClean="0"/>
              <a:t> om</a:t>
            </a:r>
          </a:p>
        </p:txBody>
      </p:sp>
    </p:spTree>
    <p:extLst>
      <p:ext uri="{BB962C8B-B14F-4D97-AF65-F5344CB8AC3E}">
        <p14:creationId xmlns:p14="http://schemas.microsoft.com/office/powerpoint/2010/main" val="383277275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Date Placeholder 3"/>
          <p:cNvSpPr>
            <a:spLocks noGrp="1"/>
          </p:cNvSpPr>
          <p:nvPr>
            <p:ph type="dt" sz="half" idx="10"/>
          </p:nvPr>
        </p:nvSpPr>
        <p:spPr/>
        <p:txBody>
          <a:bodyPr/>
          <a:lstStyle/>
          <a:p>
            <a:endParaRPr lang="en-GB" dirty="0">
              <a:solidFill>
                <a:srgbClr val="333333"/>
              </a:solidFill>
            </a:endParaRPr>
          </a:p>
        </p:txBody>
      </p:sp>
      <p:sp>
        <p:nvSpPr>
          <p:cNvPr id="5" name="Footer Placeholder 4"/>
          <p:cNvSpPr>
            <a:spLocks noGrp="1"/>
          </p:cNvSpPr>
          <p:nvPr>
            <p:ph type="ftr" sz="quarter" idx="11"/>
          </p:nvPr>
        </p:nvSpPr>
        <p:spPr/>
        <p:txBody>
          <a:bodyPr/>
          <a:lstStyle/>
          <a:p>
            <a:endParaRPr lang="en-GB" dirty="0">
              <a:solidFill>
                <a:srgbClr val="333333"/>
              </a:solidFill>
            </a:endParaRPr>
          </a:p>
        </p:txBody>
      </p:sp>
      <p:sp>
        <p:nvSpPr>
          <p:cNvPr id="6" name="Slide Number Placeholder 5"/>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spTree>
    <p:extLst>
      <p:ext uri="{BB962C8B-B14F-4D97-AF65-F5344CB8AC3E}">
        <p14:creationId xmlns:p14="http://schemas.microsoft.com/office/powerpoint/2010/main" val="10744548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7" name="Rectangle 6"/>
          <p:cNvSpPr/>
          <p:nvPr userDrawn="1"/>
        </p:nvSpPr>
        <p:spPr>
          <a:xfrm>
            <a:off x="0" y="1"/>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15" name="Rectangle 14"/>
          <p:cNvSpPr/>
          <p:nvPr userDrawn="1"/>
        </p:nvSpPr>
        <p:spPr>
          <a:xfrm>
            <a:off x="1" y="870562"/>
            <a:ext cx="8893175" cy="25819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2" name="Title 1"/>
          <p:cNvSpPr>
            <a:spLocks noGrp="1"/>
          </p:cNvSpPr>
          <p:nvPr>
            <p:ph type="ctrTitle"/>
          </p:nvPr>
        </p:nvSpPr>
        <p:spPr>
          <a:xfrm>
            <a:off x="250824" y="1324029"/>
            <a:ext cx="8317620" cy="1432468"/>
          </a:xfrm>
        </p:spPr>
        <p:txBody>
          <a:bodyPr anchor="t" anchorCtr="0">
            <a:noAutofit/>
          </a:bodyPr>
          <a:lstStyle>
            <a:lvl1pPr>
              <a:lnSpc>
                <a:spcPct val="91000"/>
              </a:lnSpc>
              <a:defRPr sz="360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p>
            <a:endParaRPr lang="en-GB" dirty="0">
              <a:solidFill>
                <a:srgbClr val="333333"/>
              </a:solidFill>
            </a:endParaRPr>
          </a:p>
        </p:txBody>
      </p:sp>
      <p:sp>
        <p:nvSpPr>
          <p:cNvPr id="5" name="Footer Placeholder 4"/>
          <p:cNvSpPr>
            <a:spLocks noGrp="1"/>
          </p:cNvSpPr>
          <p:nvPr>
            <p:ph type="ftr" sz="quarter" idx="11"/>
          </p:nvPr>
        </p:nvSpPr>
        <p:spPr/>
        <p:txBody>
          <a:bodyPr/>
          <a:lstStyle/>
          <a:p>
            <a:endParaRPr lang="en-GB" dirty="0">
              <a:solidFill>
                <a:srgbClr val="333333"/>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5BA07366-CB75-4AA8-9E5B-928B849F427C}" type="slidenum">
              <a:rPr lang="en-GB" smtClean="0">
                <a:solidFill>
                  <a:srgbClr val="333333"/>
                </a:solidFill>
              </a:rPr>
              <a:pPr/>
              <a:t>‹nr.›</a:t>
            </a:fld>
            <a:endParaRPr lang="en-GB" dirty="0">
              <a:solidFill>
                <a:srgbClr val="333333"/>
              </a:solidFill>
            </a:endParaRPr>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8412" r="1"/>
          <a:stretch/>
        </p:blipFill>
        <p:spPr bwMode="auto">
          <a:xfrm>
            <a:off x="0" y="195264"/>
            <a:ext cx="8893174" cy="4438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1" y="3396362"/>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 y="4704306"/>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7" y="4869563"/>
            <a:ext cx="2045659" cy="138499"/>
          </a:xfrm>
          <a:prstGeom prst="rect">
            <a:avLst/>
          </a:prstGeom>
          <a:noFill/>
        </p:spPr>
        <p:txBody>
          <a:bodyPr wrap="square" lIns="0" tIns="0" rIns="0" bIns="0" rtlCol="0">
            <a:spAutoFit/>
          </a:bodyPr>
          <a:lstStyle/>
          <a:p>
            <a:pPr algn="r" defTabSz="914296"/>
            <a:r>
              <a:rPr lang="en-GB" sz="900" b="1" cap="all" noProof="1" smtClean="0">
                <a:solidFill>
                  <a:srgbClr val="3F9C35"/>
                </a:solidFill>
              </a:rPr>
              <a:t>Safer, smarter, greener</a:t>
            </a:r>
            <a:endParaRPr lang="en-GB" sz="900" b="1" cap="all" noProof="1">
              <a:solidFill>
                <a:srgbClr val="3F9C35"/>
              </a:solidFill>
            </a:endParaRPr>
          </a:p>
        </p:txBody>
      </p:sp>
      <p:sp>
        <p:nvSpPr>
          <p:cNvPr id="18" name="TextBox 17"/>
          <p:cNvSpPr txBox="1"/>
          <p:nvPr userDrawn="1"/>
        </p:nvSpPr>
        <p:spPr>
          <a:xfrm>
            <a:off x="491056" y="4888445"/>
            <a:ext cx="732573" cy="107722"/>
          </a:xfrm>
          <a:prstGeom prst="rect">
            <a:avLst/>
          </a:prstGeom>
          <a:noFill/>
        </p:spPr>
        <p:txBody>
          <a:bodyPr wrap="none" lIns="0" tIns="0" rIns="0" bIns="0" rtlCol="0">
            <a:spAutoFit/>
          </a:bodyPr>
          <a:lstStyle/>
          <a:p>
            <a:pPr defTabSz="914296"/>
            <a:r>
              <a:rPr lang="en-GB" sz="700" dirty="0" smtClean="0">
                <a:solidFill>
                  <a:srgbClr val="333333"/>
                </a:solidFill>
              </a:rPr>
              <a:t>DNV GL © 2014</a:t>
            </a:r>
            <a:endParaRPr lang="en-GB" sz="700" dirty="0">
              <a:solidFill>
                <a:srgbClr val="333333"/>
              </a:solidFill>
            </a:endParaRPr>
          </a:p>
        </p:txBody>
      </p:sp>
      <p:sp>
        <p:nvSpPr>
          <p:cNvPr id="16" name="SD_FLD_Confidentiality"/>
          <p:cNvSpPr/>
          <p:nvPr userDrawn="1"/>
        </p:nvSpPr>
        <p:spPr>
          <a:xfrm>
            <a:off x="250823" y="4584068"/>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296">
              <a:lnSpc>
                <a:spcPct val="113000"/>
              </a:lnSpc>
              <a:spcBef>
                <a:spcPts val="600"/>
              </a:spcBef>
            </a:pPr>
            <a:r>
              <a:rPr lang="en-GB" sz="800" b="1" smtClean="0">
                <a:solidFill>
                  <a:srgbClr val="333333"/>
                </a:solidFill>
              </a:rPr>
              <a:t>Ungraded</a:t>
            </a:r>
            <a:endParaRPr lang="en-GB" sz="800" b="1" dirty="0" smtClean="0">
              <a:solidFill>
                <a:srgbClr val="333333"/>
              </a:solidFill>
            </a:endParaRPr>
          </a:p>
        </p:txBody>
      </p:sp>
      <p:sp>
        <p:nvSpPr>
          <p:cNvPr id="22" name="SD_FLD_DocumentDate"/>
          <p:cNvSpPr txBox="1">
            <a:spLocks noChangeArrowheads="1"/>
          </p:cNvSpPr>
          <p:nvPr userDrawn="1"/>
        </p:nvSpPr>
        <p:spPr bwMode="auto">
          <a:xfrm>
            <a:off x="1692000" y="4889700"/>
            <a:ext cx="2805388" cy="13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4296">
              <a:spcBef>
                <a:spcPct val="50000"/>
              </a:spcBef>
            </a:pPr>
            <a:r>
              <a:rPr lang="en-GB" altLang="ja-JP" sz="700" smtClean="0">
                <a:solidFill>
                  <a:srgbClr val="333333"/>
                </a:solidFill>
                <a:ea typeface="ＭＳ Ｐゴシック" charset="-128"/>
                <a:cs typeface="Arial" charset="0"/>
              </a:rPr>
              <a:t>19 January 2016</a:t>
            </a:r>
            <a:endParaRPr lang="en-GB" altLang="ja-JP" sz="700" dirty="0">
              <a:solidFill>
                <a:srgbClr val="333333"/>
              </a:solidFill>
              <a:ea typeface="ＭＳ Ｐゴシック" charset="-128"/>
              <a:cs typeface="Arial" charset="0"/>
            </a:endParaRPr>
          </a:p>
        </p:txBody>
      </p:sp>
      <p:sp>
        <p:nvSpPr>
          <p:cNvPr id="23" name="SD_FLD_BusinessAreaName"/>
          <p:cNvSpPr/>
          <p:nvPr userDrawn="1"/>
        </p:nvSpPr>
        <p:spPr>
          <a:xfrm>
            <a:off x="250823" y="1047600"/>
            <a:ext cx="6445252" cy="162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296">
              <a:lnSpc>
                <a:spcPct val="113000"/>
              </a:lnSpc>
              <a:spcBef>
                <a:spcPts val="600"/>
              </a:spcBef>
            </a:pPr>
            <a:endParaRPr lang="en-GB" sz="1200" b="1" cap="all" dirty="0" smtClean="0">
              <a:solidFill>
                <a:srgbClr val="FFFFFF"/>
              </a:solidFill>
            </a:endParaRPr>
          </a:p>
        </p:txBody>
      </p:sp>
      <p:sp>
        <p:nvSpPr>
          <p:cNvPr id="25" name="SD_FLD_Draft" hidden="1"/>
          <p:cNvSpPr txBox="1">
            <a:spLocks noChangeArrowheads="1"/>
          </p:cNvSpPr>
          <p:nvPr userDrawn="1"/>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4296">
              <a:spcBef>
                <a:spcPct val="50000"/>
              </a:spcBef>
            </a:pPr>
            <a:r>
              <a:rPr lang="en-GB" altLang="ja-JP" sz="1600" cap="all" dirty="0" smtClean="0">
                <a:solidFill>
                  <a:srgbClr val="C4262E"/>
                </a:solidFill>
                <a:ea typeface="ＭＳ Ｐゴシック" charset="-128"/>
                <a:cs typeface="Arial" charset="0"/>
              </a:rPr>
              <a:t>Draft</a:t>
            </a:r>
            <a:endParaRPr lang="en-GB" altLang="ja-JP" sz="1600" cap="all" dirty="0">
              <a:solidFill>
                <a:srgbClr val="C4262E"/>
              </a:solidFill>
              <a:ea typeface="ＭＳ Ｐゴシック" charset="-128"/>
              <a:cs typeface="Arial" charset="0"/>
            </a:endParaRPr>
          </a:p>
        </p:txBody>
      </p:sp>
    </p:spTree>
    <p:extLst>
      <p:ext uri="{BB962C8B-B14F-4D97-AF65-F5344CB8AC3E}">
        <p14:creationId xmlns:p14="http://schemas.microsoft.com/office/powerpoint/2010/main" val="42574425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elcome slide with image">
    <p:spTree>
      <p:nvGrpSpPr>
        <p:cNvPr id="1" name=""/>
        <p:cNvGrpSpPr/>
        <p:nvPr/>
      </p:nvGrpSpPr>
      <p:grpSpPr>
        <a:xfrm>
          <a:off x="0" y="0"/>
          <a:ext cx="0" cy="0"/>
          <a:chOff x="0" y="0"/>
          <a:chExt cx="0" cy="0"/>
        </a:xfrm>
      </p:grpSpPr>
      <p:sp>
        <p:nvSpPr>
          <p:cNvPr id="7" name="Rectangle 6"/>
          <p:cNvSpPr/>
          <p:nvPr userDrawn="1"/>
        </p:nvSpPr>
        <p:spPr>
          <a:xfrm>
            <a:off x="0" y="1"/>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8" name="Picture Placeholder 7"/>
          <p:cNvSpPr>
            <a:spLocks noGrp="1"/>
          </p:cNvSpPr>
          <p:nvPr>
            <p:ph type="pic" sz="quarter" idx="15"/>
          </p:nvPr>
        </p:nvSpPr>
        <p:spPr>
          <a:xfrm>
            <a:off x="0" y="870347"/>
            <a:ext cx="8893174" cy="2322000"/>
          </a:xfrm>
          <a:solidFill>
            <a:schemeClr val="bg2">
              <a:lumMod val="40000"/>
              <a:lumOff val="60000"/>
            </a:schemeClr>
          </a:solidFill>
        </p:spPr>
        <p:txBody>
          <a:bodyPr/>
          <a:lstStyle>
            <a:lvl1pPr marL="0" indent="0" algn="ctr">
              <a:buFontTx/>
              <a:buNone/>
              <a:defRPr b="0"/>
            </a:lvl1pPr>
          </a:lstStyle>
          <a:p>
            <a:r>
              <a:rPr lang="en-US" smtClean="0"/>
              <a:t>Click icon to add picture</a:t>
            </a:r>
            <a:endParaRPr lang="en-US" dirty="0"/>
          </a:p>
        </p:txBody>
      </p:sp>
      <p:sp>
        <p:nvSpPr>
          <p:cNvPr id="15" name="Rectangle 14"/>
          <p:cNvSpPr/>
          <p:nvPr userDrawn="1"/>
        </p:nvSpPr>
        <p:spPr>
          <a:xfrm>
            <a:off x="1" y="3203647"/>
            <a:ext cx="8893175" cy="12909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2" name="Title 1"/>
          <p:cNvSpPr>
            <a:spLocks noGrp="1"/>
          </p:cNvSpPr>
          <p:nvPr>
            <p:ph type="ctrTitle"/>
          </p:nvPr>
        </p:nvSpPr>
        <p:spPr>
          <a:xfrm>
            <a:off x="250824" y="3657117"/>
            <a:ext cx="8317620" cy="1432468"/>
          </a:xfrm>
        </p:spPr>
        <p:txBody>
          <a:bodyPr anchor="t" anchorCtr="0">
            <a:noAutofit/>
          </a:bodyPr>
          <a:lstStyle>
            <a:lvl1pPr>
              <a:lnSpc>
                <a:spcPct val="91000"/>
              </a:lnSpc>
              <a:defRPr sz="360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p>
            <a:endParaRPr lang="en-GB" dirty="0">
              <a:solidFill>
                <a:srgbClr val="333333"/>
              </a:solidFill>
            </a:endParaRPr>
          </a:p>
        </p:txBody>
      </p:sp>
      <p:sp>
        <p:nvSpPr>
          <p:cNvPr id="5" name="Footer Placeholder 4"/>
          <p:cNvSpPr>
            <a:spLocks noGrp="1"/>
          </p:cNvSpPr>
          <p:nvPr>
            <p:ph type="ftr" sz="quarter" idx="11"/>
          </p:nvPr>
        </p:nvSpPr>
        <p:spPr/>
        <p:txBody>
          <a:bodyPr/>
          <a:lstStyle/>
          <a:p>
            <a:endParaRPr lang="en-GB" dirty="0">
              <a:solidFill>
                <a:srgbClr val="333333"/>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5BA07366-CB75-4AA8-9E5B-928B849F427C}" type="slidenum">
              <a:rPr lang="en-GB" smtClean="0">
                <a:solidFill>
                  <a:srgbClr val="333333"/>
                </a:solidFill>
              </a:rPr>
              <a:pPr/>
              <a:t>‹nr.›</a:t>
            </a:fld>
            <a:endParaRPr lang="en-GB" dirty="0">
              <a:solidFill>
                <a:srgbClr val="333333"/>
              </a:solidFill>
            </a:endParaRPr>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8412" r="1"/>
          <a:stretch/>
        </p:blipFill>
        <p:spPr bwMode="auto">
          <a:xfrm>
            <a:off x="0" y="195264"/>
            <a:ext cx="8893174" cy="4438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1" y="3198591"/>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 y="4704306"/>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7" y="4869563"/>
            <a:ext cx="2045659" cy="138499"/>
          </a:xfrm>
          <a:prstGeom prst="rect">
            <a:avLst/>
          </a:prstGeom>
          <a:noFill/>
        </p:spPr>
        <p:txBody>
          <a:bodyPr wrap="square" lIns="0" tIns="0" rIns="0" bIns="0" rtlCol="0">
            <a:spAutoFit/>
          </a:bodyPr>
          <a:lstStyle/>
          <a:p>
            <a:pPr algn="r" defTabSz="914296"/>
            <a:r>
              <a:rPr lang="en-GB" sz="900" b="1" cap="all" noProof="1" smtClean="0">
                <a:solidFill>
                  <a:srgbClr val="3F9C35"/>
                </a:solidFill>
              </a:rPr>
              <a:t>Safer, smarter, greener</a:t>
            </a:r>
            <a:endParaRPr lang="en-GB" sz="900" b="1" cap="all" noProof="1">
              <a:solidFill>
                <a:srgbClr val="3F9C35"/>
              </a:solidFill>
            </a:endParaRPr>
          </a:p>
        </p:txBody>
      </p:sp>
      <p:sp>
        <p:nvSpPr>
          <p:cNvPr id="16" name="TextBox 15"/>
          <p:cNvSpPr txBox="1"/>
          <p:nvPr userDrawn="1"/>
        </p:nvSpPr>
        <p:spPr>
          <a:xfrm>
            <a:off x="491056" y="4888445"/>
            <a:ext cx="732573" cy="107722"/>
          </a:xfrm>
          <a:prstGeom prst="rect">
            <a:avLst/>
          </a:prstGeom>
          <a:noFill/>
        </p:spPr>
        <p:txBody>
          <a:bodyPr wrap="none" lIns="0" tIns="0" rIns="0" bIns="0" rtlCol="0">
            <a:spAutoFit/>
          </a:bodyPr>
          <a:lstStyle/>
          <a:p>
            <a:pPr defTabSz="914296"/>
            <a:r>
              <a:rPr lang="en-GB" sz="700" dirty="0" smtClean="0">
                <a:solidFill>
                  <a:srgbClr val="333333"/>
                </a:solidFill>
              </a:rPr>
              <a:t>DNV GL © 2014</a:t>
            </a:r>
            <a:endParaRPr lang="en-GB" sz="700" dirty="0">
              <a:solidFill>
                <a:srgbClr val="333333"/>
              </a:solidFill>
            </a:endParaRPr>
          </a:p>
        </p:txBody>
      </p:sp>
      <p:sp>
        <p:nvSpPr>
          <p:cNvPr id="18" name="SD_FLD_Confidentiality"/>
          <p:cNvSpPr/>
          <p:nvPr userDrawn="1"/>
        </p:nvSpPr>
        <p:spPr>
          <a:xfrm>
            <a:off x="250823" y="4584068"/>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296">
              <a:lnSpc>
                <a:spcPct val="113000"/>
              </a:lnSpc>
              <a:spcBef>
                <a:spcPts val="600"/>
              </a:spcBef>
            </a:pPr>
            <a:r>
              <a:rPr lang="en-GB" sz="800" b="1" smtClean="0">
                <a:solidFill>
                  <a:srgbClr val="333333"/>
                </a:solidFill>
              </a:rPr>
              <a:t>Ungraded</a:t>
            </a:r>
            <a:endParaRPr lang="en-GB" sz="800" b="1" dirty="0" smtClean="0">
              <a:solidFill>
                <a:srgbClr val="333333"/>
              </a:solidFill>
            </a:endParaRPr>
          </a:p>
        </p:txBody>
      </p:sp>
      <p:sp>
        <p:nvSpPr>
          <p:cNvPr id="22" name="SD_FLD_DocumentDate"/>
          <p:cNvSpPr txBox="1">
            <a:spLocks noChangeArrowheads="1"/>
          </p:cNvSpPr>
          <p:nvPr userDrawn="1"/>
        </p:nvSpPr>
        <p:spPr bwMode="auto">
          <a:xfrm>
            <a:off x="1692000" y="4889700"/>
            <a:ext cx="2805388" cy="13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4296">
              <a:spcBef>
                <a:spcPct val="50000"/>
              </a:spcBef>
            </a:pPr>
            <a:r>
              <a:rPr lang="en-GB" altLang="ja-JP" sz="700" smtClean="0">
                <a:solidFill>
                  <a:srgbClr val="333333"/>
                </a:solidFill>
                <a:ea typeface="ＭＳ Ｐゴシック" charset="-128"/>
                <a:cs typeface="Arial" charset="0"/>
              </a:rPr>
              <a:t>19 January 2016</a:t>
            </a:r>
            <a:endParaRPr lang="en-GB" altLang="ja-JP" sz="700" dirty="0">
              <a:solidFill>
                <a:srgbClr val="333333"/>
              </a:solidFill>
              <a:ea typeface="ＭＳ Ｐゴシック" charset="-128"/>
              <a:cs typeface="Arial" charset="0"/>
            </a:endParaRPr>
          </a:p>
        </p:txBody>
      </p:sp>
      <p:sp>
        <p:nvSpPr>
          <p:cNvPr id="24" name="SD_FLD_BusinessAreaName"/>
          <p:cNvSpPr/>
          <p:nvPr userDrawn="1"/>
        </p:nvSpPr>
        <p:spPr>
          <a:xfrm>
            <a:off x="250825" y="3376197"/>
            <a:ext cx="6445252" cy="162112"/>
          </a:xfrm>
          <a:prstGeom prst="rect">
            <a:avLst/>
          </a:prstGeom>
        </p:spPr>
        <p:txBody>
          <a:bodyPr vert="horz" lIns="0" tIns="0" rIns="0" bIns="0" rtlCol="0" anchor="b" anchorCtr="0">
            <a:noAutofit/>
          </a:bodyPr>
          <a:lstStyle/>
          <a:p>
            <a:pPr defTabSz="914296">
              <a:lnSpc>
                <a:spcPct val="114000"/>
              </a:lnSpc>
              <a:spcBef>
                <a:spcPts val="600"/>
              </a:spcBef>
              <a:buClr>
                <a:srgbClr val="3F9C35"/>
              </a:buClr>
              <a:buFont typeface="Wingdings 2" pitchFamily="18" charset="2"/>
              <a:buNone/>
            </a:pPr>
            <a:endParaRPr lang="en-GB" sz="1400" b="1" cap="all" dirty="0" smtClean="0">
              <a:solidFill>
                <a:srgbClr val="FFFFFF"/>
              </a:solidFill>
            </a:endParaRPr>
          </a:p>
        </p:txBody>
      </p:sp>
      <p:sp>
        <p:nvSpPr>
          <p:cNvPr id="23" name="SD_FLD_Draft" hidden="1"/>
          <p:cNvSpPr txBox="1">
            <a:spLocks noChangeArrowheads="1"/>
          </p:cNvSpPr>
          <p:nvPr userDrawn="1"/>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4296">
              <a:spcBef>
                <a:spcPct val="50000"/>
              </a:spcBef>
            </a:pPr>
            <a:r>
              <a:rPr lang="en-GB" altLang="ja-JP" sz="1600" cap="all" dirty="0" smtClean="0">
                <a:solidFill>
                  <a:srgbClr val="C4262E"/>
                </a:solidFill>
                <a:ea typeface="ＭＳ Ｐゴシック" charset="-128"/>
                <a:cs typeface="Arial" charset="0"/>
              </a:rPr>
              <a:t>Draft</a:t>
            </a:r>
            <a:endParaRPr lang="en-GB" altLang="ja-JP" sz="1600" cap="all" dirty="0">
              <a:solidFill>
                <a:srgbClr val="C4262E"/>
              </a:solidFill>
              <a:ea typeface="ＭＳ Ｐゴシック" charset="-128"/>
              <a:cs typeface="Arial" charset="0"/>
            </a:endParaRPr>
          </a:p>
        </p:txBody>
      </p:sp>
    </p:spTree>
    <p:extLst>
      <p:ext uri="{BB962C8B-B14F-4D97-AF65-F5344CB8AC3E}">
        <p14:creationId xmlns:p14="http://schemas.microsoft.com/office/powerpoint/2010/main" val="2485119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7" name="Rectangle 6"/>
          <p:cNvSpPr/>
          <p:nvPr userDrawn="1"/>
        </p:nvSpPr>
        <p:spPr>
          <a:xfrm>
            <a:off x="0" y="1"/>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15" name="Rectangle 14"/>
          <p:cNvSpPr/>
          <p:nvPr userDrawn="1"/>
        </p:nvSpPr>
        <p:spPr>
          <a:xfrm>
            <a:off x="1" y="2949792"/>
            <a:ext cx="8893174" cy="1544818"/>
          </a:xfrm>
          <a:prstGeom prst="rect">
            <a:avLst/>
          </a:prstGeom>
          <a:solidFill>
            <a:srgbClr val="009FDA"/>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18" name="Picture Placeholder 7"/>
          <p:cNvSpPr>
            <a:spLocks noGrp="1"/>
          </p:cNvSpPr>
          <p:nvPr>
            <p:ph type="pic" sz="quarter" idx="15"/>
          </p:nvPr>
        </p:nvSpPr>
        <p:spPr>
          <a:xfrm>
            <a:off x="0" y="870348"/>
            <a:ext cx="8893174" cy="2067637"/>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
        <p:nvSpPr>
          <p:cNvPr id="2" name="Title 1"/>
          <p:cNvSpPr>
            <a:spLocks noGrp="1"/>
          </p:cNvSpPr>
          <p:nvPr>
            <p:ph type="ctrTitle"/>
          </p:nvPr>
        </p:nvSpPr>
        <p:spPr>
          <a:xfrm>
            <a:off x="250826" y="3234260"/>
            <a:ext cx="6445251" cy="499839"/>
          </a:xfrm>
        </p:spPr>
        <p:txBody>
          <a:bodyPr>
            <a:noAutofit/>
          </a:bodyPr>
          <a:lstStyle>
            <a:lvl1pPr>
              <a:lnSpc>
                <a:spcPct val="91000"/>
              </a:lnSpc>
              <a:defRPr sz="220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endParaRPr lang="en-GB" dirty="0">
              <a:solidFill>
                <a:srgbClr val="FFFFFF"/>
              </a:solidFill>
            </a:endParaRPr>
          </a:p>
        </p:txBody>
      </p:sp>
      <p:sp>
        <p:nvSpPr>
          <p:cNvPr id="5" name="Footer Placeholder 4"/>
          <p:cNvSpPr>
            <a:spLocks noGrp="1"/>
          </p:cNvSpPr>
          <p:nvPr>
            <p:ph type="ftr" sz="quarter" idx="11"/>
          </p:nvPr>
        </p:nvSpPr>
        <p:spPr/>
        <p:txBody>
          <a:bodyPr/>
          <a:lstStyle/>
          <a:p>
            <a:endParaRPr lang="en-GB" dirty="0">
              <a:solidFill>
                <a:srgbClr val="333333"/>
              </a:solidFill>
            </a:endParaRPr>
          </a:p>
        </p:txBody>
      </p:sp>
      <p:sp>
        <p:nvSpPr>
          <p:cNvPr id="6" name="Slide Number Placeholder 5"/>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8412" r="1"/>
          <a:stretch/>
        </p:blipFill>
        <p:spPr bwMode="auto">
          <a:xfrm>
            <a:off x="0" y="195264"/>
            <a:ext cx="8893174" cy="4438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1" y="2943706"/>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 y="4704306"/>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7" y="4869563"/>
            <a:ext cx="2045659" cy="138499"/>
          </a:xfrm>
          <a:prstGeom prst="rect">
            <a:avLst/>
          </a:prstGeom>
          <a:noFill/>
        </p:spPr>
        <p:txBody>
          <a:bodyPr wrap="square" lIns="0" tIns="0" rIns="0" bIns="0" rtlCol="0">
            <a:spAutoFit/>
          </a:bodyPr>
          <a:lstStyle/>
          <a:p>
            <a:pPr algn="r" defTabSz="914296"/>
            <a:r>
              <a:rPr lang="en-GB" sz="900" b="1" cap="all" noProof="1" smtClean="0">
                <a:solidFill>
                  <a:srgbClr val="3F9C35"/>
                </a:solidFill>
              </a:rPr>
              <a:t>Safer, smarter, greener</a:t>
            </a:r>
            <a:endParaRPr lang="en-GB" sz="900" b="1" cap="all" noProof="1">
              <a:solidFill>
                <a:srgbClr val="3F9C35"/>
              </a:solidFill>
            </a:endParaRPr>
          </a:p>
        </p:txBody>
      </p:sp>
      <p:sp>
        <p:nvSpPr>
          <p:cNvPr id="21" name="TextBox 20"/>
          <p:cNvSpPr txBox="1"/>
          <p:nvPr userDrawn="1"/>
        </p:nvSpPr>
        <p:spPr>
          <a:xfrm>
            <a:off x="491056" y="4888445"/>
            <a:ext cx="732573" cy="107722"/>
          </a:xfrm>
          <a:prstGeom prst="rect">
            <a:avLst/>
          </a:prstGeom>
          <a:noFill/>
        </p:spPr>
        <p:txBody>
          <a:bodyPr wrap="none" lIns="0" tIns="0" rIns="0" bIns="0" rtlCol="0">
            <a:spAutoFit/>
          </a:bodyPr>
          <a:lstStyle/>
          <a:p>
            <a:pPr defTabSz="914296"/>
            <a:r>
              <a:rPr lang="en-GB" sz="700" dirty="0" smtClean="0">
                <a:solidFill>
                  <a:srgbClr val="333333"/>
                </a:solidFill>
              </a:rPr>
              <a:t>DNV GL © 2014</a:t>
            </a:r>
            <a:endParaRPr lang="en-GB" sz="700" dirty="0">
              <a:solidFill>
                <a:srgbClr val="333333"/>
              </a:solidFill>
            </a:endParaRPr>
          </a:p>
        </p:txBody>
      </p:sp>
      <p:sp>
        <p:nvSpPr>
          <p:cNvPr id="22" name="SD_FLD_Author"/>
          <p:cNvSpPr txBox="1">
            <a:spLocks noChangeArrowheads="1"/>
          </p:cNvSpPr>
          <p:nvPr userDrawn="1"/>
        </p:nvSpPr>
        <p:spPr bwMode="auto">
          <a:xfrm>
            <a:off x="250823" y="4022402"/>
            <a:ext cx="6445252" cy="218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lstStyle/>
          <a:p>
            <a:pPr defTabSz="914296">
              <a:lnSpc>
                <a:spcPct val="114000"/>
              </a:lnSpc>
              <a:spcBef>
                <a:spcPts val="600"/>
              </a:spcBef>
              <a:buClr>
                <a:srgbClr val="3F9C35"/>
              </a:buClr>
              <a:buFont typeface="Wingdings 2" pitchFamily="18" charset="2"/>
              <a:buNone/>
            </a:pPr>
            <a:endParaRPr lang="en-GB" altLang="ja-JP" sz="1200" b="1" dirty="0">
              <a:solidFill>
                <a:srgbClr val="0F204B"/>
              </a:solidFill>
            </a:endParaRPr>
          </a:p>
        </p:txBody>
      </p:sp>
      <p:sp>
        <p:nvSpPr>
          <p:cNvPr id="23" name="SD_FLD_DocumentDate"/>
          <p:cNvSpPr/>
          <p:nvPr userDrawn="1"/>
        </p:nvSpPr>
        <p:spPr>
          <a:xfrm>
            <a:off x="249522" y="4264208"/>
            <a:ext cx="6446555" cy="2304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296">
              <a:lnSpc>
                <a:spcPct val="114000"/>
              </a:lnSpc>
              <a:spcBef>
                <a:spcPts val="600"/>
              </a:spcBef>
              <a:buClr>
                <a:srgbClr val="3F9C35"/>
              </a:buClr>
              <a:buFont typeface="Wingdings 2" pitchFamily="18" charset="2"/>
              <a:buNone/>
            </a:pPr>
            <a:r>
              <a:rPr lang="en-GB" sz="1200" smtClean="0">
                <a:solidFill>
                  <a:srgbClr val="0F204B"/>
                </a:solidFill>
              </a:rPr>
              <a:t>19 January 2016</a:t>
            </a:r>
            <a:endParaRPr lang="en-GB" sz="1200" dirty="0" smtClean="0">
              <a:solidFill>
                <a:srgbClr val="0F204B"/>
              </a:solidFill>
            </a:endParaRPr>
          </a:p>
        </p:txBody>
      </p:sp>
      <p:sp>
        <p:nvSpPr>
          <p:cNvPr id="24" name="SD_FLD_Confidentiality"/>
          <p:cNvSpPr/>
          <p:nvPr userDrawn="1"/>
        </p:nvSpPr>
        <p:spPr>
          <a:xfrm>
            <a:off x="250823" y="4584068"/>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296">
              <a:lnSpc>
                <a:spcPct val="113000"/>
              </a:lnSpc>
              <a:spcBef>
                <a:spcPts val="600"/>
              </a:spcBef>
            </a:pPr>
            <a:r>
              <a:rPr lang="en-GB" sz="800" b="1" smtClean="0">
                <a:solidFill>
                  <a:srgbClr val="333333"/>
                </a:solidFill>
              </a:rPr>
              <a:t>Ungraded</a:t>
            </a:r>
            <a:endParaRPr lang="en-GB" sz="800" b="1" dirty="0" smtClean="0">
              <a:solidFill>
                <a:srgbClr val="333333"/>
              </a:solidFill>
            </a:endParaRPr>
          </a:p>
        </p:txBody>
      </p:sp>
      <p:sp>
        <p:nvSpPr>
          <p:cNvPr id="26" name="SD_FLD_DocumentNumber"/>
          <p:cNvSpPr txBox="1">
            <a:spLocks noChangeArrowheads="1"/>
          </p:cNvSpPr>
          <p:nvPr userDrawn="1"/>
        </p:nvSpPr>
        <p:spPr bwMode="auto">
          <a:xfrm>
            <a:off x="1691681" y="4888274"/>
            <a:ext cx="2805707" cy="1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4296"/>
            <a:endParaRPr lang="en-GB" altLang="ja-JP" sz="700" dirty="0">
              <a:solidFill>
                <a:srgbClr val="000000"/>
              </a:solidFill>
              <a:ea typeface="ＭＳ Ｐゴシック" charset="-128"/>
              <a:cs typeface="Arial" charset="0"/>
            </a:endParaRPr>
          </a:p>
        </p:txBody>
      </p:sp>
      <p:sp>
        <p:nvSpPr>
          <p:cNvPr id="28" name="SD_FLD_BusinessAreaName"/>
          <p:cNvSpPr/>
          <p:nvPr userDrawn="1"/>
        </p:nvSpPr>
        <p:spPr>
          <a:xfrm>
            <a:off x="246122" y="3042665"/>
            <a:ext cx="6445252" cy="162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296">
              <a:lnSpc>
                <a:spcPct val="113000"/>
              </a:lnSpc>
              <a:spcBef>
                <a:spcPts val="600"/>
              </a:spcBef>
            </a:pPr>
            <a:endParaRPr lang="en-GB" sz="1200" b="1" cap="all" dirty="0" smtClean="0">
              <a:solidFill>
                <a:srgbClr val="FFFFFF"/>
              </a:solidFill>
            </a:endParaRPr>
          </a:p>
        </p:txBody>
      </p:sp>
      <p:sp>
        <p:nvSpPr>
          <p:cNvPr id="30" name="Subtitle 2"/>
          <p:cNvSpPr>
            <a:spLocks noGrp="1"/>
          </p:cNvSpPr>
          <p:nvPr>
            <p:ph type="subTitle" idx="1"/>
          </p:nvPr>
        </p:nvSpPr>
        <p:spPr>
          <a:xfrm>
            <a:off x="250825" y="3779375"/>
            <a:ext cx="6445250" cy="243027"/>
          </a:xfrm>
        </p:spPr>
        <p:txBody>
          <a:bodyPr/>
          <a:lstStyle>
            <a:lvl1pPr marL="0" indent="0" algn="l" defTabSz="914296" rtl="0" eaLnBrk="1" latinLnBrk="0" hangingPunct="1">
              <a:buNone/>
              <a:defRPr lang="en-US" sz="1600" b="1" kern="1200" dirty="0">
                <a:solidFill>
                  <a:schemeClr val="bg1"/>
                </a:solidFill>
                <a:latin typeface="+mn-lt"/>
                <a:ea typeface="+mn-ea"/>
                <a:cs typeface="+mn-cs"/>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4" indent="0" algn="ctr">
              <a:buNone/>
              <a:defRPr>
                <a:solidFill>
                  <a:schemeClr val="tx1">
                    <a:tint val="75000"/>
                  </a:schemeClr>
                </a:solidFill>
              </a:defRPr>
            </a:lvl4pPr>
            <a:lvl5pPr marL="1828592" indent="0" algn="ctr">
              <a:buNone/>
              <a:defRPr>
                <a:solidFill>
                  <a:schemeClr val="tx1">
                    <a:tint val="75000"/>
                  </a:schemeClr>
                </a:solidFill>
              </a:defRPr>
            </a:lvl5pPr>
            <a:lvl6pPr marL="2285740" indent="0" algn="ctr">
              <a:buNone/>
              <a:defRPr>
                <a:solidFill>
                  <a:schemeClr val="tx1">
                    <a:tint val="75000"/>
                  </a:schemeClr>
                </a:solidFill>
              </a:defRPr>
            </a:lvl6pPr>
            <a:lvl7pPr marL="2742888" indent="0" algn="ctr">
              <a:buNone/>
              <a:defRPr>
                <a:solidFill>
                  <a:schemeClr val="tx1">
                    <a:tint val="75000"/>
                  </a:schemeClr>
                </a:solidFill>
              </a:defRPr>
            </a:lvl7pPr>
            <a:lvl8pPr marL="3200036" indent="0" algn="ctr">
              <a:buNone/>
              <a:defRPr>
                <a:solidFill>
                  <a:schemeClr val="tx1">
                    <a:tint val="75000"/>
                  </a:schemeClr>
                </a:solidFill>
              </a:defRPr>
            </a:lvl8pPr>
            <a:lvl9pPr marL="3657184" indent="0" algn="ctr">
              <a:buNone/>
              <a:defRPr>
                <a:solidFill>
                  <a:schemeClr val="tx1">
                    <a:tint val="75000"/>
                  </a:schemeClr>
                </a:solidFill>
              </a:defRPr>
            </a:lvl9pPr>
          </a:lstStyle>
          <a:p>
            <a:r>
              <a:rPr lang="en-GB" dirty="0" smtClean="0"/>
              <a:t>Click to edit Master subtitle style</a:t>
            </a:r>
            <a:endParaRPr lang="en-GB" dirty="0"/>
          </a:p>
        </p:txBody>
      </p:sp>
      <p:sp>
        <p:nvSpPr>
          <p:cNvPr id="27" name="SD_FLD_Draft" hidden="1"/>
          <p:cNvSpPr txBox="1">
            <a:spLocks noChangeArrowheads="1"/>
          </p:cNvSpPr>
          <p:nvPr userDrawn="1"/>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4296">
              <a:spcBef>
                <a:spcPct val="50000"/>
              </a:spcBef>
            </a:pPr>
            <a:r>
              <a:rPr lang="en-GB" altLang="ja-JP" sz="1600" cap="all" dirty="0" smtClean="0">
                <a:solidFill>
                  <a:srgbClr val="C4262E"/>
                </a:solidFill>
                <a:ea typeface="ＭＳ Ｐゴシック" charset="-128"/>
                <a:cs typeface="Arial" charset="0"/>
              </a:rPr>
              <a:t>Draft</a:t>
            </a:r>
            <a:endParaRPr lang="en-GB" altLang="ja-JP" sz="1600" cap="all" dirty="0">
              <a:solidFill>
                <a:srgbClr val="C4262E"/>
              </a:solidFill>
              <a:ea typeface="ＭＳ Ｐゴシック" charset="-128"/>
              <a:cs typeface="Arial" charset="0"/>
            </a:endParaRPr>
          </a:p>
        </p:txBody>
      </p:sp>
    </p:spTree>
    <p:extLst>
      <p:ext uri="{BB962C8B-B14F-4D97-AF65-F5344CB8AC3E}">
        <p14:creationId xmlns:p14="http://schemas.microsoft.com/office/powerpoint/2010/main" val="16239570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7" name="Rectangle 6"/>
          <p:cNvSpPr/>
          <p:nvPr userDrawn="1"/>
        </p:nvSpPr>
        <p:spPr>
          <a:xfrm>
            <a:off x="1" y="195264"/>
            <a:ext cx="8893174" cy="429934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2" name="Title 1"/>
          <p:cNvSpPr>
            <a:spLocks noGrp="1"/>
          </p:cNvSpPr>
          <p:nvPr>
            <p:ph type="title"/>
          </p:nvPr>
        </p:nvSpPr>
        <p:spPr>
          <a:xfrm>
            <a:off x="250825" y="951572"/>
            <a:ext cx="6445250" cy="973671"/>
          </a:xfrm>
        </p:spPr>
        <p:txBody>
          <a:bodyPr anchor="t">
            <a:noAutofit/>
          </a:bodyPr>
          <a:lstStyle>
            <a:lvl1pPr algn="l">
              <a:defRPr sz="2400" b="1" cap="none" baseline="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p>
            <a:endParaRPr lang="en-GB" dirty="0">
              <a:solidFill>
                <a:srgbClr val="333333"/>
              </a:solidFill>
            </a:endParaRPr>
          </a:p>
        </p:txBody>
      </p:sp>
      <p:sp>
        <p:nvSpPr>
          <p:cNvPr id="5" name="Footer Placeholder 4"/>
          <p:cNvSpPr>
            <a:spLocks noGrp="1"/>
          </p:cNvSpPr>
          <p:nvPr>
            <p:ph type="ftr" sz="quarter" idx="11"/>
          </p:nvPr>
        </p:nvSpPr>
        <p:spPr/>
        <p:txBody>
          <a:bodyPr/>
          <a:lstStyle/>
          <a:p>
            <a:endParaRPr lang="en-GB" dirty="0">
              <a:solidFill>
                <a:srgbClr val="333333"/>
              </a:solidFill>
            </a:endParaRPr>
          </a:p>
        </p:txBody>
      </p:sp>
      <p:sp>
        <p:nvSpPr>
          <p:cNvPr id="6" name="Slide Number Placeholder 5"/>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sp>
        <p:nvSpPr>
          <p:cNvPr id="11" name="Rectangle 10"/>
          <p:cNvSpPr/>
          <p:nvPr userDrawn="1"/>
        </p:nvSpPr>
        <p:spPr>
          <a:xfrm>
            <a:off x="0" y="4430701"/>
            <a:ext cx="8892000" cy="16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Tree>
    <p:extLst>
      <p:ext uri="{BB962C8B-B14F-4D97-AF65-F5344CB8AC3E}">
        <p14:creationId xmlns:p14="http://schemas.microsoft.com/office/powerpoint/2010/main" val="26555421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slide with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95264"/>
            <a:ext cx="8892000" cy="4299347"/>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
        <p:nvSpPr>
          <p:cNvPr id="2" name="Title 1"/>
          <p:cNvSpPr>
            <a:spLocks noGrp="1"/>
          </p:cNvSpPr>
          <p:nvPr>
            <p:ph type="title"/>
          </p:nvPr>
        </p:nvSpPr>
        <p:spPr>
          <a:xfrm>
            <a:off x="250825" y="951572"/>
            <a:ext cx="6445250" cy="973671"/>
          </a:xfrm>
        </p:spPr>
        <p:txBody>
          <a:bodyPr anchor="t">
            <a:noAutofit/>
          </a:bodyPr>
          <a:lstStyle>
            <a:lvl1pPr algn="l">
              <a:defRPr sz="2400" b="1" cap="none" baseline="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p>
            <a:endParaRPr lang="en-GB" dirty="0">
              <a:solidFill>
                <a:srgbClr val="333333"/>
              </a:solidFill>
            </a:endParaRPr>
          </a:p>
        </p:txBody>
      </p:sp>
      <p:sp>
        <p:nvSpPr>
          <p:cNvPr id="5" name="Footer Placeholder 4"/>
          <p:cNvSpPr>
            <a:spLocks noGrp="1"/>
          </p:cNvSpPr>
          <p:nvPr>
            <p:ph type="ftr" sz="quarter" idx="11"/>
          </p:nvPr>
        </p:nvSpPr>
        <p:spPr/>
        <p:txBody>
          <a:bodyPr/>
          <a:lstStyle/>
          <a:p>
            <a:endParaRPr lang="en-GB" dirty="0">
              <a:solidFill>
                <a:srgbClr val="333333"/>
              </a:solidFill>
            </a:endParaRPr>
          </a:p>
        </p:txBody>
      </p:sp>
      <p:sp>
        <p:nvSpPr>
          <p:cNvPr id="6" name="Slide Number Placeholder 5"/>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sp>
        <p:nvSpPr>
          <p:cNvPr id="12" name="Table Placeholder 11"/>
          <p:cNvSpPr>
            <a:spLocks noGrp="1"/>
          </p:cNvSpPr>
          <p:nvPr>
            <p:ph type="tbl" sz="quarter" idx="14"/>
          </p:nvPr>
        </p:nvSpPr>
        <p:spPr>
          <a:xfrm>
            <a:off x="0" y="4430378"/>
            <a:ext cx="8892000" cy="16193"/>
          </a:xfrm>
          <a:solidFill>
            <a:schemeClr val="bg1"/>
          </a:solidFill>
        </p:spPr>
        <p:txBody>
          <a:bodyPr>
            <a:normAutofit/>
          </a:bodyPr>
          <a:lstStyle>
            <a:lvl1pPr>
              <a:defRPr sz="100">
                <a:solidFill>
                  <a:schemeClr val="bg1"/>
                </a:solidFill>
              </a:defRPr>
            </a:lvl1pPr>
          </a:lstStyle>
          <a:p>
            <a:r>
              <a:rPr lang="en-US" smtClean="0"/>
              <a:t>Click icon to add table</a:t>
            </a:r>
            <a:endParaRPr lang="en-US" dirty="0"/>
          </a:p>
        </p:txBody>
      </p:sp>
    </p:spTree>
    <p:extLst>
      <p:ext uri="{BB962C8B-B14F-4D97-AF65-F5344CB8AC3E}">
        <p14:creationId xmlns:p14="http://schemas.microsoft.com/office/powerpoint/2010/main" val="19871391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250826" y="951310"/>
            <a:ext cx="4243389" cy="35433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649789" y="951310"/>
            <a:ext cx="4243387" cy="35433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Date Placeholder 4"/>
          <p:cNvSpPr>
            <a:spLocks noGrp="1"/>
          </p:cNvSpPr>
          <p:nvPr>
            <p:ph type="dt" sz="half" idx="10"/>
          </p:nvPr>
        </p:nvSpPr>
        <p:spPr/>
        <p:txBody>
          <a:bodyPr/>
          <a:lstStyle/>
          <a:p>
            <a:endParaRPr lang="en-GB" dirty="0">
              <a:solidFill>
                <a:srgbClr val="333333"/>
              </a:solidFill>
            </a:endParaRPr>
          </a:p>
        </p:txBody>
      </p:sp>
      <p:sp>
        <p:nvSpPr>
          <p:cNvPr id="6" name="Footer Placeholder 5"/>
          <p:cNvSpPr>
            <a:spLocks noGrp="1"/>
          </p:cNvSpPr>
          <p:nvPr>
            <p:ph type="ftr" sz="quarter" idx="11"/>
          </p:nvPr>
        </p:nvSpPr>
        <p:spPr/>
        <p:txBody>
          <a:bodyPr/>
          <a:lstStyle/>
          <a:p>
            <a:endParaRPr lang="en-GB" dirty="0">
              <a:solidFill>
                <a:srgbClr val="333333"/>
              </a:solidFill>
            </a:endParaRPr>
          </a:p>
        </p:txBody>
      </p:sp>
      <p:sp>
        <p:nvSpPr>
          <p:cNvPr id="7" name="Slide Number Placeholder 6"/>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spTree>
    <p:extLst>
      <p:ext uri="{BB962C8B-B14F-4D97-AF65-F5344CB8AC3E}">
        <p14:creationId xmlns:p14="http://schemas.microsoft.com/office/powerpoint/2010/main" val="28410165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250824" y="953100"/>
            <a:ext cx="4244976" cy="354151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Date Placeholder 4"/>
          <p:cNvSpPr>
            <a:spLocks noGrp="1"/>
          </p:cNvSpPr>
          <p:nvPr>
            <p:ph type="dt" sz="half" idx="10"/>
          </p:nvPr>
        </p:nvSpPr>
        <p:spPr/>
        <p:txBody>
          <a:bodyPr/>
          <a:lstStyle/>
          <a:p>
            <a:endParaRPr lang="en-GB" dirty="0">
              <a:solidFill>
                <a:srgbClr val="333333"/>
              </a:solidFill>
            </a:endParaRPr>
          </a:p>
        </p:txBody>
      </p:sp>
      <p:sp>
        <p:nvSpPr>
          <p:cNvPr id="6" name="Footer Placeholder 5"/>
          <p:cNvSpPr>
            <a:spLocks noGrp="1"/>
          </p:cNvSpPr>
          <p:nvPr>
            <p:ph type="ftr" sz="quarter" idx="11"/>
          </p:nvPr>
        </p:nvSpPr>
        <p:spPr/>
        <p:txBody>
          <a:bodyPr/>
          <a:lstStyle/>
          <a:p>
            <a:endParaRPr lang="en-GB" dirty="0">
              <a:solidFill>
                <a:srgbClr val="333333"/>
              </a:solidFill>
            </a:endParaRPr>
          </a:p>
        </p:txBody>
      </p:sp>
      <p:sp>
        <p:nvSpPr>
          <p:cNvPr id="7" name="Slide Number Placeholder 6"/>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sp>
        <p:nvSpPr>
          <p:cNvPr id="10" name="Picture Placeholder 9"/>
          <p:cNvSpPr>
            <a:spLocks noGrp="1"/>
          </p:cNvSpPr>
          <p:nvPr>
            <p:ph type="pic" sz="quarter" idx="13"/>
          </p:nvPr>
        </p:nvSpPr>
        <p:spPr>
          <a:xfrm>
            <a:off x="4649788" y="951310"/>
            <a:ext cx="4242692" cy="3543300"/>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Tree>
    <p:extLst>
      <p:ext uri="{BB962C8B-B14F-4D97-AF65-F5344CB8AC3E}">
        <p14:creationId xmlns:p14="http://schemas.microsoft.com/office/powerpoint/2010/main" val="13235585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solidFill>
                <a:srgbClr val="333333"/>
              </a:solidFill>
            </a:endParaRPr>
          </a:p>
        </p:txBody>
      </p:sp>
      <p:sp>
        <p:nvSpPr>
          <p:cNvPr id="4" name="Footer Placeholder 3"/>
          <p:cNvSpPr>
            <a:spLocks noGrp="1"/>
          </p:cNvSpPr>
          <p:nvPr>
            <p:ph type="ftr" sz="quarter" idx="11"/>
          </p:nvPr>
        </p:nvSpPr>
        <p:spPr/>
        <p:txBody>
          <a:bodyPr/>
          <a:lstStyle/>
          <a:p>
            <a:endParaRPr lang="en-GB" dirty="0">
              <a:solidFill>
                <a:srgbClr val="333333"/>
              </a:solidFill>
            </a:endParaRPr>
          </a:p>
        </p:txBody>
      </p:sp>
      <p:sp>
        <p:nvSpPr>
          <p:cNvPr id="5" name="Slide Number Placeholder 4"/>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sp>
        <p:nvSpPr>
          <p:cNvPr id="10" name="Text Placeholder 9"/>
          <p:cNvSpPr>
            <a:spLocks noGrp="1"/>
          </p:cNvSpPr>
          <p:nvPr>
            <p:ph type="body" sz="quarter" idx="14"/>
          </p:nvPr>
        </p:nvSpPr>
        <p:spPr>
          <a:xfrm>
            <a:off x="247950" y="4259012"/>
            <a:ext cx="8644531" cy="253443"/>
          </a:xfrm>
        </p:spPr>
        <p:txBody>
          <a:bodyPr>
            <a:noAutofit/>
          </a:bodyPr>
          <a:lstStyle>
            <a:lvl1pPr marL="0" indent="0">
              <a:lnSpc>
                <a:spcPct val="100000"/>
              </a:lnSpc>
              <a:spcBef>
                <a:spcPts val="0"/>
              </a:spcBef>
              <a:buNone/>
              <a:defRPr sz="1100" b="1"/>
            </a:lvl1pPr>
          </a:lstStyle>
          <a:p>
            <a:pPr lvl="0"/>
            <a:r>
              <a:rPr lang="en-GB" dirty="0" smtClean="0"/>
              <a:t>Click to edit Master text styles</a:t>
            </a:r>
          </a:p>
        </p:txBody>
      </p:sp>
      <p:sp>
        <p:nvSpPr>
          <p:cNvPr id="12" name="Picture Placeholder 8"/>
          <p:cNvSpPr>
            <a:spLocks noGrp="1"/>
          </p:cNvSpPr>
          <p:nvPr>
            <p:ph type="pic" sz="quarter" idx="13"/>
          </p:nvPr>
        </p:nvSpPr>
        <p:spPr>
          <a:xfrm>
            <a:off x="0" y="707401"/>
            <a:ext cx="8892000" cy="3509948"/>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
        <p:nvSpPr>
          <p:cNvPr id="13" name="Table Placeholder 11"/>
          <p:cNvSpPr>
            <a:spLocks noGrp="1"/>
          </p:cNvSpPr>
          <p:nvPr>
            <p:ph type="tbl" sz="quarter" idx="15"/>
          </p:nvPr>
        </p:nvSpPr>
        <p:spPr>
          <a:xfrm>
            <a:off x="0" y="4153117"/>
            <a:ext cx="8892000" cy="16193"/>
          </a:xfrm>
          <a:solidFill>
            <a:schemeClr val="bg1"/>
          </a:solidFill>
        </p:spPr>
        <p:txBody>
          <a:bodyPr>
            <a:normAutofit/>
          </a:bodyPr>
          <a:lstStyle>
            <a:lvl1pPr>
              <a:defRPr sz="100">
                <a:solidFill>
                  <a:schemeClr val="bg1"/>
                </a:solidFill>
              </a:defRPr>
            </a:lvl1pPr>
          </a:lstStyle>
          <a:p>
            <a:r>
              <a:rPr lang="en-US" smtClean="0"/>
              <a:t>Click icon to add table</a:t>
            </a:r>
            <a:endParaRPr lang="en-US" dirty="0"/>
          </a:p>
        </p:txBody>
      </p:sp>
    </p:spTree>
    <p:extLst>
      <p:ext uri="{BB962C8B-B14F-4D97-AF65-F5344CB8AC3E}">
        <p14:creationId xmlns:p14="http://schemas.microsoft.com/office/powerpoint/2010/main" val="41592629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solidFill>
                <a:srgbClr val="333333"/>
              </a:solidFill>
            </a:endParaRPr>
          </a:p>
        </p:txBody>
      </p:sp>
      <p:sp>
        <p:nvSpPr>
          <p:cNvPr id="4" name="Footer Placeholder 3"/>
          <p:cNvSpPr>
            <a:spLocks noGrp="1"/>
          </p:cNvSpPr>
          <p:nvPr>
            <p:ph type="ftr" sz="quarter" idx="11"/>
          </p:nvPr>
        </p:nvSpPr>
        <p:spPr/>
        <p:txBody>
          <a:bodyPr/>
          <a:lstStyle/>
          <a:p>
            <a:endParaRPr lang="en-GB" dirty="0">
              <a:solidFill>
                <a:srgbClr val="333333"/>
              </a:solidFill>
            </a:endParaRPr>
          </a:p>
        </p:txBody>
      </p:sp>
      <p:sp>
        <p:nvSpPr>
          <p:cNvPr id="5" name="Slide Number Placeholder 4"/>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spTree>
    <p:extLst>
      <p:ext uri="{BB962C8B-B14F-4D97-AF65-F5344CB8AC3E}">
        <p14:creationId xmlns:p14="http://schemas.microsoft.com/office/powerpoint/2010/main" val="1748818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r>
              <a:rPr lang="en-GB" dirty="0" smtClean="0"/>
              <a:t>Lorem</a:t>
            </a:r>
          </a:p>
        </p:txBody>
      </p:sp>
    </p:spTree>
    <p:extLst>
      <p:ext uri="{BB962C8B-B14F-4D97-AF65-F5344CB8AC3E}">
        <p14:creationId xmlns:p14="http://schemas.microsoft.com/office/powerpoint/2010/main" val="105188451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userDrawn="1"/>
        </p:nvSpPr>
        <p:spPr>
          <a:xfrm>
            <a:off x="0" y="1"/>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2" name="Date Placeholder 1"/>
          <p:cNvSpPr>
            <a:spLocks noGrp="1"/>
          </p:cNvSpPr>
          <p:nvPr>
            <p:ph type="dt" sz="half" idx="10"/>
          </p:nvPr>
        </p:nvSpPr>
        <p:spPr/>
        <p:txBody>
          <a:bodyPr/>
          <a:lstStyle>
            <a:lvl1pPr>
              <a:defRPr>
                <a:solidFill>
                  <a:schemeClr val="bg1"/>
                </a:solidFill>
              </a:defRPr>
            </a:lvl1pPr>
          </a:lstStyle>
          <a:p>
            <a:endParaRPr lang="en-GB" dirty="0">
              <a:solidFill>
                <a:srgbClr val="FFFFFF"/>
              </a:solidFill>
            </a:endParaRPr>
          </a:p>
        </p:txBody>
      </p:sp>
      <p:sp>
        <p:nvSpPr>
          <p:cNvPr id="3" name="Footer Placeholder 2"/>
          <p:cNvSpPr>
            <a:spLocks noGrp="1"/>
          </p:cNvSpPr>
          <p:nvPr>
            <p:ph type="ftr" sz="quarter" idx="11"/>
          </p:nvPr>
        </p:nvSpPr>
        <p:spPr>
          <a:xfrm>
            <a:off x="4497390" y="4903143"/>
            <a:ext cx="4246563" cy="120239"/>
          </a:xfrm>
        </p:spPr>
        <p:txBody>
          <a:bodyPr/>
          <a:lstStyle>
            <a:lvl1pPr>
              <a:defRPr>
                <a:solidFill>
                  <a:schemeClr val="bg1"/>
                </a:solidFill>
              </a:defRPr>
            </a:lvl1pPr>
          </a:lstStyle>
          <a:p>
            <a:endParaRPr lang="en-GB" dirty="0">
              <a:solidFill>
                <a:srgbClr val="FFFFFF"/>
              </a:solidFill>
            </a:endParaRPr>
          </a:p>
        </p:txBody>
      </p:sp>
      <p:sp>
        <p:nvSpPr>
          <p:cNvPr id="4" name="Slide Number Placeholder 3"/>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sp>
        <p:nvSpPr>
          <p:cNvPr id="6" name="SD_FLD_DocumentDate"/>
          <p:cNvSpPr txBox="1">
            <a:spLocks noChangeArrowheads="1"/>
          </p:cNvSpPr>
          <p:nvPr userDrawn="1"/>
        </p:nvSpPr>
        <p:spPr bwMode="auto">
          <a:xfrm>
            <a:off x="1692000" y="4889700"/>
            <a:ext cx="2805388" cy="13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4296">
              <a:spcBef>
                <a:spcPct val="50000"/>
              </a:spcBef>
            </a:pPr>
            <a:r>
              <a:rPr lang="en-GB" altLang="ja-JP" sz="700" smtClean="0">
                <a:solidFill>
                  <a:srgbClr val="333333"/>
                </a:solidFill>
                <a:ea typeface="ＭＳ Ｐゴシック" charset="-128"/>
                <a:cs typeface="Arial" charset="0"/>
              </a:rPr>
              <a:t>19 January 2016</a:t>
            </a:r>
            <a:endParaRPr lang="en-GB" altLang="ja-JP" sz="700" dirty="0">
              <a:solidFill>
                <a:srgbClr val="333333"/>
              </a:solidFill>
              <a:ea typeface="ＭＳ Ｐゴシック" charset="-128"/>
              <a:cs typeface="Arial" charset="0"/>
            </a:endParaRPr>
          </a:p>
        </p:txBody>
      </p:sp>
      <p:sp>
        <p:nvSpPr>
          <p:cNvPr id="8" name="SD_FLD_Confidentiality"/>
          <p:cNvSpPr/>
          <p:nvPr userDrawn="1"/>
        </p:nvSpPr>
        <p:spPr>
          <a:xfrm>
            <a:off x="250823" y="4584068"/>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296">
              <a:lnSpc>
                <a:spcPct val="113000"/>
              </a:lnSpc>
              <a:spcBef>
                <a:spcPts val="600"/>
              </a:spcBef>
            </a:pPr>
            <a:r>
              <a:rPr lang="en-GB" sz="800" b="1" smtClean="0">
                <a:solidFill>
                  <a:srgbClr val="333333"/>
                </a:solidFill>
              </a:rPr>
              <a:t>Ungraded</a:t>
            </a:r>
            <a:endParaRPr lang="en-GB" sz="800" b="1" dirty="0" smtClean="0">
              <a:solidFill>
                <a:srgbClr val="333333"/>
              </a:solidFill>
            </a:endParaRPr>
          </a:p>
        </p:txBody>
      </p:sp>
      <p:sp>
        <p:nvSpPr>
          <p:cNvPr id="9" name="SD_FLD_Draft" hidden="1"/>
          <p:cNvSpPr txBox="1">
            <a:spLocks noChangeArrowheads="1"/>
          </p:cNvSpPr>
          <p:nvPr userDrawn="1"/>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4296">
              <a:spcBef>
                <a:spcPct val="50000"/>
              </a:spcBef>
            </a:pPr>
            <a:r>
              <a:rPr lang="en-GB" altLang="ja-JP" sz="1600" cap="all" dirty="0" smtClean="0">
                <a:solidFill>
                  <a:srgbClr val="C4262E"/>
                </a:solidFill>
                <a:ea typeface="ＭＳ Ｐゴシック" charset="-128"/>
                <a:cs typeface="Arial" charset="0"/>
              </a:rPr>
              <a:t>Draft</a:t>
            </a:r>
            <a:endParaRPr lang="en-GB" altLang="ja-JP" sz="1600" cap="all" dirty="0">
              <a:solidFill>
                <a:srgbClr val="C4262E"/>
              </a:solidFill>
              <a:ea typeface="ＭＳ Ｐゴシック" charset="-128"/>
              <a:cs typeface="Arial" charset="0"/>
            </a:endParaRPr>
          </a:p>
        </p:txBody>
      </p:sp>
    </p:spTree>
    <p:extLst>
      <p:ext uri="{BB962C8B-B14F-4D97-AF65-F5344CB8AC3E}">
        <p14:creationId xmlns:p14="http://schemas.microsoft.com/office/powerpoint/2010/main" val="2806372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Rectangle 5"/>
          <p:cNvSpPr/>
          <p:nvPr userDrawn="1"/>
        </p:nvSpPr>
        <p:spPr>
          <a:xfrm>
            <a:off x="1" y="195263"/>
            <a:ext cx="8893174" cy="23709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96"/>
            <a:endParaRPr lang="en-GB" dirty="0">
              <a:solidFill>
                <a:srgbClr val="FFFFFF"/>
              </a:solidFill>
            </a:endParaRPr>
          </a:p>
        </p:txBody>
      </p:sp>
      <p:sp>
        <p:nvSpPr>
          <p:cNvPr id="2" name="Title 1"/>
          <p:cNvSpPr>
            <a:spLocks noGrp="1"/>
          </p:cNvSpPr>
          <p:nvPr>
            <p:ph type="title"/>
          </p:nvPr>
        </p:nvSpPr>
        <p:spPr>
          <a:xfrm>
            <a:off x="250827" y="946931"/>
            <a:ext cx="8425631" cy="978311"/>
          </a:xfrm>
        </p:spPr>
        <p:txBody>
          <a:bodyPr anchor="t" anchorCtr="0">
            <a:noAutofit/>
          </a:bodyPr>
          <a:lstStyle>
            <a:lvl1pPr>
              <a:defRPr sz="2400">
                <a:solidFill>
                  <a:schemeClr val="bg1"/>
                </a:solidFill>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solidFill>
                <a:srgbClr val="333333"/>
              </a:solidFill>
            </a:endParaRPr>
          </a:p>
        </p:txBody>
      </p:sp>
      <p:sp>
        <p:nvSpPr>
          <p:cNvPr id="4" name="Footer Placeholder 3"/>
          <p:cNvSpPr>
            <a:spLocks noGrp="1"/>
          </p:cNvSpPr>
          <p:nvPr>
            <p:ph type="ftr" sz="quarter" idx="11"/>
          </p:nvPr>
        </p:nvSpPr>
        <p:spPr/>
        <p:txBody>
          <a:bodyPr/>
          <a:lstStyle/>
          <a:p>
            <a:endParaRPr lang="en-GB" dirty="0">
              <a:solidFill>
                <a:srgbClr val="333333"/>
              </a:solidFill>
            </a:endParaRPr>
          </a:p>
        </p:txBody>
      </p:sp>
      <p:sp>
        <p:nvSpPr>
          <p:cNvPr id="5" name="Slide Number Placeholder 4"/>
          <p:cNvSpPr>
            <a:spLocks noGrp="1"/>
          </p:cNvSpPr>
          <p:nvPr>
            <p:ph type="sldNum" sz="quarter" idx="12"/>
          </p:nvPr>
        </p:nvSpPr>
        <p:spPr/>
        <p:txBody>
          <a:bodyPr/>
          <a:lstStyle/>
          <a:p>
            <a:fld id="{5BA07366-CB75-4AA8-9E5B-928B849F427C}" type="slidenum">
              <a:rPr lang="en-GB" smtClean="0">
                <a:solidFill>
                  <a:srgbClr val="333333"/>
                </a:solidFill>
              </a:rPr>
              <a:pPr/>
              <a:t>‹nr.›</a:t>
            </a:fld>
            <a:endParaRPr lang="en-GB" dirty="0">
              <a:solidFill>
                <a:srgbClr val="333333"/>
              </a:solidFill>
            </a:endParaRPr>
          </a:p>
        </p:txBody>
      </p:sp>
      <p:cxnSp>
        <p:nvCxnSpPr>
          <p:cNvPr id="7" name="Straight Connector 6"/>
          <p:cNvCxnSpPr/>
          <p:nvPr userDrawn="1"/>
        </p:nvCxnSpPr>
        <p:spPr>
          <a:xfrm>
            <a:off x="-3601" y="2507910"/>
            <a:ext cx="8895600"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a:xfrm>
            <a:off x="250824" y="2638540"/>
            <a:ext cx="4246563" cy="162018"/>
          </a:xfrm>
        </p:spPr>
        <p:txBody>
          <a:bodyPr anchor="b" anchorCtr="0">
            <a:noAutofit/>
          </a:bodyPr>
          <a:lstStyle>
            <a:lvl1pPr marL="0" indent="0">
              <a:lnSpc>
                <a:spcPct val="100000"/>
              </a:lnSpc>
              <a:buNone/>
              <a:defRPr sz="1200" b="1">
                <a:solidFill>
                  <a:schemeClr val="tx1"/>
                </a:solidFill>
              </a:defRPr>
            </a:lvl1pPr>
          </a:lstStyle>
          <a:p>
            <a:pPr lvl="0"/>
            <a:r>
              <a:rPr lang="en-GB" dirty="0" smtClean="0"/>
              <a:t>Click to edit Master text styles</a:t>
            </a:r>
          </a:p>
        </p:txBody>
      </p:sp>
      <p:sp>
        <p:nvSpPr>
          <p:cNvPr id="11" name="Text Placeholder 9"/>
          <p:cNvSpPr>
            <a:spLocks noGrp="1"/>
          </p:cNvSpPr>
          <p:nvPr>
            <p:ph type="body" sz="quarter" idx="14" hasCustomPrompt="1"/>
          </p:nvPr>
        </p:nvSpPr>
        <p:spPr>
          <a:xfrm>
            <a:off x="250824" y="2814630"/>
            <a:ext cx="4246563" cy="153655"/>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Email address</a:t>
            </a:r>
          </a:p>
        </p:txBody>
      </p:sp>
      <p:sp>
        <p:nvSpPr>
          <p:cNvPr id="12" name="Text Placeholder 9"/>
          <p:cNvSpPr>
            <a:spLocks noGrp="1"/>
          </p:cNvSpPr>
          <p:nvPr>
            <p:ph type="body" sz="quarter" idx="15" hasCustomPrompt="1"/>
          </p:nvPr>
        </p:nvSpPr>
        <p:spPr>
          <a:xfrm>
            <a:off x="250824" y="2968284"/>
            <a:ext cx="4246563" cy="240452"/>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Telephone number</a:t>
            </a:r>
          </a:p>
        </p:txBody>
      </p:sp>
      <p:sp>
        <p:nvSpPr>
          <p:cNvPr id="13" name="TextBox 12"/>
          <p:cNvSpPr txBox="1"/>
          <p:nvPr userDrawn="1"/>
        </p:nvSpPr>
        <p:spPr>
          <a:xfrm>
            <a:off x="250826" y="4326947"/>
            <a:ext cx="2045659" cy="138499"/>
          </a:xfrm>
          <a:prstGeom prst="rect">
            <a:avLst/>
          </a:prstGeom>
          <a:noFill/>
        </p:spPr>
        <p:txBody>
          <a:bodyPr wrap="square" lIns="0" tIns="0" rIns="0" bIns="0" rtlCol="0">
            <a:spAutoFit/>
          </a:bodyPr>
          <a:lstStyle/>
          <a:p>
            <a:pPr defTabSz="914296"/>
            <a:r>
              <a:rPr lang="en-GB" sz="900" b="1" cap="all" noProof="1" smtClean="0">
                <a:solidFill>
                  <a:srgbClr val="3F9C35"/>
                </a:solidFill>
              </a:rPr>
              <a:t>Safer, smarter, greener</a:t>
            </a:r>
            <a:endParaRPr lang="en-GB" sz="900" b="1" cap="all" noProof="1">
              <a:solidFill>
                <a:srgbClr val="3F9C35"/>
              </a:solidFill>
            </a:endParaRPr>
          </a:p>
        </p:txBody>
      </p:sp>
      <p:sp>
        <p:nvSpPr>
          <p:cNvPr id="14" name="TextBox 13"/>
          <p:cNvSpPr txBox="1"/>
          <p:nvPr userDrawn="1"/>
        </p:nvSpPr>
        <p:spPr>
          <a:xfrm>
            <a:off x="249665" y="3725583"/>
            <a:ext cx="2045659" cy="184666"/>
          </a:xfrm>
          <a:prstGeom prst="rect">
            <a:avLst/>
          </a:prstGeom>
          <a:noFill/>
        </p:spPr>
        <p:txBody>
          <a:bodyPr wrap="square" lIns="0" tIns="0" rIns="0" bIns="0" rtlCol="0">
            <a:spAutoFit/>
          </a:bodyPr>
          <a:lstStyle/>
          <a:p>
            <a:pPr defTabSz="914296"/>
            <a:r>
              <a:rPr lang="en-GB" sz="1200" b="1" noProof="1" smtClean="0">
                <a:solidFill>
                  <a:srgbClr val="333333"/>
                </a:solidFill>
              </a:rPr>
              <a:t>www.dnvgl.com</a:t>
            </a:r>
            <a:endParaRPr lang="en-GB" sz="1200" b="1" noProof="1">
              <a:solidFill>
                <a:srgbClr val="333333"/>
              </a:solidFill>
            </a:endParaRPr>
          </a:p>
        </p:txBody>
      </p:sp>
    </p:spTree>
    <p:extLst>
      <p:ext uri="{BB962C8B-B14F-4D97-AF65-F5344CB8AC3E}">
        <p14:creationId xmlns:p14="http://schemas.microsoft.com/office/powerpoint/2010/main" val="15749810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el pag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21333" y="1716680"/>
            <a:ext cx="7044229" cy="1102519"/>
          </a:xfrm>
          <a:prstGeom prst="rect">
            <a:avLst/>
          </a:prstGeom>
        </p:spPr>
        <p:txBody>
          <a:bodyPr lIns="77925" tIns="38963" rIns="77925" bIns="38963"/>
          <a:lstStyle>
            <a:lvl1pPr algn="l">
              <a:defRPr b="0" i="0">
                <a:solidFill>
                  <a:srgbClr val="207C9E"/>
                </a:solidFill>
                <a:latin typeface="+mn-lt"/>
                <a:cs typeface="Arial"/>
              </a:defRPr>
            </a:lvl1pPr>
          </a:lstStyle>
          <a:p>
            <a:r>
              <a:rPr lang="nl-NL" dirty="0" smtClean="0"/>
              <a:t>Titel van de presentatie</a:t>
            </a:r>
            <a:endParaRPr lang="nl-NL" dirty="0"/>
          </a:p>
        </p:txBody>
      </p:sp>
      <p:sp>
        <p:nvSpPr>
          <p:cNvPr id="3" name="Subtitel 2"/>
          <p:cNvSpPr>
            <a:spLocks noGrp="1"/>
          </p:cNvSpPr>
          <p:nvPr>
            <p:ph type="subTitle" idx="1" hasCustomPrompt="1"/>
          </p:nvPr>
        </p:nvSpPr>
        <p:spPr>
          <a:xfrm>
            <a:off x="521331" y="2826123"/>
            <a:ext cx="6400800" cy="620935"/>
          </a:xfrm>
          <a:prstGeom prst="rect">
            <a:avLst/>
          </a:prstGeom>
        </p:spPr>
        <p:txBody>
          <a:bodyPr lIns="77925" tIns="38963" rIns="77925" bIns="38963"/>
          <a:lstStyle>
            <a:lvl1pPr marL="0" indent="0" algn="l">
              <a:buNone/>
              <a:defRPr sz="1400">
                <a:solidFill>
                  <a:srgbClr val="EE3E27"/>
                </a:solidFill>
                <a:latin typeface="+mn-lt"/>
                <a:cs typeface="Arial"/>
              </a:defRPr>
            </a:lvl1pPr>
            <a:lvl2pPr marL="389626" indent="0" algn="ctr">
              <a:buNone/>
              <a:defRPr>
                <a:solidFill>
                  <a:schemeClr val="tx1">
                    <a:tint val="75000"/>
                  </a:schemeClr>
                </a:solidFill>
              </a:defRPr>
            </a:lvl2pPr>
            <a:lvl3pPr marL="779252" indent="0" algn="ctr">
              <a:buNone/>
              <a:defRPr>
                <a:solidFill>
                  <a:schemeClr val="tx1">
                    <a:tint val="75000"/>
                  </a:schemeClr>
                </a:solidFill>
              </a:defRPr>
            </a:lvl3pPr>
            <a:lvl4pPr marL="1168878" indent="0" algn="ctr">
              <a:buNone/>
              <a:defRPr>
                <a:solidFill>
                  <a:schemeClr val="tx1">
                    <a:tint val="75000"/>
                  </a:schemeClr>
                </a:solidFill>
              </a:defRPr>
            </a:lvl4pPr>
            <a:lvl5pPr marL="1558503" indent="0" algn="ctr">
              <a:buNone/>
              <a:defRPr>
                <a:solidFill>
                  <a:schemeClr val="tx1">
                    <a:tint val="75000"/>
                  </a:schemeClr>
                </a:solidFill>
              </a:defRPr>
            </a:lvl5pPr>
            <a:lvl6pPr marL="1948129" indent="0" algn="ctr">
              <a:buNone/>
              <a:defRPr>
                <a:solidFill>
                  <a:schemeClr val="tx1">
                    <a:tint val="75000"/>
                  </a:schemeClr>
                </a:solidFill>
              </a:defRPr>
            </a:lvl6pPr>
            <a:lvl7pPr marL="2337755" indent="0" algn="ctr">
              <a:buNone/>
              <a:defRPr>
                <a:solidFill>
                  <a:schemeClr val="tx1">
                    <a:tint val="75000"/>
                  </a:schemeClr>
                </a:solidFill>
              </a:defRPr>
            </a:lvl7pPr>
            <a:lvl8pPr marL="2727381" indent="0" algn="ctr">
              <a:buNone/>
              <a:defRPr>
                <a:solidFill>
                  <a:schemeClr val="tx1">
                    <a:tint val="75000"/>
                  </a:schemeClr>
                </a:solidFill>
              </a:defRPr>
            </a:lvl8pPr>
            <a:lvl9pPr marL="3117007" indent="0" algn="ctr">
              <a:buNone/>
              <a:defRPr>
                <a:solidFill>
                  <a:schemeClr val="tx1">
                    <a:tint val="75000"/>
                  </a:schemeClr>
                </a:solidFill>
              </a:defRPr>
            </a:lvl9pPr>
          </a:lstStyle>
          <a:p>
            <a:r>
              <a:rPr lang="nl-NL" dirty="0" smtClean="0"/>
              <a:t>Datum</a:t>
            </a:r>
            <a:endParaRPr lang="nl-NL" dirty="0"/>
          </a:p>
        </p:txBody>
      </p:sp>
      <p:sp>
        <p:nvSpPr>
          <p:cNvPr id="5" name="Tijdelijke aanduiding voor voettekst 4"/>
          <p:cNvSpPr>
            <a:spLocks noGrp="1"/>
          </p:cNvSpPr>
          <p:nvPr>
            <p:ph type="ftr" sz="quarter" idx="11"/>
          </p:nvPr>
        </p:nvSpPr>
        <p:spPr>
          <a:xfrm>
            <a:off x="2865196" y="4718250"/>
            <a:ext cx="5924792" cy="365125"/>
          </a:xfrm>
          <a:prstGeom prst="rect">
            <a:avLst/>
          </a:prstGeom>
        </p:spPr>
        <p:txBody>
          <a:bodyPr anchor="b" anchorCtr="0"/>
          <a:lstStyle>
            <a:lvl1pPr algn="r">
              <a:defRPr>
                <a:latin typeface="+mn-lt"/>
              </a:defRPr>
            </a:lvl1pPr>
          </a:lstStyle>
          <a:p>
            <a:r>
              <a:rPr lang="nl-NL" dirty="0" smtClean="0"/>
              <a:t>Lorem</a:t>
            </a:r>
          </a:p>
        </p:txBody>
      </p:sp>
      <p:pic>
        <p:nvPicPr>
          <p:cNvPr id="6" name="Afbeelding 5"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42160724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ro page">
    <p:spTree>
      <p:nvGrpSpPr>
        <p:cNvPr id="1" name=""/>
        <p:cNvGrpSpPr/>
        <p:nvPr/>
      </p:nvGrpSpPr>
      <p:grpSpPr>
        <a:xfrm>
          <a:off x="0" y="0"/>
          <a:ext cx="0" cy="0"/>
          <a:chOff x="0" y="0"/>
          <a:chExt cx="0" cy="0"/>
        </a:xfrm>
      </p:grpSpPr>
      <p:sp>
        <p:nvSpPr>
          <p:cNvPr id="8" name="Tijdelijke aanduiding voor inhoud 2"/>
          <p:cNvSpPr>
            <a:spLocks noGrp="1"/>
          </p:cNvSpPr>
          <p:nvPr>
            <p:ph sz="half" idx="1"/>
          </p:nvPr>
        </p:nvSpPr>
        <p:spPr>
          <a:xfrm>
            <a:off x="-1" y="670964"/>
            <a:ext cx="4572001" cy="3622899"/>
          </a:xfrm>
          <a:prstGeom prst="rect">
            <a:avLst/>
          </a:prstGeom>
        </p:spPr>
        <p:txBody>
          <a:bodyPr lIns="77925" tIns="38963" rIns="77925" bIns="38963"/>
          <a:lstStyle>
            <a:lvl1pPr marL="0" indent="0">
              <a:buNone/>
              <a:defRPr sz="2400">
                <a:latin typeface="+mj-lt"/>
              </a:defRPr>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endParaRPr lang="nl-NL" dirty="0"/>
          </a:p>
        </p:txBody>
      </p:sp>
      <p:sp>
        <p:nvSpPr>
          <p:cNvPr id="9" name="Tijdelijke aanduiding voor inhoud 2"/>
          <p:cNvSpPr>
            <a:spLocks noGrp="1"/>
          </p:cNvSpPr>
          <p:nvPr>
            <p:ph sz="half" idx="12" hasCustomPrompt="1"/>
          </p:nvPr>
        </p:nvSpPr>
        <p:spPr>
          <a:xfrm>
            <a:off x="4645025" y="3393863"/>
            <a:ext cx="900000" cy="900000"/>
          </a:xfrm>
          <a:prstGeom prst="rect">
            <a:avLst/>
          </a:prstGeom>
        </p:spPr>
        <p:txBody>
          <a:bodyPr lIns="77925" tIns="38963" rIns="77925" bIns="38963"/>
          <a:lstStyle>
            <a:lvl1pPr marL="0" indent="0">
              <a:buNone/>
              <a:defRPr sz="2400">
                <a:latin typeface="+mj-lt"/>
              </a:defRPr>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nl-NL" dirty="0" smtClean="0"/>
              <a:t>         </a:t>
            </a:r>
            <a:endParaRPr lang="nl-NL" dirty="0"/>
          </a:p>
        </p:txBody>
      </p:sp>
      <p:sp>
        <p:nvSpPr>
          <p:cNvPr id="10" name="Tijdelijke aanduiding voor inhoud 2"/>
          <p:cNvSpPr>
            <a:spLocks noGrp="1"/>
          </p:cNvSpPr>
          <p:nvPr>
            <p:ph sz="half" idx="13"/>
          </p:nvPr>
        </p:nvSpPr>
        <p:spPr>
          <a:xfrm>
            <a:off x="7353938" y="2030740"/>
            <a:ext cx="1260000" cy="1260000"/>
          </a:xfrm>
          <a:prstGeom prst="rect">
            <a:avLst/>
          </a:prstGeom>
        </p:spPr>
        <p:txBody>
          <a:bodyPr lIns="77925" tIns="38963" rIns="77925" bIns="38963"/>
          <a:lstStyle>
            <a:lvl1pPr marL="0" indent="0">
              <a:buNone/>
              <a:defRPr sz="2400">
                <a:latin typeface="+mj-lt"/>
              </a:defRPr>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endParaRPr lang="nl-NL" dirty="0"/>
          </a:p>
        </p:txBody>
      </p:sp>
      <p:sp>
        <p:nvSpPr>
          <p:cNvPr id="11" name="Rechthoek 10"/>
          <p:cNvSpPr>
            <a:spLocks noChangeAspect="1"/>
          </p:cNvSpPr>
          <p:nvPr userDrawn="1"/>
        </p:nvSpPr>
        <p:spPr>
          <a:xfrm>
            <a:off x="4645025" y="670964"/>
            <a:ext cx="2628000" cy="2628000"/>
          </a:xfrm>
          <a:prstGeom prst="rect">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defTabSz="457096"/>
            <a:r>
              <a:rPr lang="nl-NL" dirty="0" smtClean="0">
                <a:solidFill>
                  <a:prstClr val="white"/>
                </a:solidFill>
              </a:rPr>
              <a:t>        </a:t>
            </a:r>
            <a:endParaRPr lang="nl-NL" dirty="0">
              <a:solidFill>
                <a:prstClr val="white"/>
              </a:solidFill>
            </a:endParaRPr>
          </a:p>
        </p:txBody>
      </p:sp>
      <p:sp>
        <p:nvSpPr>
          <p:cNvPr id="12" name="Rechthoek 11"/>
          <p:cNvSpPr>
            <a:spLocks noChangeAspect="1"/>
          </p:cNvSpPr>
          <p:nvPr userDrawn="1"/>
        </p:nvSpPr>
        <p:spPr>
          <a:xfrm>
            <a:off x="7344802" y="318325"/>
            <a:ext cx="288000" cy="288000"/>
          </a:xfrm>
          <a:prstGeom prst="rect">
            <a:avLst/>
          </a:prstGeom>
          <a:solidFill>
            <a:srgbClr val="EE3E27"/>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defTabSz="457096"/>
            <a:endParaRPr lang="nl-NL" dirty="0">
              <a:solidFill>
                <a:prstClr val="white"/>
              </a:solidFill>
            </a:endParaRPr>
          </a:p>
        </p:txBody>
      </p:sp>
      <p:sp>
        <p:nvSpPr>
          <p:cNvPr id="13" name="Rechthoek 12"/>
          <p:cNvSpPr>
            <a:spLocks noChangeAspect="1"/>
          </p:cNvSpPr>
          <p:nvPr userDrawn="1"/>
        </p:nvSpPr>
        <p:spPr>
          <a:xfrm>
            <a:off x="8694168" y="4782860"/>
            <a:ext cx="288000" cy="28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defTabSz="457096"/>
            <a:endParaRPr lang="nl-NL" dirty="0">
              <a:solidFill>
                <a:prstClr val="white"/>
              </a:solidFill>
            </a:endParaRPr>
          </a:p>
        </p:txBody>
      </p:sp>
      <p:sp>
        <p:nvSpPr>
          <p:cNvPr id="16" name="Tijdelijke aanduiding voor inhoud 5"/>
          <p:cNvSpPr>
            <a:spLocks noGrp="1"/>
          </p:cNvSpPr>
          <p:nvPr>
            <p:ph sz="quarter" idx="4"/>
          </p:nvPr>
        </p:nvSpPr>
        <p:spPr>
          <a:xfrm>
            <a:off x="4789900" y="740798"/>
            <a:ext cx="2398306" cy="1433541"/>
          </a:xfrm>
          <a:prstGeom prst="rect">
            <a:avLst/>
          </a:prstGeom>
        </p:spPr>
        <p:txBody>
          <a:bodyPr lIns="77925" tIns="38963" rIns="77925" bIns="38963"/>
          <a:lstStyle>
            <a:lvl1pPr marL="0" indent="0">
              <a:buNone/>
              <a:defRPr sz="2400" b="0" i="0">
                <a:solidFill>
                  <a:srgbClr val="FFFFFF"/>
                </a:solidFill>
                <a:latin typeface="+mj-lt"/>
                <a:cs typeface="Arial"/>
              </a:defRPr>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nl-NL" dirty="0" smtClean="0"/>
              <a:t>Klik om de tekststijl van het model te</a:t>
            </a:r>
          </a:p>
        </p:txBody>
      </p:sp>
      <p:sp>
        <p:nvSpPr>
          <p:cNvPr id="17" name="Tijdelijke aanduiding voor inhoud 5"/>
          <p:cNvSpPr>
            <a:spLocks noGrp="1"/>
          </p:cNvSpPr>
          <p:nvPr>
            <p:ph sz="quarter" idx="14"/>
          </p:nvPr>
        </p:nvSpPr>
        <p:spPr>
          <a:xfrm>
            <a:off x="4789902" y="2170451"/>
            <a:ext cx="2145195" cy="524637"/>
          </a:xfrm>
          <a:prstGeom prst="rect">
            <a:avLst/>
          </a:prstGeom>
        </p:spPr>
        <p:txBody>
          <a:bodyPr lIns="77925" tIns="38963" rIns="77925" bIns="38963"/>
          <a:lstStyle>
            <a:lvl1pPr marL="0" indent="0">
              <a:buNone/>
              <a:defRPr sz="900" b="0" i="0">
                <a:solidFill>
                  <a:srgbClr val="FFFFFF"/>
                </a:solidFill>
                <a:latin typeface="+mj-lt"/>
                <a:cs typeface="Arial"/>
              </a:defRPr>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nl-NL" dirty="0" smtClean="0"/>
              <a:t>Klik om de tekststijl van het model te bewerken</a:t>
            </a:r>
          </a:p>
        </p:txBody>
      </p:sp>
      <p:sp>
        <p:nvSpPr>
          <p:cNvPr id="18" name="Tijdelijke aanduiding voor inhoud 5"/>
          <p:cNvSpPr>
            <a:spLocks noGrp="1"/>
          </p:cNvSpPr>
          <p:nvPr>
            <p:ph sz="quarter" idx="15"/>
          </p:nvPr>
        </p:nvSpPr>
        <p:spPr>
          <a:xfrm>
            <a:off x="4786973" y="2889283"/>
            <a:ext cx="2145195" cy="308276"/>
          </a:xfrm>
          <a:prstGeom prst="rect">
            <a:avLst/>
          </a:prstGeom>
        </p:spPr>
        <p:txBody>
          <a:bodyPr lIns="77925" tIns="38963" rIns="77925" bIns="38963"/>
          <a:lstStyle>
            <a:lvl1pPr marL="0" indent="0">
              <a:buNone/>
              <a:defRPr sz="1000" b="0" i="0">
                <a:solidFill>
                  <a:srgbClr val="FFFFFF"/>
                </a:solidFill>
                <a:latin typeface="+mj-lt"/>
                <a:cs typeface="Arial"/>
              </a:defRPr>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nl-NL" dirty="0" smtClean="0"/>
              <a:t>Klik om</a:t>
            </a:r>
          </a:p>
        </p:txBody>
      </p:sp>
    </p:spTree>
    <p:extLst>
      <p:ext uri="{BB962C8B-B14F-4D97-AF65-F5344CB8AC3E}">
        <p14:creationId xmlns:p14="http://schemas.microsoft.com/office/powerpoint/2010/main" val="27458494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r>
              <a:rPr lang="nl-NL" dirty="0" smtClean="0"/>
              <a:t>Lorem</a:t>
            </a:r>
          </a:p>
        </p:txBody>
      </p:sp>
    </p:spTree>
    <p:extLst>
      <p:ext uri="{BB962C8B-B14F-4D97-AF65-F5344CB8AC3E}">
        <p14:creationId xmlns:p14="http://schemas.microsoft.com/office/powerpoint/2010/main" val="53035990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text page">
    <p:spTree>
      <p:nvGrpSpPr>
        <p:cNvPr id="1" name=""/>
        <p:cNvGrpSpPr/>
        <p:nvPr/>
      </p:nvGrpSpPr>
      <p:grpSpPr>
        <a:xfrm>
          <a:off x="0" y="0"/>
          <a:ext cx="0" cy="0"/>
          <a:chOff x="0" y="0"/>
          <a:chExt cx="0" cy="0"/>
        </a:xfrm>
      </p:grpSpPr>
      <p:sp>
        <p:nvSpPr>
          <p:cNvPr id="2" name="Titel 1"/>
          <p:cNvSpPr>
            <a:spLocks noGrp="1"/>
          </p:cNvSpPr>
          <p:nvPr>
            <p:ph type="title"/>
          </p:nvPr>
        </p:nvSpPr>
        <p:spPr>
          <a:xfrm>
            <a:off x="457200" y="434376"/>
            <a:ext cx="7218004" cy="652794"/>
          </a:xfrm>
          <a:prstGeom prst="rect">
            <a:avLst/>
          </a:prstGeom>
        </p:spPr>
        <p:txBody>
          <a:bodyPr lIns="77925" tIns="38963" rIns="77925" bIns="38963"/>
          <a:lstStyle>
            <a:lvl1pPr algn="l">
              <a:defRPr sz="2700" b="0" i="0">
                <a:solidFill>
                  <a:srgbClr val="207C9E"/>
                </a:solidFill>
                <a:latin typeface="+mn-lt"/>
                <a:cs typeface="Arial"/>
              </a:defRPr>
            </a:lvl1pPr>
          </a:lstStyle>
          <a:p>
            <a:r>
              <a:rPr lang="nl-NL" dirty="0" smtClean="0"/>
              <a:t>Titelstijl van model bewerken</a:t>
            </a:r>
            <a:endParaRPr lang="nl-NL" dirty="0"/>
          </a:p>
        </p:txBody>
      </p:sp>
      <p:sp>
        <p:nvSpPr>
          <p:cNvPr id="3" name="Tijdelijke aanduiding voor inhoud 2"/>
          <p:cNvSpPr>
            <a:spLocks noGrp="1"/>
          </p:cNvSpPr>
          <p:nvPr>
            <p:ph idx="1"/>
          </p:nvPr>
        </p:nvSpPr>
        <p:spPr>
          <a:xfrm>
            <a:off x="457200" y="1200151"/>
            <a:ext cx="7218004" cy="2947538"/>
          </a:xfrm>
          <a:prstGeom prst="rect">
            <a:avLst/>
          </a:prstGeom>
        </p:spPr>
        <p:txBody>
          <a:bodyPr lIns="77925" tIns="38963" rIns="77925" bIns="38963"/>
          <a:lstStyle>
            <a:lvl1pPr marL="228635" indent="-213753">
              <a:lnSpc>
                <a:spcPct val="120000"/>
              </a:lnSpc>
              <a:buClr>
                <a:srgbClr val="EE3E27"/>
              </a:buClr>
              <a:buFont typeface="Wingdings" charset="2"/>
              <a:buChar char="§"/>
              <a:defRPr sz="1700">
                <a:solidFill>
                  <a:srgbClr val="207C9E"/>
                </a:solidFill>
                <a:latin typeface="+mn-lt"/>
                <a:cs typeface="Arial"/>
              </a:defRPr>
            </a:lvl1pPr>
            <a:lvl2pPr>
              <a:lnSpc>
                <a:spcPct val="120000"/>
              </a:lnSpc>
              <a:buClr>
                <a:srgbClr val="EE3E27"/>
              </a:buClr>
              <a:defRPr sz="1500">
                <a:solidFill>
                  <a:srgbClr val="207C9E"/>
                </a:solidFill>
                <a:latin typeface="+mn-lt"/>
                <a:cs typeface="Arial"/>
              </a:defRPr>
            </a:lvl2pPr>
            <a:lvl3pPr>
              <a:lnSpc>
                <a:spcPct val="120000"/>
              </a:lnSpc>
              <a:buClr>
                <a:srgbClr val="EE3E27"/>
              </a:buClr>
              <a:defRPr sz="1400">
                <a:solidFill>
                  <a:srgbClr val="207C9E"/>
                </a:solidFill>
                <a:latin typeface="+mn-lt"/>
                <a:cs typeface="Arial"/>
              </a:defRPr>
            </a:lvl3pPr>
            <a:lvl4pPr>
              <a:lnSpc>
                <a:spcPct val="120000"/>
              </a:lnSpc>
              <a:buClr>
                <a:srgbClr val="EE3E27"/>
              </a:buClr>
              <a:defRPr sz="1200">
                <a:solidFill>
                  <a:srgbClr val="207C9E"/>
                </a:solidFill>
                <a:latin typeface="+mn-lt"/>
                <a:cs typeface="Arial"/>
              </a:defRPr>
            </a:lvl4pPr>
            <a:lvl5pPr>
              <a:lnSpc>
                <a:spcPct val="120000"/>
              </a:lnSpc>
              <a:buClr>
                <a:srgbClr val="EE3E27"/>
              </a:buClr>
              <a:defRPr sz="1200">
                <a:solidFill>
                  <a:srgbClr val="207C9E"/>
                </a:solidFill>
                <a:latin typeface="+mn-lt"/>
                <a:cs typeface="Aria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6" name="Tijdelijke aanduiding voor voettekst 4"/>
          <p:cNvSpPr>
            <a:spLocks noGrp="1"/>
          </p:cNvSpPr>
          <p:nvPr>
            <p:ph type="ftr" sz="quarter" idx="11"/>
          </p:nvPr>
        </p:nvSpPr>
        <p:spPr>
          <a:xfrm>
            <a:off x="2865196" y="4718250"/>
            <a:ext cx="5924792" cy="365125"/>
          </a:xfrm>
          <a:prstGeom prst="rect">
            <a:avLst/>
          </a:prstGeom>
        </p:spPr>
        <p:txBody>
          <a:bodyPr anchor="b" anchorCtr="0"/>
          <a:lstStyle>
            <a:lvl1pPr algn="r">
              <a:defRPr/>
            </a:lvl1pPr>
          </a:lstStyle>
          <a:p>
            <a:r>
              <a:rPr lang="nl-NL" dirty="0" smtClean="0"/>
              <a:t>Lorem</a:t>
            </a:r>
          </a:p>
        </p:txBody>
      </p:sp>
      <p:pic>
        <p:nvPicPr>
          <p:cNvPr id="8" name="Afbeelding 7"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363664489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image left, text page">
    <p:spTree>
      <p:nvGrpSpPr>
        <p:cNvPr id="1" name=""/>
        <p:cNvGrpSpPr/>
        <p:nvPr/>
      </p:nvGrpSpPr>
      <p:grpSpPr>
        <a:xfrm>
          <a:off x="0" y="0"/>
          <a:ext cx="0" cy="0"/>
          <a:chOff x="0" y="0"/>
          <a:chExt cx="0" cy="0"/>
        </a:xfrm>
      </p:grpSpPr>
      <p:sp>
        <p:nvSpPr>
          <p:cNvPr id="2" name="Titel 1"/>
          <p:cNvSpPr>
            <a:spLocks noGrp="1"/>
          </p:cNvSpPr>
          <p:nvPr>
            <p:ph type="title"/>
          </p:nvPr>
        </p:nvSpPr>
        <p:spPr>
          <a:xfrm>
            <a:off x="457200" y="434376"/>
            <a:ext cx="7218004" cy="652794"/>
          </a:xfrm>
          <a:prstGeom prst="rect">
            <a:avLst/>
          </a:prstGeom>
        </p:spPr>
        <p:txBody>
          <a:bodyPr lIns="77925" tIns="38963" rIns="77925" bIns="38963"/>
          <a:lstStyle>
            <a:lvl1pPr algn="l">
              <a:defRPr sz="2700" b="0" i="0">
                <a:solidFill>
                  <a:srgbClr val="207C9E"/>
                </a:solidFill>
                <a:latin typeface="+mn-lt"/>
                <a:cs typeface="Arial"/>
              </a:defRPr>
            </a:lvl1pPr>
          </a:lstStyle>
          <a:p>
            <a:r>
              <a:rPr lang="nl-NL" dirty="0" smtClean="0"/>
              <a:t>Titelstijl van model bewerken</a:t>
            </a:r>
            <a:endParaRPr lang="nl-NL" dirty="0"/>
          </a:p>
        </p:txBody>
      </p:sp>
      <p:sp>
        <p:nvSpPr>
          <p:cNvPr id="3" name="Tijdelijke aanduiding voor inhoud 2"/>
          <p:cNvSpPr>
            <a:spLocks noGrp="1"/>
          </p:cNvSpPr>
          <p:nvPr>
            <p:ph idx="1"/>
          </p:nvPr>
        </p:nvSpPr>
        <p:spPr>
          <a:xfrm>
            <a:off x="3380744" y="1208295"/>
            <a:ext cx="4294460" cy="3166798"/>
          </a:xfrm>
          <a:prstGeom prst="rect">
            <a:avLst/>
          </a:prstGeom>
        </p:spPr>
        <p:txBody>
          <a:bodyPr lIns="77925" tIns="38963" rIns="77925" bIns="38963"/>
          <a:lstStyle>
            <a:lvl1pPr marL="228635" indent="-213753">
              <a:lnSpc>
                <a:spcPct val="120000"/>
              </a:lnSpc>
              <a:buClr>
                <a:srgbClr val="EE3E27"/>
              </a:buClr>
              <a:buFont typeface="Wingdings" charset="2"/>
              <a:buChar char="§"/>
              <a:defRPr sz="1700">
                <a:solidFill>
                  <a:srgbClr val="207C9E"/>
                </a:solidFill>
                <a:latin typeface="+mn-lt"/>
                <a:cs typeface="Arial"/>
              </a:defRPr>
            </a:lvl1pPr>
            <a:lvl2pPr>
              <a:lnSpc>
                <a:spcPct val="120000"/>
              </a:lnSpc>
              <a:buClr>
                <a:srgbClr val="EE3E27"/>
              </a:buClr>
              <a:defRPr sz="1500">
                <a:solidFill>
                  <a:srgbClr val="207C9E"/>
                </a:solidFill>
                <a:latin typeface="+mn-lt"/>
                <a:cs typeface="Arial"/>
              </a:defRPr>
            </a:lvl2pPr>
            <a:lvl3pPr>
              <a:lnSpc>
                <a:spcPct val="120000"/>
              </a:lnSpc>
              <a:buClr>
                <a:srgbClr val="EE3E27"/>
              </a:buClr>
              <a:defRPr sz="1400">
                <a:solidFill>
                  <a:srgbClr val="207C9E"/>
                </a:solidFill>
                <a:latin typeface="+mn-lt"/>
                <a:cs typeface="Arial"/>
              </a:defRPr>
            </a:lvl3pPr>
            <a:lvl4pPr>
              <a:lnSpc>
                <a:spcPct val="120000"/>
              </a:lnSpc>
              <a:buClr>
                <a:srgbClr val="EE3E27"/>
              </a:buClr>
              <a:defRPr sz="1200">
                <a:solidFill>
                  <a:srgbClr val="207C9E"/>
                </a:solidFill>
                <a:latin typeface="+mn-lt"/>
                <a:cs typeface="Arial"/>
              </a:defRPr>
            </a:lvl4pPr>
            <a:lvl5pPr>
              <a:lnSpc>
                <a:spcPct val="120000"/>
              </a:lnSpc>
              <a:buClr>
                <a:srgbClr val="EE3E27"/>
              </a:buClr>
              <a:defRPr sz="1200">
                <a:solidFill>
                  <a:srgbClr val="207C9E"/>
                </a:solidFill>
                <a:latin typeface="+mn-lt"/>
                <a:cs typeface="Aria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8" name="Tijdelijke aanduiding voor afbeelding 2"/>
          <p:cNvSpPr>
            <a:spLocks noGrp="1"/>
          </p:cNvSpPr>
          <p:nvPr>
            <p:ph type="pic" idx="12"/>
          </p:nvPr>
        </p:nvSpPr>
        <p:spPr>
          <a:xfrm>
            <a:off x="2" y="1322390"/>
            <a:ext cx="3380744" cy="3044561"/>
          </a:xfrm>
          <a:prstGeom prst="rect">
            <a:avLst/>
          </a:prstGeom>
        </p:spPr>
        <p:txBody>
          <a:bodyPr lIns="77925" tIns="38963" rIns="77925" bIns="38963"/>
          <a:lstStyle>
            <a:lvl1pPr marL="0" indent="0">
              <a:buNone/>
              <a:defRPr sz="2700">
                <a:latin typeface="+mn-lt"/>
              </a:defRPr>
            </a:lvl1pPr>
            <a:lvl2pPr marL="389626" indent="0">
              <a:buNone/>
              <a:defRPr sz="2400"/>
            </a:lvl2pPr>
            <a:lvl3pPr marL="779252" indent="0">
              <a:buNone/>
              <a:defRPr sz="2000"/>
            </a:lvl3pPr>
            <a:lvl4pPr marL="1168878" indent="0">
              <a:buNone/>
              <a:defRPr sz="1700"/>
            </a:lvl4pPr>
            <a:lvl5pPr marL="1558503" indent="0">
              <a:buNone/>
              <a:defRPr sz="1700"/>
            </a:lvl5pPr>
            <a:lvl6pPr marL="1948129" indent="0">
              <a:buNone/>
              <a:defRPr sz="1700"/>
            </a:lvl6pPr>
            <a:lvl7pPr marL="2337755" indent="0">
              <a:buNone/>
              <a:defRPr sz="1700"/>
            </a:lvl7pPr>
            <a:lvl8pPr marL="2727381" indent="0">
              <a:buNone/>
              <a:defRPr sz="1700"/>
            </a:lvl8pPr>
            <a:lvl9pPr marL="3117007" indent="0">
              <a:buNone/>
              <a:defRPr sz="1700"/>
            </a:lvl9pPr>
          </a:lstStyle>
          <a:p>
            <a:endParaRPr lang="nl-NL" dirty="0"/>
          </a:p>
        </p:txBody>
      </p:sp>
      <p:sp>
        <p:nvSpPr>
          <p:cNvPr id="9" name="Tijdelijke aanduiding voor voettekst 4"/>
          <p:cNvSpPr>
            <a:spLocks noGrp="1"/>
          </p:cNvSpPr>
          <p:nvPr>
            <p:ph type="ftr" sz="quarter" idx="11"/>
          </p:nvPr>
        </p:nvSpPr>
        <p:spPr>
          <a:xfrm>
            <a:off x="2865196" y="4739054"/>
            <a:ext cx="5924792" cy="365125"/>
          </a:xfrm>
          <a:prstGeom prst="rect">
            <a:avLst/>
          </a:prstGeom>
        </p:spPr>
        <p:txBody>
          <a:bodyPr anchor="b" anchorCtr="0"/>
          <a:lstStyle>
            <a:lvl1pPr algn="r">
              <a:defRPr/>
            </a:lvl1pPr>
          </a:lstStyle>
          <a:p>
            <a:r>
              <a:rPr lang="nl-NL" dirty="0" smtClean="0"/>
              <a:t>Lorem</a:t>
            </a:r>
          </a:p>
        </p:txBody>
      </p:sp>
      <p:pic>
        <p:nvPicPr>
          <p:cNvPr id="10" name="Afbeelding 9"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76727974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image right, text page">
    <p:spTree>
      <p:nvGrpSpPr>
        <p:cNvPr id="1" name=""/>
        <p:cNvGrpSpPr/>
        <p:nvPr/>
      </p:nvGrpSpPr>
      <p:grpSpPr>
        <a:xfrm>
          <a:off x="0" y="0"/>
          <a:ext cx="0" cy="0"/>
          <a:chOff x="0" y="0"/>
          <a:chExt cx="0" cy="0"/>
        </a:xfrm>
      </p:grpSpPr>
      <p:sp>
        <p:nvSpPr>
          <p:cNvPr id="2" name="Titel 1"/>
          <p:cNvSpPr>
            <a:spLocks noGrp="1"/>
          </p:cNvSpPr>
          <p:nvPr>
            <p:ph type="title"/>
          </p:nvPr>
        </p:nvSpPr>
        <p:spPr>
          <a:xfrm>
            <a:off x="457200" y="434376"/>
            <a:ext cx="7218004" cy="652794"/>
          </a:xfrm>
          <a:prstGeom prst="rect">
            <a:avLst/>
          </a:prstGeom>
        </p:spPr>
        <p:txBody>
          <a:bodyPr lIns="77925" tIns="38963" rIns="77925" bIns="38963"/>
          <a:lstStyle>
            <a:lvl1pPr algn="l">
              <a:defRPr sz="2700" b="0" i="0">
                <a:solidFill>
                  <a:srgbClr val="207C9E"/>
                </a:solidFill>
                <a:latin typeface="+mn-lt"/>
                <a:cs typeface="Arial"/>
              </a:defRPr>
            </a:lvl1pPr>
          </a:lstStyle>
          <a:p>
            <a:r>
              <a:rPr lang="nl-NL" dirty="0" smtClean="0"/>
              <a:t>Titelstijl van model bewerken</a:t>
            </a:r>
            <a:endParaRPr lang="nl-NL" dirty="0"/>
          </a:p>
        </p:txBody>
      </p:sp>
      <p:sp>
        <p:nvSpPr>
          <p:cNvPr id="3" name="Tijdelijke aanduiding voor inhoud 2"/>
          <p:cNvSpPr>
            <a:spLocks noGrp="1"/>
          </p:cNvSpPr>
          <p:nvPr>
            <p:ph idx="1"/>
          </p:nvPr>
        </p:nvSpPr>
        <p:spPr>
          <a:xfrm>
            <a:off x="457200" y="1208292"/>
            <a:ext cx="4294460" cy="3166798"/>
          </a:xfrm>
          <a:prstGeom prst="rect">
            <a:avLst/>
          </a:prstGeom>
        </p:spPr>
        <p:txBody>
          <a:bodyPr lIns="77925" tIns="38963" rIns="77925" bIns="38963"/>
          <a:lstStyle>
            <a:lvl1pPr marL="228635" indent="-213753">
              <a:lnSpc>
                <a:spcPct val="120000"/>
              </a:lnSpc>
              <a:buClr>
                <a:srgbClr val="EE3E27"/>
              </a:buClr>
              <a:buFont typeface="Wingdings" charset="2"/>
              <a:buChar char="§"/>
              <a:defRPr sz="1700">
                <a:solidFill>
                  <a:srgbClr val="207C9E"/>
                </a:solidFill>
                <a:latin typeface="+mn-lt"/>
                <a:cs typeface="Arial"/>
              </a:defRPr>
            </a:lvl1pPr>
            <a:lvl2pPr>
              <a:lnSpc>
                <a:spcPct val="120000"/>
              </a:lnSpc>
              <a:buClr>
                <a:srgbClr val="EE3E27"/>
              </a:buClr>
              <a:defRPr sz="1500">
                <a:solidFill>
                  <a:srgbClr val="207C9E"/>
                </a:solidFill>
                <a:latin typeface="+mn-lt"/>
                <a:cs typeface="Arial"/>
              </a:defRPr>
            </a:lvl2pPr>
            <a:lvl3pPr>
              <a:lnSpc>
                <a:spcPct val="120000"/>
              </a:lnSpc>
              <a:buClr>
                <a:srgbClr val="EE3E27"/>
              </a:buClr>
              <a:defRPr sz="1400">
                <a:solidFill>
                  <a:srgbClr val="207C9E"/>
                </a:solidFill>
                <a:latin typeface="+mn-lt"/>
                <a:cs typeface="Arial"/>
              </a:defRPr>
            </a:lvl3pPr>
            <a:lvl4pPr>
              <a:lnSpc>
                <a:spcPct val="120000"/>
              </a:lnSpc>
              <a:buClr>
                <a:srgbClr val="EE3E27"/>
              </a:buClr>
              <a:defRPr sz="1200">
                <a:solidFill>
                  <a:srgbClr val="207C9E"/>
                </a:solidFill>
                <a:latin typeface="+mn-lt"/>
                <a:cs typeface="Arial"/>
              </a:defRPr>
            </a:lvl4pPr>
            <a:lvl5pPr>
              <a:lnSpc>
                <a:spcPct val="120000"/>
              </a:lnSpc>
              <a:buClr>
                <a:srgbClr val="EE3E27"/>
              </a:buClr>
              <a:defRPr sz="1200">
                <a:solidFill>
                  <a:srgbClr val="207C9E"/>
                </a:solidFill>
                <a:latin typeface="+mn-lt"/>
                <a:cs typeface="Aria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voettekst 4"/>
          <p:cNvSpPr>
            <a:spLocks noGrp="1"/>
          </p:cNvSpPr>
          <p:nvPr>
            <p:ph type="ftr" sz="quarter" idx="11"/>
          </p:nvPr>
        </p:nvSpPr>
        <p:spPr>
          <a:xfrm>
            <a:off x="2865196" y="4718250"/>
            <a:ext cx="5924792" cy="365125"/>
          </a:xfrm>
          <a:prstGeom prst="rect">
            <a:avLst/>
          </a:prstGeom>
        </p:spPr>
        <p:txBody>
          <a:bodyPr anchor="b" anchorCtr="0"/>
          <a:lstStyle>
            <a:lvl1pPr algn="r">
              <a:defRPr/>
            </a:lvl1pPr>
          </a:lstStyle>
          <a:p>
            <a:r>
              <a:rPr lang="nl-NL" dirty="0" smtClean="0"/>
              <a:t>Lorem</a:t>
            </a:r>
          </a:p>
        </p:txBody>
      </p:sp>
      <p:pic>
        <p:nvPicPr>
          <p:cNvPr id="6" name="Afbeelding 5"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b="73476"/>
          <a:stretch/>
        </p:blipFill>
        <p:spPr>
          <a:xfrm>
            <a:off x="7986255" y="56997"/>
            <a:ext cx="1157746" cy="1143155"/>
          </a:xfrm>
          <a:prstGeom prst="rect">
            <a:avLst/>
          </a:prstGeom>
        </p:spPr>
      </p:pic>
      <p:sp>
        <p:nvSpPr>
          <p:cNvPr id="8" name="Tijdelijke aanduiding voor afbeelding 2"/>
          <p:cNvSpPr>
            <a:spLocks noGrp="1"/>
          </p:cNvSpPr>
          <p:nvPr>
            <p:ph type="pic" idx="12"/>
          </p:nvPr>
        </p:nvSpPr>
        <p:spPr>
          <a:xfrm>
            <a:off x="4751660" y="1322390"/>
            <a:ext cx="4392340" cy="3044561"/>
          </a:xfrm>
          <a:prstGeom prst="rect">
            <a:avLst/>
          </a:prstGeom>
        </p:spPr>
        <p:txBody>
          <a:bodyPr lIns="77925" tIns="38963" rIns="77925" bIns="38963"/>
          <a:lstStyle>
            <a:lvl1pPr marL="0" indent="0">
              <a:buNone/>
              <a:defRPr sz="2700">
                <a:latin typeface="+mn-lt"/>
              </a:defRPr>
            </a:lvl1pPr>
            <a:lvl2pPr marL="389626" indent="0">
              <a:buNone/>
              <a:defRPr sz="2400"/>
            </a:lvl2pPr>
            <a:lvl3pPr marL="779252" indent="0">
              <a:buNone/>
              <a:defRPr sz="2000"/>
            </a:lvl3pPr>
            <a:lvl4pPr marL="1168878" indent="0">
              <a:buNone/>
              <a:defRPr sz="1700"/>
            </a:lvl4pPr>
            <a:lvl5pPr marL="1558503" indent="0">
              <a:buNone/>
              <a:defRPr sz="1700"/>
            </a:lvl5pPr>
            <a:lvl6pPr marL="1948129" indent="0">
              <a:buNone/>
              <a:defRPr sz="1700"/>
            </a:lvl6pPr>
            <a:lvl7pPr marL="2337755" indent="0">
              <a:buNone/>
              <a:defRPr sz="1700"/>
            </a:lvl7pPr>
            <a:lvl8pPr marL="2727381" indent="0">
              <a:buNone/>
              <a:defRPr sz="1700"/>
            </a:lvl8pPr>
            <a:lvl9pPr marL="3117007" indent="0">
              <a:buNone/>
              <a:defRPr sz="1700"/>
            </a:lvl9pPr>
          </a:lstStyle>
          <a:p>
            <a:endParaRPr lang="nl-NL" dirty="0"/>
          </a:p>
        </p:txBody>
      </p:sp>
    </p:spTree>
    <p:extLst>
      <p:ext uri="{BB962C8B-B14F-4D97-AF65-F5344CB8AC3E}">
        <p14:creationId xmlns:p14="http://schemas.microsoft.com/office/powerpoint/2010/main" val="270231028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page">
    <p:spTree>
      <p:nvGrpSpPr>
        <p:cNvPr id="1" name=""/>
        <p:cNvGrpSpPr/>
        <p:nvPr/>
      </p:nvGrpSpPr>
      <p:grpSpPr>
        <a:xfrm>
          <a:off x="0" y="0"/>
          <a:ext cx="0" cy="0"/>
          <a:chOff x="0" y="0"/>
          <a:chExt cx="0" cy="0"/>
        </a:xfrm>
      </p:grpSpPr>
      <p:sp>
        <p:nvSpPr>
          <p:cNvPr id="5" name="Tijdelijke aanduiding voor afbeelding 2"/>
          <p:cNvSpPr>
            <a:spLocks noGrp="1"/>
          </p:cNvSpPr>
          <p:nvPr>
            <p:ph type="pic" idx="1"/>
          </p:nvPr>
        </p:nvSpPr>
        <p:spPr>
          <a:xfrm>
            <a:off x="0" y="2788"/>
            <a:ext cx="9144000" cy="4373299"/>
          </a:xfrm>
          <a:prstGeom prst="rect">
            <a:avLst/>
          </a:prstGeom>
        </p:spPr>
        <p:txBody>
          <a:bodyPr lIns="77925" tIns="38963" rIns="77925" bIns="38963"/>
          <a:lstStyle>
            <a:lvl1pPr marL="0" indent="0">
              <a:buNone/>
              <a:defRPr sz="2700"/>
            </a:lvl1pPr>
            <a:lvl2pPr marL="389626" indent="0">
              <a:buNone/>
              <a:defRPr sz="2400"/>
            </a:lvl2pPr>
            <a:lvl3pPr marL="779252" indent="0">
              <a:buNone/>
              <a:defRPr sz="2000"/>
            </a:lvl3pPr>
            <a:lvl4pPr marL="1168878" indent="0">
              <a:buNone/>
              <a:defRPr sz="1700"/>
            </a:lvl4pPr>
            <a:lvl5pPr marL="1558503" indent="0">
              <a:buNone/>
              <a:defRPr sz="1700"/>
            </a:lvl5pPr>
            <a:lvl6pPr marL="1948129" indent="0">
              <a:buNone/>
              <a:defRPr sz="1700"/>
            </a:lvl6pPr>
            <a:lvl7pPr marL="2337755" indent="0">
              <a:buNone/>
              <a:defRPr sz="1700"/>
            </a:lvl7pPr>
            <a:lvl8pPr marL="2727381" indent="0">
              <a:buNone/>
              <a:defRPr sz="1700"/>
            </a:lvl8pPr>
            <a:lvl9pPr marL="3117007" indent="0">
              <a:buNone/>
              <a:defRPr sz="1700"/>
            </a:lvl9pPr>
          </a:lstStyle>
          <a:p>
            <a:endParaRPr lang="nl-NL" dirty="0"/>
          </a:p>
        </p:txBody>
      </p:sp>
      <p:sp>
        <p:nvSpPr>
          <p:cNvPr id="4" name="Tijdelijke aanduiding voor voettekst 4"/>
          <p:cNvSpPr>
            <a:spLocks noGrp="1"/>
          </p:cNvSpPr>
          <p:nvPr>
            <p:ph type="ftr" sz="quarter" idx="11"/>
          </p:nvPr>
        </p:nvSpPr>
        <p:spPr>
          <a:xfrm>
            <a:off x="2865196" y="4714629"/>
            <a:ext cx="5924792" cy="365125"/>
          </a:xfrm>
          <a:prstGeom prst="rect">
            <a:avLst/>
          </a:prstGeom>
        </p:spPr>
        <p:txBody>
          <a:bodyPr anchor="b" anchorCtr="0"/>
          <a:lstStyle>
            <a:lvl1pPr algn="r">
              <a:defRPr/>
            </a:lvl1pPr>
          </a:lstStyle>
          <a:p>
            <a:r>
              <a:rPr lang="nl-NL" dirty="0" smtClean="0"/>
              <a:t>Lorem</a:t>
            </a:r>
          </a:p>
        </p:txBody>
      </p:sp>
    </p:spTree>
    <p:extLst>
      <p:ext uri="{BB962C8B-B14F-4D97-AF65-F5344CB8AC3E}">
        <p14:creationId xmlns:p14="http://schemas.microsoft.com/office/powerpoint/2010/main" val="245106039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page">
    <p:spTree>
      <p:nvGrpSpPr>
        <p:cNvPr id="1" name=""/>
        <p:cNvGrpSpPr/>
        <p:nvPr/>
      </p:nvGrpSpPr>
      <p:grpSpPr>
        <a:xfrm>
          <a:off x="0" y="0"/>
          <a:ext cx="0" cy="0"/>
          <a:chOff x="0" y="0"/>
          <a:chExt cx="0" cy="0"/>
        </a:xfrm>
      </p:grpSpPr>
      <p:sp>
        <p:nvSpPr>
          <p:cNvPr id="6" name="Rechthoek 5"/>
          <p:cNvSpPr>
            <a:spLocks/>
          </p:cNvSpPr>
          <p:nvPr userDrawn="1"/>
        </p:nvSpPr>
        <p:spPr>
          <a:xfrm>
            <a:off x="0" y="0"/>
            <a:ext cx="9144000" cy="4559436"/>
          </a:xfrm>
          <a:prstGeom prst="rect">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defTabSz="457096"/>
            <a:r>
              <a:rPr lang="nl-NL" dirty="0" smtClean="0">
                <a:solidFill>
                  <a:prstClr val="white"/>
                </a:solidFill>
              </a:rPr>
              <a:t>        </a:t>
            </a:r>
            <a:endParaRPr lang="nl-NL" dirty="0">
              <a:solidFill>
                <a:prstClr val="white"/>
              </a:solidFill>
            </a:endParaRPr>
          </a:p>
        </p:txBody>
      </p:sp>
      <p:sp>
        <p:nvSpPr>
          <p:cNvPr id="2" name="Titel 1"/>
          <p:cNvSpPr>
            <a:spLocks noGrp="1"/>
          </p:cNvSpPr>
          <p:nvPr>
            <p:ph type="title"/>
          </p:nvPr>
        </p:nvSpPr>
        <p:spPr>
          <a:xfrm>
            <a:off x="466852" y="1934926"/>
            <a:ext cx="8229600" cy="857250"/>
          </a:xfrm>
          <a:prstGeom prst="rect">
            <a:avLst/>
          </a:prstGeom>
        </p:spPr>
        <p:txBody>
          <a:bodyPr lIns="77925" tIns="38963" rIns="77925" bIns="38963"/>
          <a:lstStyle>
            <a:lvl1pPr algn="l">
              <a:defRPr b="0" i="0">
                <a:solidFill>
                  <a:schemeClr val="bg1"/>
                </a:solidFill>
                <a:latin typeface="+mn-lt"/>
                <a:cs typeface="Arial"/>
              </a:defRPr>
            </a:lvl1pPr>
          </a:lstStyle>
          <a:p>
            <a:r>
              <a:rPr lang="nl-NL" dirty="0" smtClean="0"/>
              <a:t>Titelstijl van model bewerken</a:t>
            </a:r>
            <a:endParaRPr lang="nl-NL" dirty="0"/>
          </a:p>
        </p:txBody>
      </p:sp>
      <p:sp>
        <p:nvSpPr>
          <p:cNvPr id="5" name="Tijdelijke aanduiding voor voettekst 4"/>
          <p:cNvSpPr>
            <a:spLocks noGrp="1"/>
          </p:cNvSpPr>
          <p:nvPr>
            <p:ph type="ftr" sz="quarter" idx="11"/>
          </p:nvPr>
        </p:nvSpPr>
        <p:spPr>
          <a:xfrm>
            <a:off x="2865196" y="4714329"/>
            <a:ext cx="5924792" cy="365125"/>
          </a:xfrm>
          <a:prstGeom prst="rect">
            <a:avLst/>
          </a:prstGeom>
        </p:spPr>
        <p:txBody>
          <a:bodyPr anchor="b" anchorCtr="0"/>
          <a:lstStyle>
            <a:lvl1pPr algn="r">
              <a:defRPr/>
            </a:lvl1pPr>
          </a:lstStyle>
          <a:p>
            <a:r>
              <a:rPr lang="nl-NL" dirty="0" smtClean="0"/>
              <a:t>Lorem</a:t>
            </a:r>
          </a:p>
        </p:txBody>
      </p:sp>
      <p:sp>
        <p:nvSpPr>
          <p:cNvPr id="10" name="Tijdelijke aanduiding voor inhoud 2"/>
          <p:cNvSpPr>
            <a:spLocks noGrp="1"/>
          </p:cNvSpPr>
          <p:nvPr>
            <p:ph idx="1" hasCustomPrompt="1"/>
          </p:nvPr>
        </p:nvSpPr>
        <p:spPr>
          <a:xfrm>
            <a:off x="466852" y="3085288"/>
            <a:ext cx="4294460" cy="415622"/>
          </a:xfrm>
          <a:prstGeom prst="rect">
            <a:avLst/>
          </a:prstGeom>
        </p:spPr>
        <p:txBody>
          <a:bodyPr lIns="77925" tIns="38963" rIns="77925" bIns="38963"/>
          <a:lstStyle>
            <a:lvl1pPr marL="14882" indent="0">
              <a:lnSpc>
                <a:spcPct val="120000"/>
              </a:lnSpc>
              <a:buClr>
                <a:srgbClr val="EE3E27"/>
              </a:buClr>
              <a:buFont typeface="Wingdings" charset="2"/>
              <a:buNone/>
              <a:defRPr sz="1700">
                <a:solidFill>
                  <a:srgbClr val="FFFFFF"/>
                </a:solidFill>
                <a:latin typeface="+mn-lt"/>
                <a:cs typeface="Arial"/>
              </a:defRPr>
            </a:lvl1pPr>
            <a:lvl2pPr>
              <a:lnSpc>
                <a:spcPct val="120000"/>
              </a:lnSpc>
              <a:buClr>
                <a:srgbClr val="EE3E27"/>
              </a:buClr>
              <a:defRPr sz="1500">
                <a:solidFill>
                  <a:srgbClr val="FFFFFF"/>
                </a:solidFill>
                <a:latin typeface="Helvetica"/>
                <a:cs typeface="Helvetica"/>
              </a:defRPr>
            </a:lvl2pPr>
            <a:lvl3pPr>
              <a:lnSpc>
                <a:spcPct val="120000"/>
              </a:lnSpc>
              <a:buClr>
                <a:srgbClr val="EE3E27"/>
              </a:buClr>
              <a:defRPr sz="1400">
                <a:solidFill>
                  <a:srgbClr val="FFFFFF"/>
                </a:solidFill>
                <a:latin typeface="Helvetica"/>
                <a:cs typeface="Helvetica"/>
              </a:defRPr>
            </a:lvl3pPr>
            <a:lvl4pPr>
              <a:lnSpc>
                <a:spcPct val="120000"/>
              </a:lnSpc>
              <a:buClr>
                <a:srgbClr val="EE3E27"/>
              </a:buClr>
              <a:defRPr sz="1200">
                <a:solidFill>
                  <a:srgbClr val="FFFFFF"/>
                </a:solidFill>
                <a:latin typeface="Helvetica"/>
                <a:cs typeface="Helvetica"/>
              </a:defRPr>
            </a:lvl4pPr>
            <a:lvl5pPr>
              <a:lnSpc>
                <a:spcPct val="120000"/>
              </a:lnSpc>
              <a:buClr>
                <a:srgbClr val="EE3E27"/>
              </a:buClr>
              <a:defRPr sz="1200">
                <a:solidFill>
                  <a:srgbClr val="FFFFFF"/>
                </a:solidFill>
                <a:latin typeface="Helvetica"/>
                <a:cs typeface="Helvetica"/>
              </a:defRPr>
            </a:lvl5pPr>
          </a:lstStyle>
          <a:p>
            <a:pPr lvl="0"/>
            <a:r>
              <a:rPr lang="nl-NL" dirty="0" smtClean="0"/>
              <a:t>E-mail adres</a:t>
            </a:r>
            <a:endParaRPr lang="nl-NL" dirty="0"/>
          </a:p>
        </p:txBody>
      </p:sp>
      <p:sp>
        <p:nvSpPr>
          <p:cNvPr id="11" name="Tijdelijke aanduiding voor inhoud 2"/>
          <p:cNvSpPr>
            <a:spLocks noGrp="1"/>
          </p:cNvSpPr>
          <p:nvPr>
            <p:ph idx="12" hasCustomPrompt="1"/>
          </p:nvPr>
        </p:nvSpPr>
        <p:spPr>
          <a:xfrm>
            <a:off x="466852" y="3500912"/>
            <a:ext cx="4294460" cy="431509"/>
          </a:xfrm>
          <a:prstGeom prst="rect">
            <a:avLst/>
          </a:prstGeom>
        </p:spPr>
        <p:txBody>
          <a:bodyPr lIns="77925" tIns="38963" rIns="77925" bIns="38963" anchor="t" anchorCtr="0"/>
          <a:lstStyle>
            <a:lvl1pPr marL="14882" indent="0">
              <a:lnSpc>
                <a:spcPct val="120000"/>
              </a:lnSpc>
              <a:buClr>
                <a:srgbClr val="EE3E27"/>
              </a:buClr>
              <a:buFont typeface="Wingdings" charset="2"/>
              <a:buNone/>
              <a:defRPr sz="1700">
                <a:solidFill>
                  <a:schemeClr val="bg1"/>
                </a:solidFill>
                <a:latin typeface="+mn-lt"/>
                <a:cs typeface="Arial"/>
              </a:defRPr>
            </a:lvl1pPr>
            <a:lvl2pPr>
              <a:lnSpc>
                <a:spcPct val="120000"/>
              </a:lnSpc>
              <a:buClr>
                <a:srgbClr val="EE3E27"/>
              </a:buClr>
              <a:defRPr sz="1500">
                <a:solidFill>
                  <a:srgbClr val="FFFFFF"/>
                </a:solidFill>
                <a:latin typeface="Helvetica"/>
                <a:cs typeface="Helvetica"/>
              </a:defRPr>
            </a:lvl2pPr>
            <a:lvl3pPr>
              <a:lnSpc>
                <a:spcPct val="120000"/>
              </a:lnSpc>
              <a:buClr>
                <a:srgbClr val="EE3E27"/>
              </a:buClr>
              <a:defRPr sz="1400">
                <a:solidFill>
                  <a:srgbClr val="FFFFFF"/>
                </a:solidFill>
                <a:latin typeface="Helvetica"/>
                <a:cs typeface="Helvetica"/>
              </a:defRPr>
            </a:lvl3pPr>
            <a:lvl4pPr>
              <a:lnSpc>
                <a:spcPct val="120000"/>
              </a:lnSpc>
              <a:buClr>
                <a:srgbClr val="EE3E27"/>
              </a:buClr>
              <a:defRPr sz="1200">
                <a:solidFill>
                  <a:srgbClr val="FFFFFF"/>
                </a:solidFill>
                <a:latin typeface="Helvetica"/>
                <a:cs typeface="Helvetica"/>
              </a:defRPr>
            </a:lvl4pPr>
            <a:lvl5pPr>
              <a:lnSpc>
                <a:spcPct val="120000"/>
              </a:lnSpc>
              <a:buClr>
                <a:srgbClr val="EE3E27"/>
              </a:buClr>
              <a:defRPr sz="1200">
                <a:solidFill>
                  <a:srgbClr val="FFFFFF"/>
                </a:solidFill>
                <a:latin typeface="Helvetica"/>
                <a:cs typeface="Helvetica"/>
              </a:defRPr>
            </a:lvl5pPr>
          </a:lstStyle>
          <a:p>
            <a:pPr lvl="0"/>
            <a:r>
              <a:rPr lang="nl-NL" dirty="0" smtClean="0"/>
              <a:t>website</a:t>
            </a:r>
            <a:endParaRPr lang="nl-NL" dirty="0"/>
          </a:p>
        </p:txBody>
      </p:sp>
      <p:pic>
        <p:nvPicPr>
          <p:cNvPr id="8" name="Afbeelding 7"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13375585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r>
              <a:rPr lang="en-GB" dirty="0" smtClean="0"/>
              <a:t>Lorem</a:t>
            </a:r>
          </a:p>
        </p:txBody>
      </p:sp>
      <p:sp>
        <p:nvSpPr>
          <p:cNvPr id="4" name="Text Placeholder 3"/>
          <p:cNvSpPr>
            <a:spLocks noGrp="1"/>
          </p:cNvSpPr>
          <p:nvPr>
            <p:ph type="body" sz="quarter" idx="11"/>
          </p:nvPr>
        </p:nvSpPr>
        <p:spPr>
          <a:xfrm>
            <a:off x="61913" y="97775"/>
            <a:ext cx="8286750" cy="486075"/>
          </a:xfrm>
          <a:prstGeom prst="rect">
            <a:avLst/>
          </a:prstGeom>
        </p:spPr>
        <p:txBody>
          <a:bodyPr lIns="91417" tIns="45709" rIns="91417" bIns="45709"/>
          <a:lstStyle>
            <a:lvl1pPr marL="0" indent="0">
              <a:buNone/>
              <a:defRPr sz="2200">
                <a:latin typeface="Calibri" pitchFamily="34" charset="0"/>
              </a:defRPr>
            </a:lvl1pPr>
          </a:lstStyle>
          <a:p>
            <a:pPr lvl="0"/>
            <a:endParaRPr lang="en-GB" dirty="0"/>
          </a:p>
        </p:txBody>
      </p:sp>
    </p:spTree>
    <p:extLst>
      <p:ext uri="{BB962C8B-B14F-4D97-AF65-F5344CB8AC3E}">
        <p14:creationId xmlns:p14="http://schemas.microsoft.com/office/powerpoint/2010/main" val="104277241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2" y="273844"/>
            <a:ext cx="7886700" cy="994172"/>
          </a:xfrm>
          <a:prstGeom prst="rect">
            <a:avLst/>
          </a:prstGeom>
        </p:spPr>
        <p:txBody>
          <a:bodyPr lIns="58444" tIns="29222" rIns="58444" bIns="29222"/>
          <a:lstStyle>
            <a:lvl1pPr>
              <a:defRPr>
                <a:latin typeface="+mn-lt"/>
              </a:defRPr>
            </a:lvl1pPr>
          </a:lstStyle>
          <a:p>
            <a:r>
              <a:rPr lang="en-US" smtClean="0"/>
              <a:t>Click to edit Master title style</a:t>
            </a:r>
            <a:endParaRPr lang="nl-NL"/>
          </a:p>
        </p:txBody>
      </p:sp>
      <p:sp>
        <p:nvSpPr>
          <p:cNvPr id="3" name="Date Placeholder 2"/>
          <p:cNvSpPr>
            <a:spLocks noGrp="1"/>
          </p:cNvSpPr>
          <p:nvPr>
            <p:ph type="dt" sz="half" idx="10"/>
          </p:nvPr>
        </p:nvSpPr>
        <p:spPr>
          <a:xfrm>
            <a:off x="628650" y="4767264"/>
            <a:ext cx="2057400" cy="273844"/>
          </a:xfrm>
          <a:prstGeom prst="rect">
            <a:avLst/>
          </a:prstGeom>
        </p:spPr>
        <p:txBody>
          <a:bodyPr lIns="58444" tIns="29222" rIns="58444" bIns="29222"/>
          <a:lstStyle>
            <a:lvl1pPr>
              <a:defRPr>
                <a:latin typeface="+mn-lt"/>
              </a:defRPr>
            </a:lvl1pPr>
          </a:lstStyle>
          <a:p>
            <a:pPr defTabSz="457096"/>
            <a:fld id="{A2E9F8BA-509B-4848-B445-E808D609BB9D}" type="datetimeFigureOut">
              <a:rPr lang="nl-NL" smtClean="0">
                <a:solidFill>
                  <a:srgbClr val="197AA0"/>
                </a:solidFill>
              </a:rPr>
              <a:pPr defTabSz="457096"/>
              <a:t>22-2-2016</a:t>
            </a:fld>
            <a:endParaRPr lang="nl-NL" dirty="0">
              <a:solidFill>
                <a:srgbClr val="197AA0"/>
              </a:solidFill>
            </a:endParaRPr>
          </a:p>
        </p:txBody>
      </p:sp>
      <p:sp>
        <p:nvSpPr>
          <p:cNvPr id="4" name="Footer Placeholder 3"/>
          <p:cNvSpPr>
            <a:spLocks noGrp="1"/>
          </p:cNvSpPr>
          <p:nvPr>
            <p:ph type="ftr" sz="quarter" idx="11"/>
          </p:nvPr>
        </p:nvSpPr>
        <p:spPr/>
        <p:txBody>
          <a:bodyPr lIns="58444" tIns="29222" rIns="58444" bIns="29222"/>
          <a:lstStyle>
            <a:lvl1pPr>
              <a:defRPr>
                <a:latin typeface="+mn-lt"/>
              </a:defRPr>
            </a:lvl1pPr>
          </a:lstStyle>
          <a:p>
            <a:endParaRPr lang="nl-NL" dirty="0"/>
          </a:p>
        </p:txBody>
      </p:sp>
      <p:sp>
        <p:nvSpPr>
          <p:cNvPr id="5" name="Slide Number Placeholder 4"/>
          <p:cNvSpPr>
            <a:spLocks noGrp="1"/>
          </p:cNvSpPr>
          <p:nvPr>
            <p:ph type="sldNum" sz="quarter" idx="12"/>
          </p:nvPr>
        </p:nvSpPr>
        <p:spPr>
          <a:xfrm>
            <a:off x="6457950" y="4767264"/>
            <a:ext cx="2057400" cy="273844"/>
          </a:xfrm>
          <a:prstGeom prst="rect">
            <a:avLst/>
          </a:prstGeom>
        </p:spPr>
        <p:txBody>
          <a:bodyPr lIns="58444" tIns="29222" rIns="58444" bIns="29222"/>
          <a:lstStyle>
            <a:lvl1pPr>
              <a:defRPr>
                <a:latin typeface="+mn-lt"/>
              </a:defRPr>
            </a:lvl1pPr>
          </a:lstStyle>
          <a:p>
            <a:pPr defTabSz="457096"/>
            <a:fld id="{CE04B9C4-48F1-453D-81BF-8A097219A482}" type="slidenum">
              <a:rPr lang="nl-NL" smtClean="0">
                <a:solidFill>
                  <a:srgbClr val="197AA0"/>
                </a:solidFill>
              </a:rPr>
              <a:pPr defTabSz="457096"/>
              <a:t>‹nr.›</a:t>
            </a:fld>
            <a:endParaRPr lang="nl-NL" dirty="0">
              <a:solidFill>
                <a:srgbClr val="197AA0"/>
              </a:solidFill>
            </a:endParaRPr>
          </a:p>
        </p:txBody>
      </p:sp>
    </p:spTree>
    <p:extLst>
      <p:ext uri="{BB962C8B-B14F-4D97-AF65-F5344CB8AC3E}">
        <p14:creationId xmlns:p14="http://schemas.microsoft.com/office/powerpoint/2010/main" val="287248510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text page">
    <p:spTree>
      <p:nvGrpSpPr>
        <p:cNvPr id="1" name=""/>
        <p:cNvGrpSpPr/>
        <p:nvPr/>
      </p:nvGrpSpPr>
      <p:grpSpPr>
        <a:xfrm>
          <a:off x="0" y="0"/>
          <a:ext cx="0" cy="0"/>
          <a:chOff x="0" y="0"/>
          <a:chExt cx="0" cy="0"/>
        </a:xfrm>
      </p:grpSpPr>
      <p:sp>
        <p:nvSpPr>
          <p:cNvPr id="2" name="Titel 1"/>
          <p:cNvSpPr>
            <a:spLocks noGrp="1"/>
          </p:cNvSpPr>
          <p:nvPr>
            <p:ph type="title"/>
          </p:nvPr>
        </p:nvSpPr>
        <p:spPr>
          <a:xfrm>
            <a:off x="457200" y="434376"/>
            <a:ext cx="7218004" cy="652794"/>
          </a:xfrm>
          <a:prstGeom prst="rect">
            <a:avLst/>
          </a:prstGeom>
        </p:spPr>
        <p:txBody>
          <a:bodyPr lIns="91417" tIns="45709" rIns="91417" bIns="45709"/>
          <a:lstStyle>
            <a:lvl1pPr algn="l">
              <a:defRPr sz="3200" b="0" i="0">
                <a:solidFill>
                  <a:srgbClr val="207C9E"/>
                </a:solidFill>
                <a:latin typeface="+mn-lt"/>
                <a:cs typeface="Arial"/>
              </a:defRPr>
            </a:lvl1pPr>
          </a:lstStyle>
          <a:p>
            <a:r>
              <a:rPr lang="en-GB" dirty="0" err="1" smtClean="0"/>
              <a:t>Titelstijl</a:t>
            </a:r>
            <a:r>
              <a:rPr lang="en-GB" dirty="0" smtClean="0"/>
              <a:t> van model </a:t>
            </a:r>
            <a:r>
              <a:rPr lang="en-GB" dirty="0" err="1" smtClean="0"/>
              <a:t>bewerken</a:t>
            </a:r>
            <a:endParaRPr lang="en-GB" dirty="0"/>
          </a:p>
        </p:txBody>
      </p:sp>
      <p:sp>
        <p:nvSpPr>
          <p:cNvPr id="3" name="Tijdelijke aanduiding voor inhoud 2"/>
          <p:cNvSpPr>
            <a:spLocks noGrp="1"/>
          </p:cNvSpPr>
          <p:nvPr>
            <p:ph idx="1"/>
          </p:nvPr>
        </p:nvSpPr>
        <p:spPr>
          <a:xfrm>
            <a:off x="457200" y="1200151"/>
            <a:ext cx="7218004" cy="2947538"/>
          </a:xfrm>
          <a:prstGeom prst="rect">
            <a:avLst/>
          </a:prstGeom>
        </p:spPr>
        <p:txBody>
          <a:bodyPr lIns="91417" tIns="45709" rIns="91417" bIns="45709"/>
          <a:lstStyle>
            <a:lvl1pPr marL="268220" indent="-250761">
              <a:lnSpc>
                <a:spcPct val="120000"/>
              </a:lnSpc>
              <a:buClr>
                <a:srgbClr val="EE3E27"/>
              </a:buClr>
              <a:buFont typeface="Wingdings" charset="2"/>
              <a:buChar char="§"/>
              <a:defRPr sz="2000">
                <a:solidFill>
                  <a:srgbClr val="207C9E"/>
                </a:solidFill>
                <a:latin typeface="+mn-lt"/>
                <a:cs typeface="Arial"/>
              </a:defRPr>
            </a:lvl1pPr>
            <a:lvl2pPr>
              <a:lnSpc>
                <a:spcPct val="120000"/>
              </a:lnSpc>
              <a:buClr>
                <a:srgbClr val="EE3E27"/>
              </a:buClr>
              <a:defRPr sz="1800">
                <a:solidFill>
                  <a:srgbClr val="207C9E"/>
                </a:solidFill>
                <a:latin typeface="+mn-lt"/>
                <a:cs typeface="Arial"/>
              </a:defRPr>
            </a:lvl2pPr>
            <a:lvl3pPr>
              <a:lnSpc>
                <a:spcPct val="120000"/>
              </a:lnSpc>
              <a:buClr>
                <a:srgbClr val="EE3E27"/>
              </a:buClr>
              <a:defRPr sz="1600">
                <a:solidFill>
                  <a:srgbClr val="207C9E"/>
                </a:solidFill>
                <a:latin typeface="+mn-lt"/>
                <a:cs typeface="Arial"/>
              </a:defRPr>
            </a:lvl3pPr>
            <a:lvl4pPr>
              <a:lnSpc>
                <a:spcPct val="120000"/>
              </a:lnSpc>
              <a:buClr>
                <a:srgbClr val="EE3E27"/>
              </a:buClr>
              <a:defRPr sz="1400">
                <a:solidFill>
                  <a:srgbClr val="207C9E"/>
                </a:solidFill>
                <a:latin typeface="+mn-lt"/>
                <a:cs typeface="Arial"/>
              </a:defRPr>
            </a:lvl4pPr>
            <a:lvl5pPr>
              <a:lnSpc>
                <a:spcPct val="120000"/>
              </a:lnSpc>
              <a:buClr>
                <a:srgbClr val="EE3E27"/>
              </a:buClr>
              <a:defRPr sz="1400">
                <a:solidFill>
                  <a:srgbClr val="207C9E"/>
                </a:solidFill>
                <a:latin typeface="+mn-lt"/>
                <a:cs typeface="Arial"/>
              </a:defRPr>
            </a:lvl5pPr>
          </a:lstStyle>
          <a:p>
            <a:pPr lvl="0"/>
            <a:r>
              <a:rPr lang="en-GB" dirty="0" err="1" smtClean="0"/>
              <a:t>Klik</a:t>
            </a:r>
            <a:r>
              <a:rPr lang="en-GB" dirty="0" smtClean="0"/>
              <a:t> om de </a:t>
            </a:r>
            <a:r>
              <a:rPr lang="en-GB" dirty="0" err="1" smtClean="0"/>
              <a:t>tekststijl</a:t>
            </a:r>
            <a:r>
              <a:rPr lang="en-GB" dirty="0" smtClean="0"/>
              <a:t> van het model te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6" name="Tijdelijke aanduiding voor voettekst 4"/>
          <p:cNvSpPr>
            <a:spLocks noGrp="1"/>
          </p:cNvSpPr>
          <p:nvPr>
            <p:ph type="ftr" sz="quarter" idx="11"/>
          </p:nvPr>
        </p:nvSpPr>
        <p:spPr>
          <a:xfrm>
            <a:off x="2865196" y="4718255"/>
            <a:ext cx="5924792" cy="365125"/>
          </a:xfrm>
          <a:prstGeom prst="rect">
            <a:avLst/>
          </a:prstGeom>
        </p:spPr>
        <p:txBody>
          <a:bodyPr anchor="b" anchorCtr="0"/>
          <a:lstStyle>
            <a:lvl1pPr algn="r">
              <a:defRPr/>
            </a:lvl1pPr>
          </a:lstStyle>
          <a:p>
            <a:r>
              <a:rPr lang="en-GB" dirty="0" smtClean="0"/>
              <a:t>Lorem</a:t>
            </a:r>
          </a:p>
        </p:txBody>
      </p:sp>
      <p:pic>
        <p:nvPicPr>
          <p:cNvPr id="8" name="Afbeelding 7"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149907239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image left, text page">
    <p:spTree>
      <p:nvGrpSpPr>
        <p:cNvPr id="1" name=""/>
        <p:cNvGrpSpPr/>
        <p:nvPr/>
      </p:nvGrpSpPr>
      <p:grpSpPr>
        <a:xfrm>
          <a:off x="0" y="0"/>
          <a:ext cx="0" cy="0"/>
          <a:chOff x="0" y="0"/>
          <a:chExt cx="0" cy="0"/>
        </a:xfrm>
      </p:grpSpPr>
      <p:sp>
        <p:nvSpPr>
          <p:cNvPr id="2" name="Titel 1"/>
          <p:cNvSpPr>
            <a:spLocks noGrp="1"/>
          </p:cNvSpPr>
          <p:nvPr>
            <p:ph type="title"/>
          </p:nvPr>
        </p:nvSpPr>
        <p:spPr>
          <a:xfrm>
            <a:off x="457200" y="434376"/>
            <a:ext cx="7218004" cy="652794"/>
          </a:xfrm>
          <a:prstGeom prst="rect">
            <a:avLst/>
          </a:prstGeom>
        </p:spPr>
        <p:txBody>
          <a:bodyPr lIns="91417" tIns="45709" rIns="91417" bIns="45709"/>
          <a:lstStyle>
            <a:lvl1pPr algn="l">
              <a:defRPr sz="3200" b="0" i="0">
                <a:solidFill>
                  <a:srgbClr val="207C9E"/>
                </a:solidFill>
                <a:latin typeface="+mn-lt"/>
                <a:cs typeface="Arial"/>
              </a:defRPr>
            </a:lvl1pPr>
          </a:lstStyle>
          <a:p>
            <a:r>
              <a:rPr lang="en-GB" dirty="0" err="1" smtClean="0"/>
              <a:t>Titelstijl</a:t>
            </a:r>
            <a:r>
              <a:rPr lang="en-GB" dirty="0" smtClean="0"/>
              <a:t> van model </a:t>
            </a:r>
            <a:r>
              <a:rPr lang="en-GB" dirty="0" err="1" smtClean="0"/>
              <a:t>bewerken</a:t>
            </a:r>
            <a:endParaRPr lang="en-GB" dirty="0"/>
          </a:p>
        </p:txBody>
      </p:sp>
      <p:sp>
        <p:nvSpPr>
          <p:cNvPr id="3" name="Tijdelijke aanduiding voor inhoud 2"/>
          <p:cNvSpPr>
            <a:spLocks noGrp="1"/>
          </p:cNvSpPr>
          <p:nvPr>
            <p:ph idx="1"/>
          </p:nvPr>
        </p:nvSpPr>
        <p:spPr>
          <a:xfrm>
            <a:off x="3380746" y="1208295"/>
            <a:ext cx="4294460" cy="3166798"/>
          </a:xfrm>
          <a:prstGeom prst="rect">
            <a:avLst/>
          </a:prstGeom>
        </p:spPr>
        <p:txBody>
          <a:bodyPr lIns="91417" tIns="45709" rIns="91417" bIns="45709"/>
          <a:lstStyle>
            <a:lvl1pPr marL="268220" indent="-250761">
              <a:lnSpc>
                <a:spcPct val="120000"/>
              </a:lnSpc>
              <a:buClr>
                <a:srgbClr val="EE3E27"/>
              </a:buClr>
              <a:buFont typeface="Wingdings" charset="2"/>
              <a:buChar char="§"/>
              <a:defRPr sz="2000">
                <a:solidFill>
                  <a:srgbClr val="207C9E"/>
                </a:solidFill>
                <a:latin typeface="+mn-lt"/>
                <a:cs typeface="Arial"/>
              </a:defRPr>
            </a:lvl1pPr>
            <a:lvl2pPr>
              <a:lnSpc>
                <a:spcPct val="120000"/>
              </a:lnSpc>
              <a:buClr>
                <a:srgbClr val="EE3E27"/>
              </a:buClr>
              <a:defRPr sz="1800">
                <a:solidFill>
                  <a:srgbClr val="207C9E"/>
                </a:solidFill>
                <a:latin typeface="+mn-lt"/>
                <a:cs typeface="Arial"/>
              </a:defRPr>
            </a:lvl2pPr>
            <a:lvl3pPr>
              <a:lnSpc>
                <a:spcPct val="120000"/>
              </a:lnSpc>
              <a:buClr>
                <a:srgbClr val="EE3E27"/>
              </a:buClr>
              <a:defRPr sz="1600">
                <a:solidFill>
                  <a:srgbClr val="207C9E"/>
                </a:solidFill>
                <a:latin typeface="+mn-lt"/>
                <a:cs typeface="Arial"/>
              </a:defRPr>
            </a:lvl3pPr>
            <a:lvl4pPr>
              <a:lnSpc>
                <a:spcPct val="120000"/>
              </a:lnSpc>
              <a:buClr>
                <a:srgbClr val="EE3E27"/>
              </a:buClr>
              <a:defRPr sz="1400">
                <a:solidFill>
                  <a:srgbClr val="207C9E"/>
                </a:solidFill>
                <a:latin typeface="+mn-lt"/>
                <a:cs typeface="Arial"/>
              </a:defRPr>
            </a:lvl4pPr>
            <a:lvl5pPr>
              <a:lnSpc>
                <a:spcPct val="120000"/>
              </a:lnSpc>
              <a:buClr>
                <a:srgbClr val="EE3E27"/>
              </a:buClr>
              <a:defRPr sz="1400">
                <a:solidFill>
                  <a:srgbClr val="207C9E"/>
                </a:solidFill>
                <a:latin typeface="+mn-lt"/>
                <a:cs typeface="Arial"/>
              </a:defRPr>
            </a:lvl5pPr>
          </a:lstStyle>
          <a:p>
            <a:pPr lvl="0"/>
            <a:r>
              <a:rPr lang="en-GB" dirty="0" err="1" smtClean="0"/>
              <a:t>Klik</a:t>
            </a:r>
            <a:r>
              <a:rPr lang="en-GB" dirty="0" smtClean="0"/>
              <a:t> om de </a:t>
            </a:r>
            <a:r>
              <a:rPr lang="en-GB" dirty="0" err="1" smtClean="0"/>
              <a:t>tekststijl</a:t>
            </a:r>
            <a:r>
              <a:rPr lang="en-GB" dirty="0" smtClean="0"/>
              <a:t> van het model te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8" name="Tijdelijke aanduiding voor afbeelding 2"/>
          <p:cNvSpPr>
            <a:spLocks noGrp="1"/>
          </p:cNvSpPr>
          <p:nvPr>
            <p:ph type="pic" idx="12"/>
          </p:nvPr>
        </p:nvSpPr>
        <p:spPr>
          <a:xfrm>
            <a:off x="2" y="1322391"/>
            <a:ext cx="3380744" cy="3044561"/>
          </a:xfrm>
          <a:prstGeom prst="rect">
            <a:avLst/>
          </a:prstGeom>
        </p:spPr>
        <p:txBody>
          <a:bodyPr lIns="91417" tIns="45709" rIns="91417" bIns="45709"/>
          <a:lstStyle>
            <a:lvl1pPr marL="0" indent="0">
              <a:buNone/>
              <a:defRPr sz="3200">
                <a:latin typeface="+mn-lt"/>
              </a:defRPr>
            </a:lvl1pPr>
            <a:lvl2pPr marL="457078" indent="0">
              <a:buNone/>
              <a:defRPr sz="2800"/>
            </a:lvl2pPr>
            <a:lvl3pPr marL="914161" indent="0">
              <a:buNone/>
              <a:defRPr sz="2400"/>
            </a:lvl3pPr>
            <a:lvl4pPr marL="1371240" indent="0">
              <a:buNone/>
              <a:defRPr sz="2000"/>
            </a:lvl4pPr>
            <a:lvl5pPr marL="1828321" indent="0">
              <a:buNone/>
              <a:defRPr sz="2000"/>
            </a:lvl5pPr>
            <a:lvl6pPr marL="2285398" indent="0">
              <a:buNone/>
              <a:defRPr sz="2000"/>
            </a:lvl6pPr>
            <a:lvl7pPr marL="2742476" indent="0">
              <a:buNone/>
              <a:defRPr sz="2000"/>
            </a:lvl7pPr>
            <a:lvl8pPr marL="3199556" indent="0">
              <a:buNone/>
              <a:defRPr sz="2000"/>
            </a:lvl8pPr>
            <a:lvl9pPr marL="3656636" indent="0">
              <a:buNone/>
              <a:defRPr sz="2000"/>
            </a:lvl9pPr>
          </a:lstStyle>
          <a:p>
            <a:endParaRPr lang="nl-NL" dirty="0"/>
          </a:p>
        </p:txBody>
      </p:sp>
      <p:sp>
        <p:nvSpPr>
          <p:cNvPr id="9" name="Tijdelijke aanduiding voor voettekst 4"/>
          <p:cNvSpPr>
            <a:spLocks noGrp="1"/>
          </p:cNvSpPr>
          <p:nvPr>
            <p:ph type="ftr" sz="quarter" idx="11"/>
          </p:nvPr>
        </p:nvSpPr>
        <p:spPr>
          <a:xfrm>
            <a:off x="2865196" y="4739059"/>
            <a:ext cx="5924792" cy="365125"/>
          </a:xfrm>
          <a:prstGeom prst="rect">
            <a:avLst/>
          </a:prstGeom>
        </p:spPr>
        <p:txBody>
          <a:bodyPr anchor="b" anchorCtr="0"/>
          <a:lstStyle>
            <a:lvl1pPr algn="r">
              <a:defRPr/>
            </a:lvl1pPr>
          </a:lstStyle>
          <a:p>
            <a:r>
              <a:rPr lang="en-GB" dirty="0" smtClean="0"/>
              <a:t>Lorem</a:t>
            </a:r>
          </a:p>
        </p:txBody>
      </p:sp>
      <p:pic>
        <p:nvPicPr>
          <p:cNvPr id="10" name="Afbeelding 9"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419077182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image right, text page">
    <p:spTree>
      <p:nvGrpSpPr>
        <p:cNvPr id="1" name=""/>
        <p:cNvGrpSpPr/>
        <p:nvPr/>
      </p:nvGrpSpPr>
      <p:grpSpPr>
        <a:xfrm>
          <a:off x="0" y="0"/>
          <a:ext cx="0" cy="0"/>
          <a:chOff x="0" y="0"/>
          <a:chExt cx="0" cy="0"/>
        </a:xfrm>
      </p:grpSpPr>
      <p:sp>
        <p:nvSpPr>
          <p:cNvPr id="2" name="Titel 1"/>
          <p:cNvSpPr>
            <a:spLocks noGrp="1"/>
          </p:cNvSpPr>
          <p:nvPr>
            <p:ph type="title"/>
          </p:nvPr>
        </p:nvSpPr>
        <p:spPr>
          <a:xfrm>
            <a:off x="457200" y="434376"/>
            <a:ext cx="7218004" cy="652794"/>
          </a:xfrm>
          <a:prstGeom prst="rect">
            <a:avLst/>
          </a:prstGeom>
        </p:spPr>
        <p:txBody>
          <a:bodyPr lIns="91417" tIns="45709" rIns="91417" bIns="45709"/>
          <a:lstStyle>
            <a:lvl1pPr algn="l">
              <a:defRPr sz="3200" b="0" i="0">
                <a:solidFill>
                  <a:srgbClr val="207C9E"/>
                </a:solidFill>
                <a:latin typeface="+mn-lt"/>
                <a:cs typeface="Arial"/>
              </a:defRPr>
            </a:lvl1pPr>
          </a:lstStyle>
          <a:p>
            <a:r>
              <a:rPr lang="en-GB" dirty="0" err="1" smtClean="0"/>
              <a:t>Titelstijl</a:t>
            </a:r>
            <a:r>
              <a:rPr lang="en-GB" dirty="0" smtClean="0"/>
              <a:t> van model </a:t>
            </a:r>
            <a:r>
              <a:rPr lang="en-GB" dirty="0" err="1" smtClean="0"/>
              <a:t>bewerken</a:t>
            </a:r>
            <a:endParaRPr lang="en-GB" dirty="0"/>
          </a:p>
        </p:txBody>
      </p:sp>
      <p:sp>
        <p:nvSpPr>
          <p:cNvPr id="3" name="Tijdelijke aanduiding voor inhoud 2"/>
          <p:cNvSpPr>
            <a:spLocks noGrp="1"/>
          </p:cNvSpPr>
          <p:nvPr>
            <p:ph idx="1"/>
          </p:nvPr>
        </p:nvSpPr>
        <p:spPr>
          <a:xfrm>
            <a:off x="457201" y="1208292"/>
            <a:ext cx="4294460" cy="3166798"/>
          </a:xfrm>
          <a:prstGeom prst="rect">
            <a:avLst/>
          </a:prstGeom>
        </p:spPr>
        <p:txBody>
          <a:bodyPr lIns="91417" tIns="45709" rIns="91417" bIns="45709"/>
          <a:lstStyle>
            <a:lvl1pPr marL="268220" indent="-250761">
              <a:lnSpc>
                <a:spcPct val="120000"/>
              </a:lnSpc>
              <a:buClr>
                <a:srgbClr val="EE3E27"/>
              </a:buClr>
              <a:buFont typeface="Wingdings" charset="2"/>
              <a:buChar char="§"/>
              <a:defRPr sz="2000">
                <a:solidFill>
                  <a:srgbClr val="207C9E"/>
                </a:solidFill>
                <a:latin typeface="+mn-lt"/>
                <a:cs typeface="Arial"/>
              </a:defRPr>
            </a:lvl1pPr>
            <a:lvl2pPr>
              <a:lnSpc>
                <a:spcPct val="120000"/>
              </a:lnSpc>
              <a:buClr>
                <a:srgbClr val="EE3E27"/>
              </a:buClr>
              <a:defRPr sz="1800">
                <a:solidFill>
                  <a:srgbClr val="207C9E"/>
                </a:solidFill>
                <a:latin typeface="+mn-lt"/>
                <a:cs typeface="Arial"/>
              </a:defRPr>
            </a:lvl2pPr>
            <a:lvl3pPr>
              <a:lnSpc>
                <a:spcPct val="120000"/>
              </a:lnSpc>
              <a:buClr>
                <a:srgbClr val="EE3E27"/>
              </a:buClr>
              <a:defRPr sz="1600">
                <a:solidFill>
                  <a:srgbClr val="207C9E"/>
                </a:solidFill>
                <a:latin typeface="+mn-lt"/>
                <a:cs typeface="Arial"/>
              </a:defRPr>
            </a:lvl3pPr>
            <a:lvl4pPr>
              <a:lnSpc>
                <a:spcPct val="120000"/>
              </a:lnSpc>
              <a:buClr>
                <a:srgbClr val="EE3E27"/>
              </a:buClr>
              <a:defRPr sz="1400">
                <a:solidFill>
                  <a:srgbClr val="207C9E"/>
                </a:solidFill>
                <a:latin typeface="+mn-lt"/>
                <a:cs typeface="Arial"/>
              </a:defRPr>
            </a:lvl4pPr>
            <a:lvl5pPr>
              <a:lnSpc>
                <a:spcPct val="120000"/>
              </a:lnSpc>
              <a:buClr>
                <a:srgbClr val="EE3E27"/>
              </a:buClr>
              <a:defRPr sz="1400">
                <a:solidFill>
                  <a:srgbClr val="207C9E"/>
                </a:solidFill>
                <a:latin typeface="+mn-lt"/>
                <a:cs typeface="Arial"/>
              </a:defRPr>
            </a:lvl5pPr>
          </a:lstStyle>
          <a:p>
            <a:pPr lvl="0"/>
            <a:r>
              <a:rPr lang="en-GB" dirty="0" err="1" smtClean="0"/>
              <a:t>Klik</a:t>
            </a:r>
            <a:r>
              <a:rPr lang="en-GB" dirty="0" smtClean="0"/>
              <a:t> om de </a:t>
            </a:r>
            <a:r>
              <a:rPr lang="en-GB" dirty="0" err="1" smtClean="0"/>
              <a:t>tekststijl</a:t>
            </a:r>
            <a:r>
              <a:rPr lang="en-GB" dirty="0" smtClean="0"/>
              <a:t> van het model te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9" name="Tijdelijke aanduiding voor voettekst 4"/>
          <p:cNvSpPr>
            <a:spLocks noGrp="1"/>
          </p:cNvSpPr>
          <p:nvPr>
            <p:ph type="ftr" sz="quarter" idx="11"/>
          </p:nvPr>
        </p:nvSpPr>
        <p:spPr>
          <a:xfrm>
            <a:off x="2865196" y="4718255"/>
            <a:ext cx="5924792" cy="365125"/>
          </a:xfrm>
          <a:prstGeom prst="rect">
            <a:avLst/>
          </a:prstGeom>
        </p:spPr>
        <p:txBody>
          <a:bodyPr anchor="b" anchorCtr="0"/>
          <a:lstStyle>
            <a:lvl1pPr algn="r">
              <a:defRPr/>
            </a:lvl1pPr>
          </a:lstStyle>
          <a:p>
            <a:r>
              <a:rPr lang="en-GB" dirty="0" smtClean="0"/>
              <a:t>Lorem</a:t>
            </a:r>
          </a:p>
        </p:txBody>
      </p:sp>
      <p:pic>
        <p:nvPicPr>
          <p:cNvPr id="6" name="Afbeelding 5"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b="73476"/>
          <a:stretch/>
        </p:blipFill>
        <p:spPr>
          <a:xfrm>
            <a:off x="7986255" y="57002"/>
            <a:ext cx="1157746" cy="1143155"/>
          </a:xfrm>
          <a:prstGeom prst="rect">
            <a:avLst/>
          </a:prstGeom>
        </p:spPr>
      </p:pic>
      <p:sp>
        <p:nvSpPr>
          <p:cNvPr id="8" name="Tijdelijke aanduiding voor afbeelding 2"/>
          <p:cNvSpPr>
            <a:spLocks noGrp="1"/>
          </p:cNvSpPr>
          <p:nvPr>
            <p:ph type="pic" idx="12"/>
          </p:nvPr>
        </p:nvSpPr>
        <p:spPr>
          <a:xfrm>
            <a:off x="4751660" y="1322391"/>
            <a:ext cx="4392340" cy="3044561"/>
          </a:xfrm>
          <a:prstGeom prst="rect">
            <a:avLst/>
          </a:prstGeom>
        </p:spPr>
        <p:txBody>
          <a:bodyPr lIns="91417" tIns="45709" rIns="91417" bIns="45709"/>
          <a:lstStyle>
            <a:lvl1pPr marL="0" indent="0">
              <a:buNone/>
              <a:defRPr sz="3200">
                <a:latin typeface="+mn-lt"/>
              </a:defRPr>
            </a:lvl1pPr>
            <a:lvl2pPr marL="457078" indent="0">
              <a:buNone/>
              <a:defRPr sz="2800"/>
            </a:lvl2pPr>
            <a:lvl3pPr marL="914161" indent="0">
              <a:buNone/>
              <a:defRPr sz="2400"/>
            </a:lvl3pPr>
            <a:lvl4pPr marL="1371240" indent="0">
              <a:buNone/>
              <a:defRPr sz="2000"/>
            </a:lvl4pPr>
            <a:lvl5pPr marL="1828321" indent="0">
              <a:buNone/>
              <a:defRPr sz="2000"/>
            </a:lvl5pPr>
            <a:lvl6pPr marL="2285398" indent="0">
              <a:buNone/>
              <a:defRPr sz="2000"/>
            </a:lvl6pPr>
            <a:lvl7pPr marL="2742476" indent="0">
              <a:buNone/>
              <a:defRPr sz="2000"/>
            </a:lvl7pPr>
            <a:lvl8pPr marL="3199556" indent="0">
              <a:buNone/>
              <a:defRPr sz="2000"/>
            </a:lvl8pPr>
            <a:lvl9pPr marL="3656636" indent="0">
              <a:buNone/>
              <a:defRPr sz="2000"/>
            </a:lvl9pPr>
          </a:lstStyle>
          <a:p>
            <a:endParaRPr lang="nl-NL" dirty="0"/>
          </a:p>
        </p:txBody>
      </p:sp>
    </p:spTree>
    <p:extLst>
      <p:ext uri="{BB962C8B-B14F-4D97-AF65-F5344CB8AC3E}">
        <p14:creationId xmlns:p14="http://schemas.microsoft.com/office/powerpoint/2010/main" val="248158656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page">
    <p:spTree>
      <p:nvGrpSpPr>
        <p:cNvPr id="1" name=""/>
        <p:cNvGrpSpPr/>
        <p:nvPr/>
      </p:nvGrpSpPr>
      <p:grpSpPr>
        <a:xfrm>
          <a:off x="0" y="0"/>
          <a:ext cx="0" cy="0"/>
          <a:chOff x="0" y="0"/>
          <a:chExt cx="0" cy="0"/>
        </a:xfrm>
      </p:grpSpPr>
      <p:sp>
        <p:nvSpPr>
          <p:cNvPr id="5" name="Tijdelijke aanduiding voor afbeelding 2"/>
          <p:cNvSpPr>
            <a:spLocks noGrp="1"/>
          </p:cNvSpPr>
          <p:nvPr>
            <p:ph type="pic" idx="1"/>
          </p:nvPr>
        </p:nvSpPr>
        <p:spPr>
          <a:xfrm>
            <a:off x="0" y="2793"/>
            <a:ext cx="9144000" cy="4373299"/>
          </a:xfrm>
          <a:prstGeom prst="rect">
            <a:avLst/>
          </a:prstGeom>
        </p:spPr>
        <p:txBody>
          <a:bodyPr lIns="91417" tIns="45709" rIns="91417" bIns="45709"/>
          <a:lstStyle>
            <a:lvl1pPr marL="0" indent="0">
              <a:buNone/>
              <a:defRPr sz="3200"/>
            </a:lvl1pPr>
            <a:lvl2pPr marL="457078" indent="0">
              <a:buNone/>
              <a:defRPr sz="2800"/>
            </a:lvl2pPr>
            <a:lvl3pPr marL="914161" indent="0">
              <a:buNone/>
              <a:defRPr sz="2400"/>
            </a:lvl3pPr>
            <a:lvl4pPr marL="1371240" indent="0">
              <a:buNone/>
              <a:defRPr sz="2000"/>
            </a:lvl4pPr>
            <a:lvl5pPr marL="1828321" indent="0">
              <a:buNone/>
              <a:defRPr sz="2000"/>
            </a:lvl5pPr>
            <a:lvl6pPr marL="2285398" indent="0">
              <a:buNone/>
              <a:defRPr sz="2000"/>
            </a:lvl6pPr>
            <a:lvl7pPr marL="2742476" indent="0">
              <a:buNone/>
              <a:defRPr sz="2000"/>
            </a:lvl7pPr>
            <a:lvl8pPr marL="3199556" indent="0">
              <a:buNone/>
              <a:defRPr sz="2000"/>
            </a:lvl8pPr>
            <a:lvl9pPr marL="3656636" indent="0">
              <a:buNone/>
              <a:defRPr sz="2000"/>
            </a:lvl9pPr>
          </a:lstStyle>
          <a:p>
            <a:endParaRPr lang="nl-NL" dirty="0"/>
          </a:p>
        </p:txBody>
      </p:sp>
      <p:sp>
        <p:nvSpPr>
          <p:cNvPr id="4" name="Tijdelijke aanduiding voor voettekst 4"/>
          <p:cNvSpPr>
            <a:spLocks noGrp="1"/>
          </p:cNvSpPr>
          <p:nvPr>
            <p:ph type="ftr" sz="quarter" idx="11"/>
          </p:nvPr>
        </p:nvSpPr>
        <p:spPr>
          <a:xfrm>
            <a:off x="2865196" y="4714634"/>
            <a:ext cx="5924792" cy="365125"/>
          </a:xfrm>
          <a:prstGeom prst="rect">
            <a:avLst/>
          </a:prstGeom>
        </p:spPr>
        <p:txBody>
          <a:bodyPr anchor="b" anchorCtr="0"/>
          <a:lstStyle>
            <a:lvl1pPr algn="r">
              <a:defRPr/>
            </a:lvl1pPr>
          </a:lstStyle>
          <a:p>
            <a:r>
              <a:rPr lang="en-GB" dirty="0" smtClean="0"/>
              <a:t>Lorem</a:t>
            </a:r>
          </a:p>
        </p:txBody>
      </p:sp>
    </p:spTree>
    <p:extLst>
      <p:ext uri="{BB962C8B-B14F-4D97-AF65-F5344CB8AC3E}">
        <p14:creationId xmlns:p14="http://schemas.microsoft.com/office/powerpoint/2010/main" val="78819667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age">
    <p:spTree>
      <p:nvGrpSpPr>
        <p:cNvPr id="1" name=""/>
        <p:cNvGrpSpPr/>
        <p:nvPr/>
      </p:nvGrpSpPr>
      <p:grpSpPr>
        <a:xfrm>
          <a:off x="0" y="0"/>
          <a:ext cx="0" cy="0"/>
          <a:chOff x="0" y="0"/>
          <a:chExt cx="0" cy="0"/>
        </a:xfrm>
      </p:grpSpPr>
      <p:sp>
        <p:nvSpPr>
          <p:cNvPr id="6" name="Rechthoek 5"/>
          <p:cNvSpPr>
            <a:spLocks/>
          </p:cNvSpPr>
          <p:nvPr userDrawn="1"/>
        </p:nvSpPr>
        <p:spPr>
          <a:xfrm>
            <a:off x="0" y="0"/>
            <a:ext cx="9144000" cy="4559436"/>
          </a:xfrm>
          <a:prstGeom prst="rect">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2" name="Titel 1"/>
          <p:cNvSpPr>
            <a:spLocks noGrp="1"/>
          </p:cNvSpPr>
          <p:nvPr>
            <p:ph type="title"/>
          </p:nvPr>
        </p:nvSpPr>
        <p:spPr>
          <a:xfrm>
            <a:off x="466852" y="1934926"/>
            <a:ext cx="8229600" cy="857250"/>
          </a:xfrm>
          <a:prstGeom prst="rect">
            <a:avLst/>
          </a:prstGeom>
        </p:spPr>
        <p:txBody>
          <a:bodyPr lIns="91417" tIns="45709" rIns="91417" bIns="45709"/>
          <a:lstStyle>
            <a:lvl1pPr algn="l">
              <a:defRPr b="0" i="0">
                <a:solidFill>
                  <a:schemeClr val="bg1"/>
                </a:solidFill>
                <a:latin typeface="+mn-lt"/>
                <a:cs typeface="Arial"/>
              </a:defRPr>
            </a:lvl1pPr>
          </a:lstStyle>
          <a:p>
            <a:r>
              <a:rPr lang="en-GB" dirty="0" err="1" smtClean="0"/>
              <a:t>Titelstijl</a:t>
            </a:r>
            <a:r>
              <a:rPr lang="en-GB" dirty="0" smtClean="0"/>
              <a:t> van model </a:t>
            </a:r>
            <a:r>
              <a:rPr lang="en-GB" dirty="0" err="1" smtClean="0"/>
              <a:t>bewerken</a:t>
            </a:r>
            <a:endParaRPr lang="en-GB" dirty="0"/>
          </a:p>
        </p:txBody>
      </p:sp>
      <p:sp>
        <p:nvSpPr>
          <p:cNvPr id="5" name="Tijdelijke aanduiding voor voettekst 4"/>
          <p:cNvSpPr>
            <a:spLocks noGrp="1"/>
          </p:cNvSpPr>
          <p:nvPr>
            <p:ph type="ftr" sz="quarter" idx="11"/>
          </p:nvPr>
        </p:nvSpPr>
        <p:spPr>
          <a:xfrm>
            <a:off x="2865196" y="4714334"/>
            <a:ext cx="5924792" cy="365125"/>
          </a:xfrm>
          <a:prstGeom prst="rect">
            <a:avLst/>
          </a:prstGeom>
        </p:spPr>
        <p:txBody>
          <a:bodyPr anchor="b" anchorCtr="0"/>
          <a:lstStyle>
            <a:lvl1pPr algn="r">
              <a:defRPr/>
            </a:lvl1pPr>
          </a:lstStyle>
          <a:p>
            <a:r>
              <a:rPr lang="en-GB" dirty="0" smtClean="0"/>
              <a:t>Lorem</a:t>
            </a:r>
          </a:p>
        </p:txBody>
      </p:sp>
      <p:sp>
        <p:nvSpPr>
          <p:cNvPr id="10" name="Tijdelijke aanduiding voor inhoud 2"/>
          <p:cNvSpPr>
            <a:spLocks noGrp="1"/>
          </p:cNvSpPr>
          <p:nvPr>
            <p:ph idx="1" hasCustomPrompt="1"/>
          </p:nvPr>
        </p:nvSpPr>
        <p:spPr>
          <a:xfrm>
            <a:off x="466852" y="3085288"/>
            <a:ext cx="4294460" cy="415622"/>
          </a:xfrm>
          <a:prstGeom prst="rect">
            <a:avLst/>
          </a:prstGeom>
        </p:spPr>
        <p:txBody>
          <a:bodyPr lIns="91417" tIns="45709" rIns="91417" bIns="45709"/>
          <a:lstStyle>
            <a:lvl1pPr marL="17460" indent="0">
              <a:lnSpc>
                <a:spcPct val="120000"/>
              </a:lnSpc>
              <a:buClr>
                <a:srgbClr val="EE3E27"/>
              </a:buClr>
              <a:buFont typeface="Wingdings" charset="2"/>
              <a:buNone/>
              <a:defRPr sz="2000">
                <a:solidFill>
                  <a:srgbClr val="FFFFFF"/>
                </a:solidFill>
                <a:latin typeface="+mn-lt"/>
                <a:cs typeface="Arial"/>
              </a:defRPr>
            </a:lvl1pPr>
            <a:lvl2pPr>
              <a:lnSpc>
                <a:spcPct val="120000"/>
              </a:lnSpc>
              <a:buClr>
                <a:srgbClr val="EE3E27"/>
              </a:buClr>
              <a:defRPr sz="1800">
                <a:solidFill>
                  <a:srgbClr val="FFFFFF"/>
                </a:solidFill>
                <a:latin typeface="Helvetica"/>
                <a:cs typeface="Helvetica"/>
              </a:defRPr>
            </a:lvl2pPr>
            <a:lvl3pPr>
              <a:lnSpc>
                <a:spcPct val="120000"/>
              </a:lnSpc>
              <a:buClr>
                <a:srgbClr val="EE3E27"/>
              </a:buClr>
              <a:defRPr sz="1600">
                <a:solidFill>
                  <a:srgbClr val="FFFFFF"/>
                </a:solidFill>
                <a:latin typeface="Helvetica"/>
                <a:cs typeface="Helvetica"/>
              </a:defRPr>
            </a:lvl3pPr>
            <a:lvl4pPr>
              <a:lnSpc>
                <a:spcPct val="120000"/>
              </a:lnSpc>
              <a:buClr>
                <a:srgbClr val="EE3E27"/>
              </a:buClr>
              <a:defRPr sz="1400">
                <a:solidFill>
                  <a:srgbClr val="FFFFFF"/>
                </a:solidFill>
                <a:latin typeface="Helvetica"/>
                <a:cs typeface="Helvetica"/>
              </a:defRPr>
            </a:lvl4pPr>
            <a:lvl5pPr>
              <a:lnSpc>
                <a:spcPct val="120000"/>
              </a:lnSpc>
              <a:buClr>
                <a:srgbClr val="EE3E27"/>
              </a:buClr>
              <a:defRPr sz="1400">
                <a:solidFill>
                  <a:srgbClr val="FFFFFF"/>
                </a:solidFill>
                <a:latin typeface="Helvetica"/>
                <a:cs typeface="Helvetica"/>
              </a:defRPr>
            </a:lvl5pPr>
          </a:lstStyle>
          <a:p>
            <a:pPr lvl="0"/>
            <a:r>
              <a:rPr lang="en-GB" dirty="0" smtClean="0"/>
              <a:t>E-mail </a:t>
            </a:r>
            <a:r>
              <a:rPr lang="en-GB" dirty="0" err="1" smtClean="0"/>
              <a:t>adres</a:t>
            </a:r>
            <a:endParaRPr lang="en-GB" dirty="0"/>
          </a:p>
        </p:txBody>
      </p:sp>
      <p:sp>
        <p:nvSpPr>
          <p:cNvPr id="11" name="Tijdelijke aanduiding voor inhoud 2"/>
          <p:cNvSpPr>
            <a:spLocks noGrp="1"/>
          </p:cNvSpPr>
          <p:nvPr>
            <p:ph idx="12" hasCustomPrompt="1"/>
          </p:nvPr>
        </p:nvSpPr>
        <p:spPr>
          <a:xfrm>
            <a:off x="466852" y="3500917"/>
            <a:ext cx="4294460" cy="431509"/>
          </a:xfrm>
          <a:prstGeom prst="rect">
            <a:avLst/>
          </a:prstGeom>
        </p:spPr>
        <p:txBody>
          <a:bodyPr lIns="91417" tIns="45709" rIns="91417" bIns="45709" anchor="t" anchorCtr="0"/>
          <a:lstStyle>
            <a:lvl1pPr marL="17460" indent="0">
              <a:lnSpc>
                <a:spcPct val="120000"/>
              </a:lnSpc>
              <a:buClr>
                <a:srgbClr val="EE3E27"/>
              </a:buClr>
              <a:buFont typeface="Wingdings" charset="2"/>
              <a:buNone/>
              <a:defRPr sz="2000">
                <a:solidFill>
                  <a:schemeClr val="bg1"/>
                </a:solidFill>
                <a:latin typeface="+mn-lt"/>
                <a:cs typeface="Arial"/>
              </a:defRPr>
            </a:lvl1pPr>
            <a:lvl2pPr>
              <a:lnSpc>
                <a:spcPct val="120000"/>
              </a:lnSpc>
              <a:buClr>
                <a:srgbClr val="EE3E27"/>
              </a:buClr>
              <a:defRPr sz="1800">
                <a:solidFill>
                  <a:srgbClr val="FFFFFF"/>
                </a:solidFill>
                <a:latin typeface="Helvetica"/>
                <a:cs typeface="Helvetica"/>
              </a:defRPr>
            </a:lvl2pPr>
            <a:lvl3pPr>
              <a:lnSpc>
                <a:spcPct val="120000"/>
              </a:lnSpc>
              <a:buClr>
                <a:srgbClr val="EE3E27"/>
              </a:buClr>
              <a:defRPr sz="1600">
                <a:solidFill>
                  <a:srgbClr val="FFFFFF"/>
                </a:solidFill>
                <a:latin typeface="Helvetica"/>
                <a:cs typeface="Helvetica"/>
              </a:defRPr>
            </a:lvl3pPr>
            <a:lvl4pPr>
              <a:lnSpc>
                <a:spcPct val="120000"/>
              </a:lnSpc>
              <a:buClr>
                <a:srgbClr val="EE3E27"/>
              </a:buClr>
              <a:defRPr sz="1400">
                <a:solidFill>
                  <a:srgbClr val="FFFFFF"/>
                </a:solidFill>
                <a:latin typeface="Helvetica"/>
                <a:cs typeface="Helvetica"/>
              </a:defRPr>
            </a:lvl4pPr>
            <a:lvl5pPr>
              <a:lnSpc>
                <a:spcPct val="120000"/>
              </a:lnSpc>
              <a:buClr>
                <a:srgbClr val="EE3E27"/>
              </a:buClr>
              <a:defRPr sz="1400">
                <a:solidFill>
                  <a:srgbClr val="FFFFFF"/>
                </a:solidFill>
                <a:latin typeface="Helvetica"/>
                <a:cs typeface="Helvetica"/>
              </a:defRPr>
            </a:lvl5pPr>
          </a:lstStyle>
          <a:p>
            <a:pPr lvl="0"/>
            <a:r>
              <a:rPr lang="en-GB" dirty="0" smtClean="0"/>
              <a:t>website</a:t>
            </a:r>
            <a:endParaRPr lang="en-GB" dirty="0"/>
          </a:p>
        </p:txBody>
      </p:sp>
      <p:pic>
        <p:nvPicPr>
          <p:cNvPr id="8" name="Afbeelding 7" descr="USEF outline blauw_20%.png"/>
          <p:cNvPicPr>
            <a:picLocks noChangeAspect="1"/>
          </p:cNvPicPr>
          <p:nvPr userDrawn="1"/>
        </p:nvPicPr>
        <p:blipFill rotWithShape="1">
          <a:blip r:embed="rId2">
            <a:extLst>
              <a:ext uri="{28A0092B-C50C-407E-A947-70E740481C1C}">
                <a14:useLocalDpi xmlns:a14="http://schemas.microsoft.com/office/drawing/2010/main" val="0"/>
              </a:ext>
            </a:extLst>
          </a:blip>
          <a:srcRect r="39303"/>
          <a:stretch/>
        </p:blipFill>
        <p:spPr>
          <a:xfrm>
            <a:off x="7986255" y="56996"/>
            <a:ext cx="1157746" cy="4355793"/>
          </a:xfrm>
          <a:prstGeom prst="rect">
            <a:avLst/>
          </a:prstGeom>
        </p:spPr>
      </p:pic>
    </p:spTree>
    <p:extLst>
      <p:ext uri="{BB962C8B-B14F-4D97-AF65-F5344CB8AC3E}">
        <p14:creationId xmlns:p14="http://schemas.microsoft.com/office/powerpoint/2010/main" val="34877041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5.emf"/><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3.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Tijdelijke aanduiding voor dianummer 4"/>
          <p:cNvSpPr>
            <a:spLocks noGrp="1"/>
          </p:cNvSpPr>
          <p:nvPr/>
        </p:nvSpPr>
        <p:spPr>
          <a:xfrm>
            <a:off x="7857948" y="4718255"/>
            <a:ext cx="1185862" cy="365125"/>
          </a:xfrm>
          <a:prstGeom prst="rect">
            <a:avLst/>
          </a:prstGeom>
        </p:spPr>
        <p:txBody>
          <a:bodyPr vert="horz" wrap="square" lIns="91417" tIns="45709" rIns="91417" bIns="45709" numCol="1" anchor="b" anchorCtr="0" compatLnSpc="1">
            <a:prstTxWarp prst="textNoShape">
              <a:avLst/>
            </a:prstTxWarp>
          </a:bodyPr>
          <a:lstStyle>
            <a:defPPr>
              <a:defRPr lang="en-GB"/>
            </a:defPPr>
            <a:lvl1pPr algn="r" defTabSz="449263" rtl="0" fontAlgn="base" hangingPunct="0">
              <a:lnSpc>
                <a:spcPct val="93000"/>
              </a:lnSpc>
              <a:spcBef>
                <a:spcPct val="0"/>
              </a:spcBef>
              <a:spcAft>
                <a:spcPct val="0"/>
              </a:spcAft>
              <a:buClr>
                <a:srgbClr val="000000"/>
              </a:buClr>
              <a:buSzPct val="100000"/>
              <a:buFont typeface="Times New Roman" charset="0"/>
              <a:defRPr sz="700" kern="1200">
                <a:solidFill>
                  <a:srgbClr val="E63C2E"/>
                </a:solidFill>
                <a:latin typeface="Helvetica" charset="0"/>
                <a:ea typeface="Microsoft YaHei" charset="0"/>
                <a:cs typeface="Microsoft YaHei" charset="0"/>
              </a:defRPr>
            </a:lvl1pPr>
            <a:lvl2pPr marL="742950" indent="-285750" algn="l" defTabSz="449263" rtl="0" fontAlgn="base" hangingPunct="0">
              <a:lnSpc>
                <a:spcPct val="93000"/>
              </a:lnSpc>
              <a:spcBef>
                <a:spcPct val="0"/>
              </a:spcBef>
              <a:spcAft>
                <a:spcPct val="0"/>
              </a:spcAft>
              <a:buClr>
                <a:srgbClr val="000000"/>
              </a:buClr>
              <a:buSzPct val="100000"/>
              <a:buFont typeface="Times New Roman" charset="0"/>
              <a:defRPr kern="1200">
                <a:solidFill>
                  <a:schemeClr val="bg1"/>
                </a:solidFill>
                <a:latin typeface="Arial" charset="0"/>
                <a:ea typeface="Microsoft YaHei" charset="0"/>
                <a:cs typeface="Microsoft YaHei" charset="0"/>
              </a:defRPr>
            </a:lvl2pPr>
            <a:lvl3pPr marL="11430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bg1"/>
                </a:solidFill>
                <a:latin typeface="Arial" charset="0"/>
                <a:ea typeface="Microsoft YaHei" charset="0"/>
                <a:cs typeface="Microsoft YaHei" charset="0"/>
              </a:defRPr>
            </a:lvl3pPr>
            <a:lvl4pPr marL="16002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bg1"/>
                </a:solidFill>
                <a:latin typeface="Arial" charset="0"/>
                <a:ea typeface="Microsoft YaHei" charset="0"/>
                <a:cs typeface="Microsoft YaHei" charset="0"/>
              </a:defRPr>
            </a:lvl4pPr>
            <a:lvl5pPr marL="20574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bg1"/>
                </a:solidFill>
                <a:latin typeface="Arial" charset="0"/>
                <a:ea typeface="Microsoft YaHei" charset="0"/>
                <a:cs typeface="Microsoft YaHei" charset="0"/>
              </a:defRPr>
            </a:lvl5pPr>
            <a:lvl6pPr marL="2286000" algn="l" defTabSz="457200" rtl="0" eaLnBrk="1" latinLnBrk="0" hangingPunct="1">
              <a:defRPr kern="1200">
                <a:solidFill>
                  <a:schemeClr val="bg1"/>
                </a:solidFill>
                <a:latin typeface="Arial" charset="0"/>
                <a:ea typeface="Microsoft YaHei" charset="0"/>
                <a:cs typeface="Microsoft YaHei" charset="0"/>
              </a:defRPr>
            </a:lvl6pPr>
            <a:lvl7pPr marL="2743200" algn="l" defTabSz="457200" rtl="0" eaLnBrk="1" latinLnBrk="0" hangingPunct="1">
              <a:defRPr kern="1200">
                <a:solidFill>
                  <a:schemeClr val="bg1"/>
                </a:solidFill>
                <a:latin typeface="Arial" charset="0"/>
                <a:ea typeface="Microsoft YaHei" charset="0"/>
                <a:cs typeface="Microsoft YaHei" charset="0"/>
              </a:defRPr>
            </a:lvl7pPr>
            <a:lvl8pPr marL="3200400" algn="l" defTabSz="457200" rtl="0" eaLnBrk="1" latinLnBrk="0" hangingPunct="1">
              <a:defRPr kern="1200">
                <a:solidFill>
                  <a:schemeClr val="bg1"/>
                </a:solidFill>
                <a:latin typeface="Arial" charset="0"/>
                <a:ea typeface="Microsoft YaHei" charset="0"/>
                <a:cs typeface="Microsoft YaHei" charset="0"/>
              </a:defRPr>
            </a:lvl8pPr>
            <a:lvl9pPr marL="3657600" algn="l" defTabSz="457200" rtl="0" eaLnBrk="1" latinLnBrk="0" hangingPunct="1">
              <a:defRPr kern="1200">
                <a:solidFill>
                  <a:schemeClr val="bg1"/>
                </a:solidFill>
                <a:latin typeface="Arial" charset="0"/>
                <a:ea typeface="Microsoft YaHei" charset="0"/>
                <a:cs typeface="Microsoft YaHei" charset="0"/>
              </a:defRPr>
            </a:lvl9pPr>
          </a:lstStyle>
          <a:p>
            <a:pPr algn="r"/>
            <a:r>
              <a:rPr lang="en-GB" sz="700" kern="1200" dirty="0" smtClean="0">
                <a:solidFill>
                  <a:srgbClr val="207C9E"/>
                </a:solidFill>
                <a:latin typeface="+mn-lt"/>
              </a:rPr>
              <a:t>-  </a:t>
            </a:r>
            <a:r>
              <a:rPr lang="en-GB" sz="700" kern="1200" dirty="0" smtClean="0">
                <a:solidFill>
                  <a:srgbClr val="EE3E27"/>
                </a:solidFill>
                <a:latin typeface="+mn-lt"/>
              </a:rPr>
              <a:t> </a:t>
            </a:r>
            <a:fld id="{97739465-3290-2B4C-8EFA-B6C76ACCF8EC}" type="slidenum">
              <a:rPr lang="en-GB" sz="700" kern="1200" smtClean="0">
                <a:solidFill>
                  <a:srgbClr val="EE3E27"/>
                </a:solidFill>
                <a:latin typeface="+mn-lt"/>
                <a:cs typeface="Arial"/>
              </a:rPr>
              <a:pPr algn="r"/>
              <a:t>‹nr.›</a:t>
            </a:fld>
            <a:endParaRPr lang="en-GB" sz="900" kern="1200" dirty="0">
              <a:solidFill>
                <a:srgbClr val="EE3E27"/>
              </a:solidFill>
              <a:latin typeface="+mn-lt"/>
              <a:cs typeface="Arial"/>
            </a:endParaRPr>
          </a:p>
        </p:txBody>
      </p:sp>
      <p:sp>
        <p:nvSpPr>
          <p:cNvPr id="12" name="Rechthoek 11"/>
          <p:cNvSpPr/>
          <p:nvPr/>
        </p:nvSpPr>
        <p:spPr>
          <a:xfrm>
            <a:off x="0" y="4468352"/>
            <a:ext cx="9144000" cy="125427"/>
          </a:xfrm>
          <a:prstGeom prst="rect">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pic>
        <p:nvPicPr>
          <p:cNvPr id="13" name="Afbeelding 12" descr="USEF Logo.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53585" y="4639080"/>
            <a:ext cx="1017583" cy="443598"/>
          </a:xfrm>
          <a:prstGeom prst="rect">
            <a:avLst/>
          </a:prstGeom>
        </p:spPr>
      </p:pic>
      <p:sp>
        <p:nvSpPr>
          <p:cNvPr id="14" name="Tijdelijke aanduiding voor voettekst 4"/>
          <p:cNvSpPr>
            <a:spLocks noGrp="1"/>
          </p:cNvSpPr>
          <p:nvPr>
            <p:ph type="ftr" sz="quarter" idx="3"/>
          </p:nvPr>
        </p:nvSpPr>
        <p:spPr>
          <a:xfrm>
            <a:off x="5022788" y="4718255"/>
            <a:ext cx="3767199" cy="365125"/>
          </a:xfrm>
          <a:prstGeom prst="rect">
            <a:avLst/>
          </a:prstGeom>
        </p:spPr>
        <p:txBody>
          <a:bodyPr lIns="91417" tIns="45709" rIns="91417" bIns="45709" anchor="b" anchorCtr="0"/>
          <a:lstStyle>
            <a:lvl1pPr algn="r">
              <a:defRPr sz="700">
                <a:solidFill>
                  <a:srgbClr val="207C9E"/>
                </a:solidFill>
                <a:latin typeface="+mn-lt"/>
                <a:cs typeface="Arial"/>
              </a:defRPr>
            </a:lvl1pPr>
          </a:lstStyle>
          <a:p>
            <a:endParaRPr lang="en-GB" dirty="0"/>
          </a:p>
        </p:txBody>
      </p:sp>
    </p:spTree>
    <p:extLst>
      <p:ext uri="{BB962C8B-B14F-4D97-AF65-F5344CB8AC3E}">
        <p14:creationId xmlns:p14="http://schemas.microsoft.com/office/powerpoint/2010/main" val="3471517656"/>
      </p:ext>
    </p:extLst>
  </p:cSld>
  <p:clrMap bg1="lt1" tx1="dk1" bg2="lt2" tx2="dk2" accent1="accent1" accent2="accent2" accent3="accent3" accent4="accent4" accent5="accent5" accent6="accent6" hlink="hlink" folHlink="folHlink"/>
  <p:sldLayoutIdLst>
    <p:sldLayoutId id="2147483672" r:id="rId1"/>
    <p:sldLayoutId id="2147483649" r:id="rId2"/>
    <p:sldLayoutId id="2147483678" r:id="rId3"/>
    <p:sldLayoutId id="2147483691" r:id="rId4"/>
    <p:sldLayoutId id="2147483650" r:id="rId5"/>
    <p:sldLayoutId id="2147483673" r:id="rId6"/>
    <p:sldLayoutId id="2147483674" r:id="rId7"/>
    <p:sldLayoutId id="2147483655" r:id="rId8"/>
    <p:sldLayoutId id="2147483654" r:id="rId9"/>
    <p:sldLayoutId id="2147483676" r:id="rId10"/>
    <p:sldLayoutId id="2147483689" r:id="rId11"/>
    <p:sldLayoutId id="2147483755" r:id="rId12"/>
    <p:sldLayoutId id="2147483756" r:id="rId13"/>
    <p:sldLayoutId id="2147483757" r:id="rId14"/>
    <p:sldLayoutId id="2147483760" r:id="rId15"/>
    <p:sldLayoutId id="2147483761" r:id="rId16"/>
    <p:sldLayoutId id="2147483762" r:id="rId17"/>
    <p:sldLayoutId id="2147483763" r:id="rId18"/>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sldNum="0" hdr="0"/>
  <p:txStyles>
    <p:titleStyle>
      <a:lvl1pPr algn="ctr" defTabSz="457078" rtl="0" eaLnBrk="1" latinLnBrk="0" hangingPunct="1">
        <a:spcBef>
          <a:spcPct val="0"/>
        </a:spcBef>
        <a:buNone/>
        <a:defRPr sz="4400" kern="1200">
          <a:solidFill>
            <a:schemeClr val="tx1"/>
          </a:solidFill>
          <a:latin typeface="+mj-lt"/>
          <a:ea typeface="+mj-ea"/>
          <a:cs typeface="+mj-cs"/>
        </a:defRPr>
      </a:lvl1pPr>
    </p:titleStyle>
    <p:bodyStyle>
      <a:lvl1pPr marL="342809" indent="-342809" algn="l" defTabSz="457078" rtl="0" eaLnBrk="1" latinLnBrk="0" hangingPunct="1">
        <a:spcBef>
          <a:spcPct val="20000"/>
        </a:spcBef>
        <a:buFont typeface="Arial"/>
        <a:buChar char="•"/>
        <a:defRPr sz="3200" kern="1200">
          <a:solidFill>
            <a:schemeClr val="tx1"/>
          </a:solidFill>
          <a:latin typeface="+mn-lt"/>
          <a:ea typeface="+mn-ea"/>
          <a:cs typeface="+mn-cs"/>
        </a:defRPr>
      </a:lvl1pPr>
      <a:lvl2pPr marL="742756" indent="-285675" algn="l" defTabSz="457078" rtl="0" eaLnBrk="1" latinLnBrk="0" hangingPunct="1">
        <a:spcBef>
          <a:spcPct val="20000"/>
        </a:spcBef>
        <a:buFont typeface="Arial"/>
        <a:buChar char="–"/>
        <a:defRPr sz="2800" kern="1200">
          <a:solidFill>
            <a:schemeClr val="tx1"/>
          </a:solidFill>
          <a:latin typeface="+mn-lt"/>
          <a:ea typeface="+mn-ea"/>
          <a:cs typeface="+mn-cs"/>
        </a:defRPr>
      </a:lvl2pPr>
      <a:lvl3pPr marL="1142700" indent="-228538" algn="l" defTabSz="457078" rtl="0" eaLnBrk="1" latinLnBrk="0" hangingPunct="1">
        <a:spcBef>
          <a:spcPct val="20000"/>
        </a:spcBef>
        <a:buFont typeface="Arial"/>
        <a:buChar char="•"/>
        <a:defRPr sz="2400" kern="1200">
          <a:solidFill>
            <a:schemeClr val="tx1"/>
          </a:solidFill>
          <a:latin typeface="+mn-lt"/>
          <a:ea typeface="+mn-ea"/>
          <a:cs typeface="+mn-cs"/>
        </a:defRPr>
      </a:lvl3pPr>
      <a:lvl4pPr marL="1599778" indent="-228538" algn="l" defTabSz="457078" rtl="0" eaLnBrk="1" latinLnBrk="0" hangingPunct="1">
        <a:spcBef>
          <a:spcPct val="20000"/>
        </a:spcBef>
        <a:buFont typeface="Arial"/>
        <a:buChar char="–"/>
        <a:defRPr sz="2000" kern="1200">
          <a:solidFill>
            <a:schemeClr val="tx1"/>
          </a:solidFill>
          <a:latin typeface="+mn-lt"/>
          <a:ea typeface="+mn-ea"/>
          <a:cs typeface="+mn-cs"/>
        </a:defRPr>
      </a:lvl4pPr>
      <a:lvl5pPr marL="2056859" indent="-228538" algn="l" defTabSz="457078" rtl="0" eaLnBrk="1" latinLnBrk="0" hangingPunct="1">
        <a:spcBef>
          <a:spcPct val="20000"/>
        </a:spcBef>
        <a:buFont typeface="Arial"/>
        <a:buChar char="»"/>
        <a:defRPr sz="2000" kern="1200">
          <a:solidFill>
            <a:schemeClr val="tx1"/>
          </a:solidFill>
          <a:latin typeface="+mn-lt"/>
          <a:ea typeface="+mn-ea"/>
          <a:cs typeface="+mn-cs"/>
        </a:defRPr>
      </a:lvl5pPr>
      <a:lvl6pPr marL="2513936" indent="-228538" algn="l" defTabSz="457078" rtl="0" eaLnBrk="1" latinLnBrk="0" hangingPunct="1">
        <a:spcBef>
          <a:spcPct val="20000"/>
        </a:spcBef>
        <a:buFont typeface="Arial"/>
        <a:buChar char="•"/>
        <a:defRPr sz="2000" kern="1200">
          <a:solidFill>
            <a:schemeClr val="tx1"/>
          </a:solidFill>
          <a:latin typeface="+mn-lt"/>
          <a:ea typeface="+mn-ea"/>
          <a:cs typeface="+mn-cs"/>
        </a:defRPr>
      </a:lvl6pPr>
      <a:lvl7pPr marL="2971018" indent="-228538" algn="l" defTabSz="457078" rtl="0" eaLnBrk="1" latinLnBrk="0" hangingPunct="1">
        <a:spcBef>
          <a:spcPct val="20000"/>
        </a:spcBef>
        <a:buFont typeface="Arial"/>
        <a:buChar char="•"/>
        <a:defRPr sz="2000" kern="1200">
          <a:solidFill>
            <a:schemeClr val="tx1"/>
          </a:solidFill>
          <a:latin typeface="+mn-lt"/>
          <a:ea typeface="+mn-ea"/>
          <a:cs typeface="+mn-cs"/>
        </a:defRPr>
      </a:lvl7pPr>
      <a:lvl8pPr marL="3428097" indent="-228538" algn="l" defTabSz="457078" rtl="0" eaLnBrk="1" latinLnBrk="0" hangingPunct="1">
        <a:spcBef>
          <a:spcPct val="20000"/>
        </a:spcBef>
        <a:buFont typeface="Arial"/>
        <a:buChar char="•"/>
        <a:defRPr sz="2000" kern="1200">
          <a:solidFill>
            <a:schemeClr val="tx1"/>
          </a:solidFill>
          <a:latin typeface="+mn-lt"/>
          <a:ea typeface="+mn-ea"/>
          <a:cs typeface="+mn-cs"/>
        </a:defRPr>
      </a:lvl8pPr>
      <a:lvl9pPr marL="3885176" indent="-228538" algn="l" defTabSz="4570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078" rtl="0" eaLnBrk="1" latinLnBrk="0" hangingPunct="1">
        <a:defRPr sz="1800" kern="1200">
          <a:solidFill>
            <a:schemeClr val="tx1"/>
          </a:solidFill>
          <a:latin typeface="+mn-lt"/>
          <a:ea typeface="+mn-ea"/>
          <a:cs typeface="+mn-cs"/>
        </a:defRPr>
      </a:lvl1pPr>
      <a:lvl2pPr marL="457078" algn="l" defTabSz="457078" rtl="0" eaLnBrk="1" latinLnBrk="0" hangingPunct="1">
        <a:defRPr sz="1800" kern="1200">
          <a:solidFill>
            <a:schemeClr val="tx1"/>
          </a:solidFill>
          <a:latin typeface="+mn-lt"/>
          <a:ea typeface="+mn-ea"/>
          <a:cs typeface="+mn-cs"/>
        </a:defRPr>
      </a:lvl2pPr>
      <a:lvl3pPr marL="914161" algn="l" defTabSz="457078" rtl="0" eaLnBrk="1" latinLnBrk="0" hangingPunct="1">
        <a:defRPr sz="1800" kern="1200">
          <a:solidFill>
            <a:schemeClr val="tx1"/>
          </a:solidFill>
          <a:latin typeface="+mn-lt"/>
          <a:ea typeface="+mn-ea"/>
          <a:cs typeface="+mn-cs"/>
        </a:defRPr>
      </a:lvl3pPr>
      <a:lvl4pPr marL="1371240" algn="l" defTabSz="457078" rtl="0" eaLnBrk="1" latinLnBrk="0" hangingPunct="1">
        <a:defRPr sz="1800" kern="1200">
          <a:solidFill>
            <a:schemeClr val="tx1"/>
          </a:solidFill>
          <a:latin typeface="+mn-lt"/>
          <a:ea typeface="+mn-ea"/>
          <a:cs typeface="+mn-cs"/>
        </a:defRPr>
      </a:lvl4pPr>
      <a:lvl5pPr marL="1828321" algn="l" defTabSz="457078" rtl="0" eaLnBrk="1" latinLnBrk="0" hangingPunct="1">
        <a:defRPr sz="1800" kern="1200">
          <a:solidFill>
            <a:schemeClr val="tx1"/>
          </a:solidFill>
          <a:latin typeface="+mn-lt"/>
          <a:ea typeface="+mn-ea"/>
          <a:cs typeface="+mn-cs"/>
        </a:defRPr>
      </a:lvl5pPr>
      <a:lvl6pPr marL="2285398" algn="l" defTabSz="457078" rtl="0" eaLnBrk="1" latinLnBrk="0" hangingPunct="1">
        <a:defRPr sz="1800" kern="1200">
          <a:solidFill>
            <a:schemeClr val="tx1"/>
          </a:solidFill>
          <a:latin typeface="+mn-lt"/>
          <a:ea typeface="+mn-ea"/>
          <a:cs typeface="+mn-cs"/>
        </a:defRPr>
      </a:lvl6pPr>
      <a:lvl7pPr marL="2742476" algn="l" defTabSz="457078" rtl="0" eaLnBrk="1" latinLnBrk="0" hangingPunct="1">
        <a:defRPr sz="1800" kern="1200">
          <a:solidFill>
            <a:schemeClr val="tx1"/>
          </a:solidFill>
          <a:latin typeface="+mn-lt"/>
          <a:ea typeface="+mn-ea"/>
          <a:cs typeface="+mn-cs"/>
        </a:defRPr>
      </a:lvl7pPr>
      <a:lvl8pPr marL="3199556" algn="l" defTabSz="457078" rtl="0" eaLnBrk="1" latinLnBrk="0" hangingPunct="1">
        <a:defRPr sz="1800" kern="1200">
          <a:solidFill>
            <a:schemeClr val="tx1"/>
          </a:solidFill>
          <a:latin typeface="+mn-lt"/>
          <a:ea typeface="+mn-ea"/>
          <a:cs typeface="+mn-cs"/>
        </a:defRPr>
      </a:lvl8pPr>
      <a:lvl9pPr marL="3656636" algn="l" defTabSz="4570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7" name="Picture 3" descr="U:\DNV\New upgrading projects received September 2013\PPT project assigned September 2013-\work\A4 PPT logos.emf"/>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7125"/>
          <a:stretch/>
        </p:blipFill>
        <p:spPr bwMode="auto">
          <a:xfrm>
            <a:off x="0" y="4708175"/>
            <a:ext cx="8895105" cy="2465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250825" y="180812"/>
            <a:ext cx="8641656" cy="502565"/>
          </a:xfrm>
          <a:prstGeom prst="rect">
            <a:avLst/>
          </a:prstGeom>
        </p:spPr>
        <p:txBody>
          <a:bodyPr vert="horz" lIns="0" tIns="0" rIns="0" bIns="0" rtlCol="0" anchor="b" anchorCtr="0">
            <a:no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a:xfrm>
            <a:off x="250825" y="951310"/>
            <a:ext cx="8641656" cy="35433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Date Placeholder 3"/>
          <p:cNvSpPr>
            <a:spLocks noGrp="1"/>
          </p:cNvSpPr>
          <p:nvPr>
            <p:ph type="dt" sz="half" idx="2"/>
          </p:nvPr>
        </p:nvSpPr>
        <p:spPr>
          <a:xfrm>
            <a:off x="3239853" y="5023261"/>
            <a:ext cx="1257536" cy="116100"/>
          </a:xfrm>
          <a:prstGeom prst="rect">
            <a:avLst/>
          </a:prstGeom>
        </p:spPr>
        <p:txBody>
          <a:bodyPr vert="horz" lIns="0" tIns="0" rIns="0" bIns="0" rtlCol="0" anchor="t" anchorCtr="0"/>
          <a:lstStyle>
            <a:lvl1pPr algn="r">
              <a:defRPr sz="700">
                <a:solidFill>
                  <a:schemeClr val="tx1"/>
                </a:solidFill>
              </a:defRPr>
            </a:lvl1pPr>
          </a:lstStyle>
          <a:p>
            <a:pPr defTabSz="914296"/>
            <a:endParaRPr lang="en-GB" dirty="0">
              <a:solidFill>
                <a:srgbClr val="333333"/>
              </a:solidFill>
            </a:endParaRPr>
          </a:p>
        </p:txBody>
      </p:sp>
      <p:sp>
        <p:nvSpPr>
          <p:cNvPr id="5" name="Footer Placeholder 4"/>
          <p:cNvSpPr>
            <a:spLocks noGrp="1"/>
          </p:cNvSpPr>
          <p:nvPr>
            <p:ph type="ftr" sz="quarter" idx="3"/>
          </p:nvPr>
        </p:nvSpPr>
        <p:spPr>
          <a:xfrm>
            <a:off x="250825" y="5023261"/>
            <a:ext cx="2989028" cy="116100"/>
          </a:xfrm>
          <a:prstGeom prst="rect">
            <a:avLst/>
          </a:prstGeom>
        </p:spPr>
        <p:txBody>
          <a:bodyPr vert="horz" lIns="0" tIns="0" rIns="0" bIns="0" rtlCol="0" anchor="t" anchorCtr="0"/>
          <a:lstStyle>
            <a:lvl1pPr algn="l">
              <a:defRPr sz="800" b="1">
                <a:solidFill>
                  <a:schemeClr val="tx1"/>
                </a:solidFill>
              </a:defRPr>
            </a:lvl1pPr>
          </a:lstStyle>
          <a:p>
            <a:pPr defTabSz="914296"/>
            <a:endParaRPr lang="en-GB" dirty="0">
              <a:solidFill>
                <a:srgbClr val="333333"/>
              </a:solidFill>
            </a:endParaRPr>
          </a:p>
        </p:txBody>
      </p:sp>
      <p:sp>
        <p:nvSpPr>
          <p:cNvPr id="6" name="Slide Number Placeholder 5"/>
          <p:cNvSpPr>
            <a:spLocks noGrp="1"/>
          </p:cNvSpPr>
          <p:nvPr>
            <p:ph type="sldNum" sz="quarter" idx="4"/>
          </p:nvPr>
        </p:nvSpPr>
        <p:spPr>
          <a:xfrm>
            <a:off x="250825" y="4888446"/>
            <a:ext cx="240231" cy="134816"/>
          </a:xfrm>
          <a:prstGeom prst="rect">
            <a:avLst/>
          </a:prstGeom>
        </p:spPr>
        <p:txBody>
          <a:bodyPr vert="horz" lIns="0" tIns="0" rIns="0" bIns="0" rtlCol="0" anchor="t" anchorCtr="0"/>
          <a:lstStyle>
            <a:lvl1pPr algn="l">
              <a:defRPr sz="700">
                <a:solidFill>
                  <a:schemeClr val="tx1"/>
                </a:solidFill>
              </a:defRPr>
            </a:lvl1pPr>
          </a:lstStyle>
          <a:p>
            <a:pPr defTabSz="914296"/>
            <a:fld id="{5BA07366-CB75-4AA8-9E5B-928B849F427C}" type="slidenum">
              <a:rPr lang="en-GB" smtClean="0">
                <a:solidFill>
                  <a:srgbClr val="333333"/>
                </a:solidFill>
              </a:rPr>
              <a:pPr defTabSz="914296"/>
              <a:t>‹nr.›</a:t>
            </a:fld>
            <a:endParaRPr lang="en-GB" dirty="0">
              <a:solidFill>
                <a:srgbClr val="333333"/>
              </a:solidFill>
            </a:endParaRPr>
          </a:p>
        </p:txBody>
      </p:sp>
      <p:sp>
        <p:nvSpPr>
          <p:cNvPr id="11" name="TextBox 10"/>
          <p:cNvSpPr txBox="1"/>
          <p:nvPr/>
        </p:nvSpPr>
        <p:spPr>
          <a:xfrm>
            <a:off x="491056" y="4888445"/>
            <a:ext cx="732573" cy="107722"/>
          </a:xfrm>
          <a:prstGeom prst="rect">
            <a:avLst/>
          </a:prstGeom>
          <a:noFill/>
        </p:spPr>
        <p:txBody>
          <a:bodyPr wrap="none" lIns="0" tIns="0" rIns="0" bIns="0" rtlCol="0">
            <a:spAutoFit/>
          </a:bodyPr>
          <a:lstStyle/>
          <a:p>
            <a:pPr defTabSz="914296"/>
            <a:r>
              <a:rPr lang="en-GB" sz="700" dirty="0" smtClean="0">
                <a:solidFill>
                  <a:srgbClr val="333333"/>
                </a:solidFill>
              </a:rPr>
              <a:t>DNV GL © 2014</a:t>
            </a:r>
            <a:endParaRPr lang="en-GB" sz="700" dirty="0">
              <a:solidFill>
                <a:srgbClr val="333333"/>
              </a:solidFill>
            </a:endParaRPr>
          </a:p>
        </p:txBody>
      </p:sp>
      <p:cxnSp>
        <p:nvCxnSpPr>
          <p:cNvPr id="15" name="Straight Connector 14"/>
          <p:cNvCxnSpPr/>
          <p:nvPr/>
        </p:nvCxnSpPr>
        <p:spPr>
          <a:xfrm>
            <a:off x="1" y="707400"/>
            <a:ext cx="889248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SD_FLD_Draft" hidden="1"/>
          <p:cNvSpPr txBox="1">
            <a:spLocks noChangeArrowheads="1"/>
          </p:cNvSpPr>
          <p:nvPr/>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4296">
              <a:spcBef>
                <a:spcPct val="50000"/>
              </a:spcBef>
            </a:pPr>
            <a:r>
              <a:rPr lang="en-GB" altLang="ja-JP" sz="1600" cap="all" dirty="0" smtClean="0">
                <a:solidFill>
                  <a:srgbClr val="C4262E"/>
                </a:solidFill>
                <a:ea typeface="ＭＳ Ｐゴシック" charset="-128"/>
                <a:cs typeface="Arial" charset="0"/>
              </a:rPr>
              <a:t>Draft</a:t>
            </a:r>
            <a:endParaRPr lang="en-GB" altLang="ja-JP" sz="1600" cap="all" dirty="0">
              <a:solidFill>
                <a:srgbClr val="C4262E"/>
              </a:solidFill>
              <a:ea typeface="ＭＳ Ｐゴシック" charset="-128"/>
              <a:cs typeface="Arial" charset="0"/>
            </a:endParaRPr>
          </a:p>
        </p:txBody>
      </p:sp>
      <p:sp>
        <p:nvSpPr>
          <p:cNvPr id="14" name="SD_FLD_DocumentDate"/>
          <p:cNvSpPr txBox="1">
            <a:spLocks noChangeArrowheads="1"/>
          </p:cNvSpPr>
          <p:nvPr/>
        </p:nvSpPr>
        <p:spPr bwMode="auto">
          <a:xfrm>
            <a:off x="1692000" y="4889700"/>
            <a:ext cx="2805388" cy="13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4296">
              <a:spcBef>
                <a:spcPct val="50000"/>
              </a:spcBef>
            </a:pPr>
            <a:r>
              <a:rPr lang="en-GB" altLang="ja-JP" sz="700" smtClean="0">
                <a:solidFill>
                  <a:srgbClr val="333333"/>
                </a:solidFill>
                <a:ea typeface="ＭＳ Ｐゴシック" charset="-128"/>
                <a:cs typeface="Arial" charset="0"/>
              </a:rPr>
              <a:t>19 January 2016</a:t>
            </a:r>
            <a:endParaRPr lang="en-GB" altLang="ja-JP" sz="700" dirty="0">
              <a:solidFill>
                <a:srgbClr val="333333"/>
              </a:solidFill>
              <a:ea typeface="ＭＳ Ｐゴシック" charset="-128"/>
              <a:cs typeface="Arial" charset="0"/>
            </a:endParaRPr>
          </a:p>
        </p:txBody>
      </p:sp>
    </p:spTree>
    <p:extLst>
      <p:ext uri="{BB962C8B-B14F-4D97-AF65-F5344CB8AC3E}">
        <p14:creationId xmlns:p14="http://schemas.microsoft.com/office/powerpoint/2010/main" val="262846242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5" r:id="rId9"/>
    <p:sldLayoutId id="2147483776" r:id="rId10"/>
    <p:sldLayoutId id="2147483777" r:id="rId11"/>
    <p:sldLayoutId id="2147483778" r:id="rId12"/>
    <p:sldLayoutId id="2147483779" r:id="rId13"/>
  </p:sldLayoutIdLst>
  <p:hf hdr="0" ftr="0" dt="0"/>
  <p:txStyles>
    <p:titleStyle>
      <a:lvl1pPr algn="l" defTabSz="914296" rtl="0" eaLnBrk="1" latinLnBrk="0" hangingPunct="1">
        <a:spcBef>
          <a:spcPct val="0"/>
        </a:spcBef>
        <a:buNone/>
        <a:defRPr sz="1800" b="1" kern="1200">
          <a:solidFill>
            <a:schemeClr val="accent4"/>
          </a:solidFill>
          <a:latin typeface="+mj-lt"/>
          <a:ea typeface="+mj-ea"/>
          <a:cs typeface="+mj-cs"/>
        </a:defRPr>
      </a:lvl1pPr>
    </p:titleStyle>
    <p:bodyStyle>
      <a:lvl1pPr marL="179980" indent="-179980" algn="l" defTabSz="914296"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5955" indent="-197977" algn="l" defTabSz="914296"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1931" indent="-197977" algn="l" defTabSz="914296"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7905" indent="-197977" algn="l" defTabSz="914296"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3881" indent="-197977" algn="l" defTabSz="914296"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314"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62"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10"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58"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Tijdelijke aanduiding voor dianummer 4"/>
          <p:cNvSpPr>
            <a:spLocks noGrp="1"/>
          </p:cNvSpPr>
          <p:nvPr userDrawn="1"/>
        </p:nvSpPr>
        <p:spPr>
          <a:xfrm>
            <a:off x="7857947" y="4718250"/>
            <a:ext cx="1185862" cy="365125"/>
          </a:xfrm>
          <a:prstGeom prst="rect">
            <a:avLst/>
          </a:prstGeom>
        </p:spPr>
        <p:txBody>
          <a:bodyPr vert="horz" wrap="square" lIns="77925" tIns="38963" rIns="77925" bIns="38963" numCol="1" anchor="b" anchorCtr="0" compatLnSpc="1">
            <a:prstTxWarp prst="textNoShape">
              <a:avLst/>
            </a:prstTxWarp>
          </a:bodyPr>
          <a:lstStyle>
            <a:defPPr>
              <a:defRPr lang="en-GB"/>
            </a:defPPr>
            <a:lvl1pPr algn="r" defTabSz="449263" rtl="0" fontAlgn="base" hangingPunct="0">
              <a:lnSpc>
                <a:spcPct val="93000"/>
              </a:lnSpc>
              <a:spcBef>
                <a:spcPct val="0"/>
              </a:spcBef>
              <a:spcAft>
                <a:spcPct val="0"/>
              </a:spcAft>
              <a:buClr>
                <a:srgbClr val="000000"/>
              </a:buClr>
              <a:buSzPct val="100000"/>
              <a:buFont typeface="Times New Roman" charset="0"/>
              <a:defRPr sz="700" kern="1200">
                <a:solidFill>
                  <a:srgbClr val="E63C2E"/>
                </a:solidFill>
                <a:latin typeface="Helvetica" charset="0"/>
                <a:ea typeface="Microsoft YaHei" charset="0"/>
                <a:cs typeface="Microsoft YaHei" charset="0"/>
              </a:defRPr>
            </a:lvl1pPr>
            <a:lvl2pPr marL="742950" indent="-285750" algn="l" defTabSz="449263" rtl="0" fontAlgn="base" hangingPunct="0">
              <a:lnSpc>
                <a:spcPct val="93000"/>
              </a:lnSpc>
              <a:spcBef>
                <a:spcPct val="0"/>
              </a:spcBef>
              <a:spcAft>
                <a:spcPct val="0"/>
              </a:spcAft>
              <a:buClr>
                <a:srgbClr val="000000"/>
              </a:buClr>
              <a:buSzPct val="100000"/>
              <a:buFont typeface="Times New Roman" charset="0"/>
              <a:defRPr kern="1200">
                <a:solidFill>
                  <a:schemeClr val="bg1"/>
                </a:solidFill>
                <a:latin typeface="Arial" charset="0"/>
                <a:ea typeface="Microsoft YaHei" charset="0"/>
                <a:cs typeface="Microsoft YaHei" charset="0"/>
              </a:defRPr>
            </a:lvl2pPr>
            <a:lvl3pPr marL="11430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bg1"/>
                </a:solidFill>
                <a:latin typeface="Arial" charset="0"/>
                <a:ea typeface="Microsoft YaHei" charset="0"/>
                <a:cs typeface="Microsoft YaHei" charset="0"/>
              </a:defRPr>
            </a:lvl3pPr>
            <a:lvl4pPr marL="16002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bg1"/>
                </a:solidFill>
                <a:latin typeface="Arial" charset="0"/>
                <a:ea typeface="Microsoft YaHei" charset="0"/>
                <a:cs typeface="Microsoft YaHei" charset="0"/>
              </a:defRPr>
            </a:lvl4pPr>
            <a:lvl5pPr marL="20574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bg1"/>
                </a:solidFill>
                <a:latin typeface="Arial" charset="0"/>
                <a:ea typeface="Microsoft YaHei" charset="0"/>
                <a:cs typeface="Microsoft YaHei" charset="0"/>
              </a:defRPr>
            </a:lvl5pPr>
            <a:lvl6pPr marL="2286000" algn="l" defTabSz="457200" rtl="0" eaLnBrk="1" latinLnBrk="0" hangingPunct="1">
              <a:defRPr kern="1200">
                <a:solidFill>
                  <a:schemeClr val="bg1"/>
                </a:solidFill>
                <a:latin typeface="Arial" charset="0"/>
                <a:ea typeface="Microsoft YaHei" charset="0"/>
                <a:cs typeface="Microsoft YaHei" charset="0"/>
              </a:defRPr>
            </a:lvl6pPr>
            <a:lvl7pPr marL="2743200" algn="l" defTabSz="457200" rtl="0" eaLnBrk="1" latinLnBrk="0" hangingPunct="1">
              <a:defRPr kern="1200">
                <a:solidFill>
                  <a:schemeClr val="bg1"/>
                </a:solidFill>
                <a:latin typeface="Arial" charset="0"/>
                <a:ea typeface="Microsoft YaHei" charset="0"/>
                <a:cs typeface="Microsoft YaHei" charset="0"/>
              </a:defRPr>
            </a:lvl7pPr>
            <a:lvl8pPr marL="3200400" algn="l" defTabSz="457200" rtl="0" eaLnBrk="1" latinLnBrk="0" hangingPunct="1">
              <a:defRPr kern="1200">
                <a:solidFill>
                  <a:schemeClr val="bg1"/>
                </a:solidFill>
                <a:latin typeface="Arial" charset="0"/>
                <a:ea typeface="Microsoft YaHei" charset="0"/>
                <a:cs typeface="Microsoft YaHei" charset="0"/>
              </a:defRPr>
            </a:lvl8pPr>
            <a:lvl9pPr marL="3657600" algn="l" defTabSz="457200" rtl="0" eaLnBrk="1" latinLnBrk="0" hangingPunct="1">
              <a:defRPr kern="1200">
                <a:solidFill>
                  <a:schemeClr val="bg1"/>
                </a:solidFill>
                <a:latin typeface="Arial" charset="0"/>
                <a:ea typeface="Microsoft YaHei" charset="0"/>
                <a:cs typeface="Microsoft YaHei" charset="0"/>
              </a:defRPr>
            </a:lvl9pPr>
          </a:lstStyle>
          <a:p>
            <a:r>
              <a:rPr lang="nl-NL" sz="600" dirty="0" smtClean="0">
                <a:solidFill>
                  <a:srgbClr val="207C9E"/>
                </a:solidFill>
                <a:latin typeface="Calibri"/>
              </a:rPr>
              <a:t>-  </a:t>
            </a:r>
            <a:r>
              <a:rPr lang="nl-NL" sz="600" dirty="0" smtClean="0">
                <a:solidFill>
                  <a:srgbClr val="EE3E27"/>
                </a:solidFill>
                <a:latin typeface="Calibri"/>
              </a:rPr>
              <a:t> </a:t>
            </a:r>
            <a:fld id="{97739465-3290-2B4C-8EFA-B6C76ACCF8EC}" type="slidenum">
              <a:rPr lang="nl-NL" sz="600" smtClean="0">
                <a:solidFill>
                  <a:srgbClr val="EE3E27"/>
                </a:solidFill>
                <a:latin typeface="Calibri"/>
                <a:cs typeface="Arial"/>
              </a:rPr>
              <a:pPr/>
              <a:t>‹nr.›</a:t>
            </a:fld>
            <a:endParaRPr lang="nl-NL" sz="800" dirty="0">
              <a:solidFill>
                <a:srgbClr val="EE3E27"/>
              </a:solidFill>
              <a:latin typeface="Calibri"/>
              <a:cs typeface="Arial"/>
            </a:endParaRPr>
          </a:p>
        </p:txBody>
      </p:sp>
      <p:pic>
        <p:nvPicPr>
          <p:cNvPr id="13" name="Afbeelding 12" descr="USEF Logo.pn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553581" y="4718250"/>
            <a:ext cx="1017583" cy="364428"/>
          </a:xfrm>
          <a:prstGeom prst="rect">
            <a:avLst/>
          </a:prstGeom>
        </p:spPr>
      </p:pic>
      <p:sp>
        <p:nvSpPr>
          <p:cNvPr id="14" name="Tijdelijke aanduiding voor voettekst 4"/>
          <p:cNvSpPr>
            <a:spLocks noGrp="1"/>
          </p:cNvSpPr>
          <p:nvPr>
            <p:ph type="ftr" sz="quarter" idx="3"/>
          </p:nvPr>
        </p:nvSpPr>
        <p:spPr>
          <a:xfrm>
            <a:off x="5022788" y="4718250"/>
            <a:ext cx="3767199" cy="365125"/>
          </a:xfrm>
          <a:prstGeom prst="rect">
            <a:avLst/>
          </a:prstGeom>
        </p:spPr>
        <p:txBody>
          <a:bodyPr lIns="77925" tIns="38963" rIns="77925" bIns="38963" anchor="b" anchorCtr="0"/>
          <a:lstStyle>
            <a:lvl1pPr algn="r">
              <a:defRPr sz="600">
                <a:solidFill>
                  <a:srgbClr val="207C9E"/>
                </a:solidFill>
                <a:latin typeface="+mn-lt"/>
                <a:cs typeface="Arial"/>
              </a:defRPr>
            </a:lvl1pPr>
          </a:lstStyle>
          <a:p>
            <a:pPr defTabSz="457096"/>
            <a:r>
              <a:rPr lang="nl-NL" dirty="0" smtClean="0"/>
              <a:t>Lorem</a:t>
            </a:r>
            <a:endParaRPr lang="nl-NL" dirty="0"/>
          </a:p>
        </p:txBody>
      </p:sp>
      <p:sp>
        <p:nvSpPr>
          <p:cNvPr id="5" name="Rechthoek 11"/>
          <p:cNvSpPr/>
          <p:nvPr userDrawn="1"/>
        </p:nvSpPr>
        <p:spPr>
          <a:xfrm>
            <a:off x="0" y="4568053"/>
            <a:ext cx="9144000" cy="86822"/>
          </a:xfrm>
          <a:prstGeom prst="rect">
            <a:avLst/>
          </a:prstGeom>
          <a:solidFill>
            <a:srgbClr val="197AA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defTabSz="457096"/>
            <a:endParaRPr lang="nl-NL" dirty="0">
              <a:solidFill>
                <a:prstClr val="white"/>
              </a:solidFill>
            </a:endParaRPr>
          </a:p>
        </p:txBody>
      </p:sp>
    </p:spTree>
    <p:extLst>
      <p:ext uri="{BB962C8B-B14F-4D97-AF65-F5344CB8AC3E}">
        <p14:creationId xmlns:p14="http://schemas.microsoft.com/office/powerpoint/2010/main" val="360688489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sldNum="0" hdr="0"/>
  <p:txStyles>
    <p:titleStyle>
      <a:lvl1pPr algn="ctr" defTabSz="389626" rtl="0" eaLnBrk="1" latinLnBrk="0" hangingPunct="1">
        <a:spcBef>
          <a:spcPct val="0"/>
        </a:spcBef>
        <a:buNone/>
        <a:defRPr sz="3700" kern="1200">
          <a:solidFill>
            <a:schemeClr val="tx1"/>
          </a:solidFill>
          <a:latin typeface="+mj-lt"/>
          <a:ea typeface="+mj-ea"/>
          <a:cs typeface="+mj-cs"/>
        </a:defRPr>
      </a:lvl1pPr>
    </p:titleStyle>
    <p:bodyStyle>
      <a:lvl1pPr marL="292219" indent="-292219" algn="l" defTabSz="389626" rtl="0" eaLnBrk="1" latinLnBrk="0" hangingPunct="1">
        <a:spcBef>
          <a:spcPct val="20000"/>
        </a:spcBef>
        <a:buFont typeface="Arial"/>
        <a:buChar char="•"/>
        <a:defRPr sz="2700" kern="1200">
          <a:solidFill>
            <a:schemeClr val="tx1"/>
          </a:solidFill>
          <a:latin typeface="+mn-lt"/>
          <a:ea typeface="+mn-ea"/>
          <a:cs typeface="+mn-cs"/>
        </a:defRPr>
      </a:lvl1pPr>
      <a:lvl2pPr marL="633142" indent="-243516" algn="l" defTabSz="389626" rtl="0" eaLnBrk="1" latinLnBrk="0" hangingPunct="1">
        <a:spcBef>
          <a:spcPct val="20000"/>
        </a:spcBef>
        <a:buFont typeface="Arial"/>
        <a:buChar char="–"/>
        <a:defRPr sz="2400" kern="1200">
          <a:solidFill>
            <a:schemeClr val="tx1"/>
          </a:solidFill>
          <a:latin typeface="+mn-lt"/>
          <a:ea typeface="+mn-ea"/>
          <a:cs typeface="+mn-cs"/>
        </a:defRPr>
      </a:lvl2pPr>
      <a:lvl3pPr marL="974065" indent="-194813" algn="l" defTabSz="389626" rtl="0" eaLnBrk="1" latinLnBrk="0" hangingPunct="1">
        <a:spcBef>
          <a:spcPct val="20000"/>
        </a:spcBef>
        <a:buFont typeface="Arial"/>
        <a:buChar char="•"/>
        <a:defRPr sz="2000" kern="1200">
          <a:solidFill>
            <a:schemeClr val="tx1"/>
          </a:solidFill>
          <a:latin typeface="+mn-lt"/>
          <a:ea typeface="+mn-ea"/>
          <a:cs typeface="+mn-cs"/>
        </a:defRPr>
      </a:lvl3pPr>
      <a:lvl4pPr marL="1363690" indent="-194813" algn="l" defTabSz="389626" rtl="0" eaLnBrk="1" latinLnBrk="0" hangingPunct="1">
        <a:spcBef>
          <a:spcPct val="20000"/>
        </a:spcBef>
        <a:buFont typeface="Arial"/>
        <a:buChar char="–"/>
        <a:defRPr sz="1700" kern="1200">
          <a:solidFill>
            <a:schemeClr val="tx1"/>
          </a:solidFill>
          <a:latin typeface="+mn-lt"/>
          <a:ea typeface="+mn-ea"/>
          <a:cs typeface="+mn-cs"/>
        </a:defRPr>
      </a:lvl4pPr>
      <a:lvl5pPr marL="1753316" indent="-194813" algn="l" defTabSz="389626" rtl="0" eaLnBrk="1" latinLnBrk="0" hangingPunct="1">
        <a:spcBef>
          <a:spcPct val="20000"/>
        </a:spcBef>
        <a:buFont typeface="Arial"/>
        <a:buChar char="»"/>
        <a:defRPr sz="1700" kern="1200">
          <a:solidFill>
            <a:schemeClr val="tx1"/>
          </a:solidFill>
          <a:latin typeface="+mn-lt"/>
          <a:ea typeface="+mn-ea"/>
          <a:cs typeface="+mn-cs"/>
        </a:defRPr>
      </a:lvl5pPr>
      <a:lvl6pPr marL="2142942" indent="-194813" algn="l" defTabSz="389626" rtl="0" eaLnBrk="1" latinLnBrk="0" hangingPunct="1">
        <a:spcBef>
          <a:spcPct val="20000"/>
        </a:spcBef>
        <a:buFont typeface="Arial"/>
        <a:buChar char="•"/>
        <a:defRPr sz="1700" kern="1200">
          <a:solidFill>
            <a:schemeClr val="tx1"/>
          </a:solidFill>
          <a:latin typeface="+mn-lt"/>
          <a:ea typeface="+mn-ea"/>
          <a:cs typeface="+mn-cs"/>
        </a:defRPr>
      </a:lvl6pPr>
      <a:lvl7pPr marL="2532568" indent="-194813" algn="l" defTabSz="389626" rtl="0" eaLnBrk="1" latinLnBrk="0" hangingPunct="1">
        <a:spcBef>
          <a:spcPct val="20000"/>
        </a:spcBef>
        <a:buFont typeface="Arial"/>
        <a:buChar char="•"/>
        <a:defRPr sz="1700" kern="1200">
          <a:solidFill>
            <a:schemeClr val="tx1"/>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nl-NL"/>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2.xml"/><Relationship Id="rId1" Type="http://schemas.openxmlformats.org/officeDocument/2006/relationships/slideLayout" Target="../slideLayouts/slideLayout11.xml"/><Relationship Id="rId5" Type="http://schemas.openxmlformats.org/officeDocument/2006/relationships/image" Target="../media/image21.jpeg"/><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3.xml"/><Relationship Id="rId7" Type="http://schemas.openxmlformats.org/officeDocument/2006/relationships/image" Target="../media/image22.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0.png"/><Relationship Id="rId11" Type="http://schemas.openxmlformats.org/officeDocument/2006/relationships/image" Target="../media/image21.jpeg"/><Relationship Id="rId5" Type="http://schemas.openxmlformats.org/officeDocument/2006/relationships/notesSlide" Target="../notesSlides/notesSlide23.xml"/><Relationship Id="rId10" Type="http://schemas.openxmlformats.org/officeDocument/2006/relationships/image" Target="../media/image25.png"/><Relationship Id="rId4" Type="http://schemas.openxmlformats.org/officeDocument/2006/relationships/slideLayout" Target="../slideLayouts/slideLayout11.xml"/><Relationship Id="rId9"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21.jpeg"/></Relationships>
</file>

<file path=ppt/slides/_rels/slide2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5.xml"/><Relationship Id="rId1" Type="http://schemas.openxmlformats.org/officeDocument/2006/relationships/slideLayout" Target="../slideLayouts/slideLayout11.xml"/><Relationship Id="rId5" Type="http://schemas.openxmlformats.org/officeDocument/2006/relationships/image" Target="../media/image21.jpeg"/><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jpg"/><Relationship Id="rId2" Type="http://schemas.openxmlformats.org/officeDocument/2006/relationships/notesSlide" Target="../notesSlides/notesSlide26.xml"/><Relationship Id="rId1" Type="http://schemas.openxmlformats.org/officeDocument/2006/relationships/slideLayout" Target="../slideLayouts/slideLayout40.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 Id="rId9" Type="http://schemas.openxmlformats.org/officeDocument/2006/relationships/image" Target="../media/image3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34.jpg"/><Relationship Id="rId5" Type="http://schemas.openxmlformats.org/officeDocument/2006/relationships/image" Target="../media/image7.jpeg"/><Relationship Id="rId4" Type="http://schemas.openxmlformats.org/officeDocument/2006/relationships/image" Target="../media/image33.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0.jp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ijdelijke aanduiding voor inhoud 25" descr="Usef vrouw uitsnede.png"/>
          <p:cNvPicPr>
            <a:picLocks noChangeAspect="1"/>
          </p:cNvPicPr>
          <p:nvPr/>
        </p:nvPicPr>
        <p:blipFill rotWithShape="1">
          <a:blip r:embed="rId3" cstate="screen">
            <a:extLst>
              <a:ext uri="{28A0092B-C50C-407E-A947-70E740481C1C}">
                <a14:useLocalDpi xmlns:a14="http://schemas.microsoft.com/office/drawing/2010/main"/>
              </a:ext>
            </a:extLst>
          </a:blip>
          <a:srcRect l="8928"/>
          <a:stretch/>
        </p:blipFill>
        <p:spPr>
          <a:xfrm>
            <a:off x="0" y="480979"/>
            <a:ext cx="4323096" cy="3756582"/>
          </a:xfrm>
          <a:prstGeom prst="rect">
            <a:avLst/>
          </a:prstGeom>
        </p:spPr>
      </p:pic>
      <p:pic>
        <p:nvPicPr>
          <p:cNvPr id="5" name="Tijdelijke aanduiding voor inhoud 24" descr="USEF Zonnepanelen.jp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8002815" y="3370254"/>
            <a:ext cx="890362" cy="890363"/>
          </a:xfrm>
          <a:prstGeom prst="rect">
            <a:avLst/>
          </a:prstGeom>
        </p:spPr>
      </p:pic>
      <p:pic>
        <p:nvPicPr>
          <p:cNvPr id="6" name="Afbeelding 1" descr="USEF outline wit.png"/>
          <p:cNvPicPr>
            <a:picLocks noChangeAspect="1"/>
          </p:cNvPicPr>
          <p:nvPr/>
        </p:nvPicPr>
        <p:blipFill rotWithShape="1">
          <a:blip r:embed="rId5">
            <a:extLst>
              <a:ext uri="{28A0092B-C50C-407E-A947-70E740481C1C}">
                <a14:useLocalDpi xmlns:a14="http://schemas.microsoft.com/office/drawing/2010/main" val="0"/>
              </a:ext>
            </a:extLst>
          </a:blip>
          <a:srcRect r="23389" b="64315"/>
          <a:stretch/>
        </p:blipFill>
        <p:spPr>
          <a:xfrm>
            <a:off x="2529066" y="2359270"/>
            <a:ext cx="1794030" cy="1908350"/>
          </a:xfrm>
          <a:prstGeom prst="rect">
            <a:avLst/>
          </a:prstGeom>
        </p:spPr>
      </p:pic>
      <p:sp>
        <p:nvSpPr>
          <p:cNvPr id="7" name="Rechthoek 11"/>
          <p:cNvSpPr>
            <a:spLocks noChangeAspect="1"/>
          </p:cNvSpPr>
          <p:nvPr/>
        </p:nvSpPr>
        <p:spPr>
          <a:xfrm>
            <a:off x="7853084" y="115165"/>
            <a:ext cx="299462" cy="2994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prstClr val="white"/>
              </a:solidFill>
              <a:latin typeface="Calibri" pitchFamily="34" charset="0"/>
            </a:endParaRPr>
          </a:p>
        </p:txBody>
      </p:sp>
      <p:sp>
        <p:nvSpPr>
          <p:cNvPr id="10" name="Rechthoek 11"/>
          <p:cNvSpPr>
            <a:spLocks noChangeAspect="1"/>
          </p:cNvSpPr>
          <p:nvPr/>
        </p:nvSpPr>
        <p:spPr>
          <a:xfrm>
            <a:off x="-1" y="480988"/>
            <a:ext cx="4323097" cy="3761197"/>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prstClr val="white"/>
              </a:solidFill>
              <a:latin typeface="Calibri" pitchFamily="34" charset="0"/>
            </a:endParaRPr>
          </a:p>
        </p:txBody>
      </p:sp>
      <p:sp>
        <p:nvSpPr>
          <p:cNvPr id="3" name="Rechthoek 10"/>
          <p:cNvSpPr>
            <a:spLocks noChangeAspect="1"/>
          </p:cNvSpPr>
          <p:nvPr/>
        </p:nvSpPr>
        <p:spPr>
          <a:xfrm>
            <a:off x="4317485" y="475369"/>
            <a:ext cx="3466767" cy="270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solidFill>
                  <a:prstClr val="white"/>
                </a:solidFill>
                <a:latin typeface="Calibri" pitchFamily="34" charset="0"/>
              </a:rPr>
              <a:t>        </a:t>
            </a:r>
            <a:endParaRPr lang="en-GB" dirty="0">
              <a:solidFill>
                <a:prstClr val="white"/>
              </a:solidFill>
              <a:latin typeface="Calibri" pitchFamily="34" charset="0"/>
            </a:endParaRPr>
          </a:p>
        </p:txBody>
      </p:sp>
      <p:sp>
        <p:nvSpPr>
          <p:cNvPr id="12" name="Tijdelijke aanduiding voor inhoud 16"/>
          <p:cNvSpPr txBox="1">
            <a:spLocks/>
          </p:cNvSpPr>
          <p:nvPr/>
        </p:nvSpPr>
        <p:spPr>
          <a:xfrm>
            <a:off x="4400360" y="628181"/>
            <a:ext cx="3000566" cy="1246698"/>
          </a:xfrm>
          <a:prstGeom prst="rect">
            <a:avLst/>
          </a:prstGeom>
        </p:spPr>
        <p:txBody>
          <a:bodyPr lIns="91417" tIns="45709" rIns="91417" bIns="45709"/>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80000"/>
              </a:lnSpc>
              <a:spcBef>
                <a:spcPts val="0"/>
              </a:spcBef>
              <a:buNone/>
            </a:pPr>
            <a:r>
              <a:rPr lang="en-GB" dirty="0" smtClean="0">
                <a:solidFill>
                  <a:prstClr val="white"/>
                </a:solidFill>
                <a:latin typeface="Calibri" pitchFamily="34" charset="0"/>
              </a:rPr>
              <a:t>Universal</a:t>
            </a:r>
          </a:p>
          <a:p>
            <a:pPr marL="0" indent="0">
              <a:lnSpc>
                <a:spcPct val="80000"/>
              </a:lnSpc>
              <a:spcBef>
                <a:spcPts val="0"/>
              </a:spcBef>
              <a:buNone/>
            </a:pPr>
            <a:r>
              <a:rPr lang="en-GB" dirty="0" smtClean="0">
                <a:solidFill>
                  <a:prstClr val="white"/>
                </a:solidFill>
                <a:latin typeface="Calibri" pitchFamily="34" charset="0"/>
              </a:rPr>
              <a:t>Smart Energy</a:t>
            </a:r>
          </a:p>
          <a:p>
            <a:pPr marL="0" indent="0">
              <a:lnSpc>
                <a:spcPct val="80000"/>
              </a:lnSpc>
              <a:spcBef>
                <a:spcPts val="0"/>
              </a:spcBef>
              <a:buNone/>
            </a:pPr>
            <a:r>
              <a:rPr lang="en-GB" dirty="0" smtClean="0">
                <a:solidFill>
                  <a:prstClr val="white"/>
                </a:solidFill>
                <a:latin typeface="Calibri" pitchFamily="34" charset="0"/>
              </a:rPr>
              <a:t>Framework</a:t>
            </a:r>
          </a:p>
        </p:txBody>
      </p:sp>
      <p:sp>
        <p:nvSpPr>
          <p:cNvPr id="13" name="Tijdelijke aanduiding voor inhoud 19"/>
          <p:cNvSpPr txBox="1">
            <a:spLocks/>
          </p:cNvSpPr>
          <p:nvPr/>
        </p:nvSpPr>
        <p:spPr>
          <a:xfrm>
            <a:off x="4400360" y="2134369"/>
            <a:ext cx="3452724" cy="717965"/>
          </a:xfrm>
          <a:prstGeom prst="rect">
            <a:avLst/>
          </a:prstGeom>
        </p:spPr>
        <p:txBody>
          <a:bodyPr lIns="91417" tIns="45709" rIns="91417" bIns="45709"/>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ts val="2300"/>
              </a:lnSpc>
              <a:spcBef>
                <a:spcPts val="0"/>
              </a:spcBef>
              <a:buNone/>
            </a:pPr>
            <a:endParaRPr lang="en-GB" sz="1800" dirty="0">
              <a:solidFill>
                <a:prstClr val="white"/>
              </a:solidFill>
              <a:latin typeface="Calibri" pitchFamily="34" charset="0"/>
            </a:endParaRPr>
          </a:p>
        </p:txBody>
      </p:sp>
      <p:sp>
        <p:nvSpPr>
          <p:cNvPr id="15" name="Rectangle 14"/>
          <p:cNvSpPr/>
          <p:nvPr/>
        </p:nvSpPr>
        <p:spPr>
          <a:xfrm>
            <a:off x="4317485" y="3169390"/>
            <a:ext cx="3466767" cy="1083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prstClr val="white"/>
              </a:solidFill>
              <a:latin typeface="Calibri" pitchFamily="34" charset="0"/>
            </a:endParaRPr>
          </a:p>
        </p:txBody>
      </p:sp>
      <p:sp>
        <p:nvSpPr>
          <p:cNvPr id="16" name="Rectangle 9"/>
          <p:cNvSpPr/>
          <p:nvPr/>
        </p:nvSpPr>
        <p:spPr>
          <a:xfrm>
            <a:off x="4400358" y="3370249"/>
            <a:ext cx="2762442" cy="682216"/>
          </a:xfrm>
          <a:prstGeom prst="rect">
            <a:avLst/>
          </a:prstGeom>
          <a:noFill/>
        </p:spPr>
        <p:txBody>
          <a:bodyPr wrap="square" lIns="91417" tIns="45709" rIns="91417" bIns="45709">
            <a:spAutoFit/>
          </a:bodyPr>
          <a:lstStyle/>
          <a:p>
            <a:pPr>
              <a:lnSpc>
                <a:spcPts val="2300"/>
              </a:lnSpc>
            </a:pPr>
            <a:r>
              <a:rPr lang="en-GB" dirty="0" smtClean="0">
                <a:solidFill>
                  <a:prstClr val="white"/>
                </a:solidFill>
                <a:latin typeface="Calibri" pitchFamily="34" charset="0"/>
              </a:rPr>
              <a:t>A solid foundation for smart energy futures</a:t>
            </a:r>
            <a:endParaRPr lang="en-GB" dirty="0">
              <a:solidFill>
                <a:prstClr val="white"/>
              </a:solidFill>
              <a:latin typeface="Calibri" pitchFamily="34" charset="0"/>
            </a:endParaRPr>
          </a:p>
        </p:txBody>
      </p:sp>
      <p:sp>
        <p:nvSpPr>
          <p:cNvPr id="14" name="Rectangle 9"/>
          <p:cNvSpPr/>
          <p:nvPr/>
        </p:nvSpPr>
        <p:spPr>
          <a:xfrm>
            <a:off x="4400359" y="2584017"/>
            <a:ext cx="3383894" cy="313910"/>
          </a:xfrm>
          <a:prstGeom prst="rect">
            <a:avLst/>
          </a:prstGeom>
          <a:noFill/>
        </p:spPr>
        <p:txBody>
          <a:bodyPr wrap="square" lIns="91417" tIns="45709" rIns="91417" bIns="45709">
            <a:spAutoFit/>
          </a:bodyPr>
          <a:lstStyle/>
          <a:p>
            <a:pPr>
              <a:lnSpc>
                <a:spcPct val="80000"/>
              </a:lnSpc>
            </a:pPr>
            <a:r>
              <a:rPr lang="en-GB" dirty="0" smtClean="0">
                <a:solidFill>
                  <a:prstClr val="white"/>
                </a:solidFill>
                <a:latin typeface="Calibri" pitchFamily="34" charset="0"/>
              </a:rPr>
              <a:t>Peter </a:t>
            </a:r>
            <a:r>
              <a:rPr lang="en-GB" dirty="0" err="1" smtClean="0">
                <a:solidFill>
                  <a:prstClr val="white"/>
                </a:solidFill>
                <a:latin typeface="Calibri" pitchFamily="34" charset="0"/>
              </a:rPr>
              <a:t>Molengraaf</a:t>
            </a:r>
            <a:r>
              <a:rPr lang="en-GB" dirty="0" smtClean="0">
                <a:solidFill>
                  <a:prstClr val="white"/>
                </a:solidFill>
                <a:latin typeface="Calibri" pitchFamily="34" charset="0"/>
              </a:rPr>
              <a:t>, CEO </a:t>
            </a:r>
            <a:r>
              <a:rPr lang="en-GB" dirty="0" err="1" smtClean="0">
                <a:solidFill>
                  <a:prstClr val="white"/>
                </a:solidFill>
                <a:latin typeface="Calibri" pitchFamily="34" charset="0"/>
              </a:rPr>
              <a:t>Alliander</a:t>
            </a:r>
            <a:endParaRPr lang="en-GB" dirty="0">
              <a:solidFill>
                <a:prstClr val="white"/>
              </a:solidFill>
              <a:latin typeface="Calibri" pitchFamily="34" charset="0"/>
            </a:endParaRPr>
          </a:p>
        </p:txBody>
      </p:sp>
    </p:spTree>
    <p:extLst>
      <p:ext uri="{BB962C8B-B14F-4D97-AF65-F5344CB8AC3E}">
        <p14:creationId xmlns:p14="http://schemas.microsoft.com/office/powerpoint/2010/main" val="26832422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heel(1)">
                                      <p:cBhvr>
                                        <p:cTn id="7" dur="1000"/>
                                        <p:tgtEl>
                                          <p:spTgt spid="10"/>
                                        </p:tgtEl>
                                      </p:cBhvr>
                                    </p:animEffect>
                                  </p:childTnLst>
                                </p:cTn>
                              </p:par>
                              <p:par>
                                <p:cTn id="8" presetID="10" presetClass="entr" presetSubtype="0" fill="hold"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125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nodeType="withEffect">
                                  <p:stCondLst>
                                    <p:cond delay="5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3" grpId="0" animBg="1"/>
      <p:bldP spid="1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Freeform 62"/>
          <p:cNvSpPr/>
          <p:nvPr/>
        </p:nvSpPr>
        <p:spPr>
          <a:xfrm>
            <a:off x="4262391" y="3370264"/>
            <a:ext cx="531285" cy="1087436"/>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53935 w 3453935"/>
              <a:gd name="connsiteY0" fmla="*/ 1776412 h 1776412"/>
              <a:gd name="connsiteX1" fmla="*/ 3453935 w 3453935"/>
              <a:gd name="connsiteY1" fmla="*/ 1481137 h 1776412"/>
              <a:gd name="connsiteX2" fmla="*/ 15410 w 3453935"/>
              <a:gd name="connsiteY2" fmla="*/ 1481137 h 1776412"/>
              <a:gd name="connsiteX3" fmla="*/ 0 w 3453935"/>
              <a:gd name="connsiteY3" fmla="*/ 0 h 1776412"/>
              <a:gd name="connsiteX0" fmla="*/ 3438525 w 3438525"/>
              <a:gd name="connsiteY0" fmla="*/ 1027112 h 1027112"/>
              <a:gd name="connsiteX1" fmla="*/ 3438525 w 3438525"/>
              <a:gd name="connsiteY1" fmla="*/ 731837 h 1027112"/>
              <a:gd name="connsiteX2" fmla="*/ 0 w 3438525"/>
              <a:gd name="connsiteY2" fmla="*/ 731837 h 1027112"/>
              <a:gd name="connsiteX3" fmla="*/ 5139 w 3438525"/>
              <a:gd name="connsiteY3" fmla="*/ 0 h 1027112"/>
              <a:gd name="connsiteX0" fmla="*/ 3438525 w 3438525"/>
              <a:gd name="connsiteY0" fmla="*/ 1017587 h 1017587"/>
              <a:gd name="connsiteX1" fmla="*/ 3438525 w 3438525"/>
              <a:gd name="connsiteY1" fmla="*/ 722312 h 1017587"/>
              <a:gd name="connsiteX2" fmla="*/ 0 w 3438525"/>
              <a:gd name="connsiteY2" fmla="*/ 722312 h 1017587"/>
              <a:gd name="connsiteX3" fmla="*/ 20549 w 3438525"/>
              <a:gd name="connsiteY3" fmla="*/ 0 h 1017587"/>
              <a:gd name="connsiteX0" fmla="*/ 3438525 w 3438525"/>
              <a:gd name="connsiteY0" fmla="*/ 1019968 h 1019968"/>
              <a:gd name="connsiteX1" fmla="*/ 3438525 w 3438525"/>
              <a:gd name="connsiteY1" fmla="*/ 724693 h 1019968"/>
              <a:gd name="connsiteX2" fmla="*/ 0 w 3438525"/>
              <a:gd name="connsiteY2" fmla="*/ 724693 h 1019968"/>
              <a:gd name="connsiteX3" fmla="*/ 5139 w 3438525"/>
              <a:gd name="connsiteY3" fmla="*/ 0 h 1019968"/>
              <a:gd name="connsiteX0" fmla="*/ 3438525 w 3438525"/>
              <a:gd name="connsiteY0" fmla="*/ 1194593 h 1194593"/>
              <a:gd name="connsiteX1" fmla="*/ 3438525 w 3438525"/>
              <a:gd name="connsiteY1" fmla="*/ 899318 h 1194593"/>
              <a:gd name="connsiteX2" fmla="*/ 0 w 3438525"/>
              <a:gd name="connsiteY2" fmla="*/ 899318 h 1194593"/>
              <a:gd name="connsiteX3" fmla="*/ 5139 w 3438525"/>
              <a:gd name="connsiteY3" fmla="*/ 0 h 1194593"/>
              <a:gd name="connsiteX0" fmla="*/ 3438525 w 3438525"/>
              <a:gd name="connsiteY0" fmla="*/ 1085055 h 1085055"/>
              <a:gd name="connsiteX1" fmla="*/ 3438525 w 3438525"/>
              <a:gd name="connsiteY1" fmla="*/ 789780 h 1085055"/>
              <a:gd name="connsiteX2" fmla="*/ 0 w 3438525"/>
              <a:gd name="connsiteY2" fmla="*/ 789780 h 1085055"/>
              <a:gd name="connsiteX3" fmla="*/ 5139 w 3438525"/>
              <a:gd name="connsiteY3" fmla="*/ 0 h 1085055"/>
              <a:gd name="connsiteX0" fmla="*/ 3438525 w 3438525"/>
              <a:gd name="connsiteY0" fmla="*/ 1087436 h 1087436"/>
              <a:gd name="connsiteX1" fmla="*/ 3438525 w 3438525"/>
              <a:gd name="connsiteY1" fmla="*/ 792161 h 1087436"/>
              <a:gd name="connsiteX2" fmla="*/ 0 w 3438525"/>
              <a:gd name="connsiteY2" fmla="*/ 792161 h 1087436"/>
              <a:gd name="connsiteX3" fmla="*/ 20555 w 3438525"/>
              <a:gd name="connsiteY3" fmla="*/ 0 h 1087436"/>
              <a:gd name="connsiteX0" fmla="*/ 3438525 w 3438525"/>
              <a:gd name="connsiteY0" fmla="*/ 1087436 h 1087436"/>
              <a:gd name="connsiteX1" fmla="*/ 3438525 w 3438525"/>
              <a:gd name="connsiteY1" fmla="*/ 792161 h 1087436"/>
              <a:gd name="connsiteX2" fmla="*/ 0 w 3438525"/>
              <a:gd name="connsiteY2" fmla="*/ 792161 h 1087436"/>
              <a:gd name="connsiteX3" fmla="*/ 5145 w 3438525"/>
              <a:gd name="connsiteY3" fmla="*/ 0 h 1087436"/>
            </a:gdLst>
            <a:ahLst/>
            <a:cxnLst>
              <a:cxn ang="0">
                <a:pos x="connsiteX0" y="connsiteY0"/>
              </a:cxn>
              <a:cxn ang="0">
                <a:pos x="connsiteX1" y="connsiteY1"/>
              </a:cxn>
              <a:cxn ang="0">
                <a:pos x="connsiteX2" y="connsiteY2"/>
              </a:cxn>
              <a:cxn ang="0">
                <a:pos x="connsiteX3" y="connsiteY3"/>
              </a:cxn>
            </a:cxnLst>
            <a:rect l="l" t="t" r="r" b="b"/>
            <a:pathLst>
              <a:path w="3438525" h="1087436">
                <a:moveTo>
                  <a:pt x="3438525" y="1087436"/>
                </a:moveTo>
                <a:lnTo>
                  <a:pt x="3438525" y="792161"/>
                </a:lnTo>
                <a:lnTo>
                  <a:pt x="0" y="792161"/>
                </a:lnTo>
                <a:lnTo>
                  <a:pt x="5145"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sp>
        <p:nvSpPr>
          <p:cNvPr id="64" name="Freeform 63"/>
          <p:cNvSpPr/>
          <p:nvPr/>
        </p:nvSpPr>
        <p:spPr>
          <a:xfrm flipH="1">
            <a:off x="5183089" y="2366969"/>
            <a:ext cx="2155874" cy="2090737"/>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53717 w 3453717"/>
              <a:gd name="connsiteY0" fmla="*/ 2081212 h 2081212"/>
              <a:gd name="connsiteX1" fmla="*/ 3453717 w 3453717"/>
              <a:gd name="connsiteY1" fmla="*/ 1785937 h 2081212"/>
              <a:gd name="connsiteX2" fmla="*/ 15192 w 3453717"/>
              <a:gd name="connsiteY2" fmla="*/ 1785937 h 2081212"/>
              <a:gd name="connsiteX3" fmla="*/ 0 w 3453717"/>
              <a:gd name="connsiteY3" fmla="*/ 0 h 2081212"/>
              <a:gd name="connsiteX0" fmla="*/ 3438525 w 3438525"/>
              <a:gd name="connsiteY0" fmla="*/ 2090737 h 2090737"/>
              <a:gd name="connsiteX1" fmla="*/ 3438525 w 3438525"/>
              <a:gd name="connsiteY1" fmla="*/ 1795462 h 2090737"/>
              <a:gd name="connsiteX2" fmla="*/ 0 w 3438525"/>
              <a:gd name="connsiteY2" fmla="*/ 1795462 h 2090737"/>
              <a:gd name="connsiteX3" fmla="*/ 0 w 3438525"/>
              <a:gd name="connsiteY3" fmla="*/ 0 h 2090737"/>
            </a:gdLst>
            <a:ahLst/>
            <a:cxnLst>
              <a:cxn ang="0">
                <a:pos x="connsiteX0" y="connsiteY0"/>
              </a:cxn>
              <a:cxn ang="0">
                <a:pos x="connsiteX1" y="connsiteY1"/>
              </a:cxn>
              <a:cxn ang="0">
                <a:pos x="connsiteX2" y="connsiteY2"/>
              </a:cxn>
              <a:cxn ang="0">
                <a:pos x="connsiteX3" y="connsiteY3"/>
              </a:cxn>
            </a:cxnLst>
            <a:rect l="l" t="t" r="r" b="b"/>
            <a:pathLst>
              <a:path w="3438525" h="2090737">
                <a:moveTo>
                  <a:pt x="3438525" y="2090737"/>
                </a:moveTo>
                <a:lnTo>
                  <a:pt x="3438525" y="1795462"/>
                </a:lnTo>
                <a:lnTo>
                  <a:pt x="0" y="1795462"/>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grpSp>
        <p:nvGrpSpPr>
          <p:cNvPr id="65" name="Group 64"/>
          <p:cNvGrpSpPr/>
          <p:nvPr/>
        </p:nvGrpSpPr>
        <p:grpSpPr>
          <a:xfrm>
            <a:off x="3341691" y="1047757"/>
            <a:ext cx="2486025" cy="2571749"/>
            <a:chOff x="3341688" y="1047750"/>
            <a:chExt cx="2486025" cy="2571749"/>
          </a:xfrm>
        </p:grpSpPr>
        <p:grpSp>
          <p:nvGrpSpPr>
            <p:cNvPr id="66" name="Group 65"/>
            <p:cNvGrpSpPr/>
            <p:nvPr/>
          </p:nvGrpSpPr>
          <p:grpSpPr>
            <a:xfrm>
              <a:off x="5183089" y="1047750"/>
              <a:ext cx="644624" cy="644624"/>
              <a:chOff x="5183089" y="1047750"/>
              <a:chExt cx="644624" cy="644624"/>
            </a:xfrm>
          </p:grpSpPr>
          <p:sp>
            <p:nvSpPr>
              <p:cNvPr id="71" name="Rechthoek 10"/>
              <p:cNvSpPr>
                <a:spLocks noChangeAspect="1"/>
              </p:cNvSpPr>
              <p:nvPr/>
            </p:nvSpPr>
            <p:spPr>
              <a:xfrm>
                <a:off x="5183089"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pic>
            <p:nvPicPr>
              <p:cNvPr id="72" name="Afbeelding 1" descr="USEF outline wit.png"/>
              <p:cNvPicPr>
                <a:picLocks noChangeAspect="1"/>
              </p:cNvPicPr>
              <p:nvPr/>
            </p:nvPicPr>
            <p:blipFill rotWithShape="1">
              <a:blip r:embed="rId3">
                <a:extLst>
                  <a:ext uri="{28A0092B-C50C-407E-A947-70E740481C1C}">
                    <a14:useLocalDpi xmlns:a14="http://schemas.microsoft.com/office/drawing/2010/main" val="0"/>
                  </a:ext>
                </a:extLst>
              </a:blip>
              <a:srcRect r="23389" b="64315"/>
              <a:stretch/>
            </p:blipFill>
            <p:spPr>
              <a:xfrm>
                <a:off x="5250657" y="1078546"/>
                <a:ext cx="577056" cy="613828"/>
              </a:xfrm>
              <a:prstGeom prst="rect">
                <a:avLst/>
              </a:prstGeom>
            </p:spPr>
          </p:pic>
        </p:grpSp>
        <p:sp>
          <p:nvSpPr>
            <p:cNvPr id="67" name="Rechthoek 10"/>
            <p:cNvSpPr>
              <a:spLocks noChangeAspect="1"/>
            </p:cNvSpPr>
            <p:nvPr/>
          </p:nvSpPr>
          <p:spPr>
            <a:xfrm>
              <a:off x="3341688" y="1778098"/>
              <a:ext cx="1841401" cy="184140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68" name="Titel 7"/>
            <p:cNvSpPr txBox="1">
              <a:spLocks/>
            </p:cNvSpPr>
            <p:nvPr/>
          </p:nvSpPr>
          <p:spPr>
            <a:xfrm>
              <a:off x="3419873" y="1809802"/>
              <a:ext cx="1561090" cy="640875"/>
            </a:xfrm>
            <a:prstGeom prst="rect">
              <a:avLst/>
            </a:prstGeom>
          </p:spPr>
          <p:txBody>
            <a:bodyPr lIns="0" tIns="34290" rIns="68580" bIns="3429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framework</a:t>
              </a:r>
            </a:p>
          </p:txBody>
        </p:sp>
        <p:sp>
          <p:nvSpPr>
            <p:cNvPr id="69" name="Titel 7"/>
            <p:cNvSpPr txBox="1">
              <a:spLocks/>
            </p:cNvSpPr>
            <p:nvPr/>
          </p:nvSpPr>
          <p:spPr>
            <a:xfrm>
              <a:off x="3419872" y="2932444"/>
              <a:ext cx="1763215" cy="640875"/>
            </a:xfrm>
            <a:prstGeom prst="rect">
              <a:avLst/>
            </a:prstGeom>
          </p:spPr>
          <p:txBody>
            <a:bodyPr lIns="0" tIns="34290" rIns="68580" bIns="34290"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How USEF supports an optimal flexibility market</a:t>
              </a:r>
            </a:p>
          </p:txBody>
        </p:sp>
        <p:sp>
          <p:nvSpPr>
            <p:cNvPr id="70" name="Rechthoek 10"/>
            <p:cNvSpPr>
              <a:spLocks noChangeAspect="1"/>
            </p:cNvSpPr>
            <p:nvPr/>
          </p:nvSpPr>
          <p:spPr>
            <a:xfrm>
              <a:off x="3341688" y="1778097"/>
              <a:ext cx="1841401" cy="1841401"/>
            </a:xfrm>
            <a:prstGeom prst="rect">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grpSp>
        <p:nvGrpSpPr>
          <p:cNvPr id="73" name="Group 72"/>
          <p:cNvGrpSpPr/>
          <p:nvPr/>
        </p:nvGrpSpPr>
        <p:grpSpPr>
          <a:xfrm>
            <a:off x="6418264" y="1047757"/>
            <a:ext cx="2486024" cy="2571749"/>
            <a:chOff x="6418264" y="1047750"/>
            <a:chExt cx="2486024" cy="2571749"/>
          </a:xfrm>
        </p:grpSpPr>
        <p:grpSp>
          <p:nvGrpSpPr>
            <p:cNvPr id="74" name="Group 73"/>
            <p:cNvGrpSpPr/>
            <p:nvPr/>
          </p:nvGrpSpPr>
          <p:grpSpPr>
            <a:xfrm>
              <a:off x="8259665" y="1047750"/>
              <a:ext cx="644623" cy="644623"/>
              <a:chOff x="8259665" y="1047750"/>
              <a:chExt cx="644623" cy="644623"/>
            </a:xfrm>
          </p:grpSpPr>
          <p:sp>
            <p:nvSpPr>
              <p:cNvPr id="79" name="Rechthoek 10"/>
              <p:cNvSpPr>
                <a:spLocks noChangeAspect="1"/>
              </p:cNvSpPr>
              <p:nvPr/>
            </p:nvSpPr>
            <p:spPr>
              <a:xfrm>
                <a:off x="8259665"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80" name="Freeform 197"/>
              <p:cNvSpPr>
                <a:spLocks noEditPoints="1"/>
              </p:cNvSpPr>
              <p:nvPr/>
            </p:nvSpPr>
            <p:spPr bwMode="auto">
              <a:xfrm>
                <a:off x="8352033" y="1158387"/>
                <a:ext cx="459886" cy="423348"/>
              </a:xfrm>
              <a:custGeom>
                <a:avLst/>
                <a:gdLst>
                  <a:gd name="T0" fmla="*/ 27 w 400"/>
                  <a:gd name="T1" fmla="*/ 60 h 368"/>
                  <a:gd name="T2" fmla="*/ 53 w 400"/>
                  <a:gd name="T3" fmla="*/ 104 h 368"/>
                  <a:gd name="T4" fmla="*/ 134 w 400"/>
                  <a:gd name="T5" fmla="*/ 305 h 368"/>
                  <a:gd name="T6" fmla="*/ 139 w 400"/>
                  <a:gd name="T7" fmla="*/ 307 h 368"/>
                  <a:gd name="T8" fmla="*/ 191 w 400"/>
                  <a:gd name="T9" fmla="*/ 109 h 368"/>
                  <a:gd name="T10" fmla="*/ 134 w 400"/>
                  <a:gd name="T11" fmla="*/ 305 h 368"/>
                  <a:gd name="T12" fmla="*/ 134 w 400"/>
                  <a:gd name="T13" fmla="*/ 33 h 368"/>
                  <a:gd name="T14" fmla="*/ 134 w 400"/>
                  <a:gd name="T15" fmla="*/ 83 h 368"/>
                  <a:gd name="T16" fmla="*/ 253 w 400"/>
                  <a:gd name="T17" fmla="*/ 68 h 368"/>
                  <a:gd name="T18" fmla="*/ 247 w 400"/>
                  <a:gd name="T19" fmla="*/ 66 h 368"/>
                  <a:gd name="T20" fmla="*/ 253 w 400"/>
                  <a:gd name="T21" fmla="*/ 339 h 368"/>
                  <a:gd name="T22" fmla="*/ 201 w 400"/>
                  <a:gd name="T23" fmla="*/ 232 h 368"/>
                  <a:gd name="T24" fmla="*/ 63 w 400"/>
                  <a:gd name="T25" fmla="*/ 101 h 368"/>
                  <a:gd name="T26" fmla="*/ 131 w 400"/>
                  <a:gd name="T27" fmla="*/ 33 h 368"/>
                  <a:gd name="T28" fmla="*/ 63 w 400"/>
                  <a:gd name="T29" fmla="*/ 101 h 368"/>
                  <a:gd name="T30" fmla="*/ 125 w 400"/>
                  <a:gd name="T31" fmla="*/ 306 h 368"/>
                  <a:gd name="T32" fmla="*/ 131 w 400"/>
                  <a:gd name="T33" fmla="*/ 305 h 368"/>
                  <a:gd name="T34" fmla="*/ 27 w 400"/>
                  <a:gd name="T35" fmla="*/ 120 h 368"/>
                  <a:gd name="T36" fmla="*/ 201 w 400"/>
                  <a:gd name="T37" fmla="*/ 221 h 368"/>
                  <a:gd name="T38" fmla="*/ 253 w 400"/>
                  <a:gd name="T39" fmla="*/ 126 h 368"/>
                  <a:gd name="T40" fmla="*/ 201 w 400"/>
                  <a:gd name="T41" fmla="*/ 221 h 368"/>
                  <a:gd name="T42" fmla="*/ 256 w 400"/>
                  <a:gd name="T43" fmla="*/ 116 h 368"/>
                  <a:gd name="T44" fmla="*/ 373 w 400"/>
                  <a:gd name="T45" fmla="*/ 35 h 368"/>
                  <a:gd name="T46" fmla="*/ 258 w 400"/>
                  <a:gd name="T47" fmla="*/ 67 h 368"/>
                  <a:gd name="T48" fmla="*/ 254 w 400"/>
                  <a:gd name="T49" fmla="*/ 40 h 368"/>
                  <a:gd name="T50" fmla="*/ 0 w 400"/>
                  <a:gd name="T51" fmla="*/ 39 h 368"/>
                  <a:gd name="T52" fmla="*/ 132 w 400"/>
                  <a:gd name="T53" fmla="*/ 332 h 368"/>
                  <a:gd name="T54" fmla="*/ 387 w 400"/>
                  <a:gd name="T55" fmla="*/ 333 h 368"/>
                  <a:gd name="T56" fmla="*/ 400 w 400"/>
                  <a:gd name="T57" fmla="*/ 0 h 368"/>
                  <a:gd name="T58" fmla="*/ 387 w 400"/>
                  <a:gd name="T59" fmla="*/ 319 h 368"/>
                  <a:gd name="T60" fmla="*/ 136 w 400"/>
                  <a:gd name="T61" fmla="*/ 320 h 368"/>
                  <a:gd name="T62" fmla="*/ 128 w 400"/>
                  <a:gd name="T63" fmla="*/ 319 h 368"/>
                  <a:gd name="T64" fmla="*/ 13 w 400"/>
                  <a:gd name="T65" fmla="*/ 49 h 368"/>
                  <a:gd name="T66" fmla="*/ 250 w 400"/>
                  <a:gd name="T67" fmla="*/ 53 h 368"/>
                  <a:gd name="T68" fmla="*/ 258 w 400"/>
                  <a:gd name="T69" fmla="*/ 53 h 368"/>
                  <a:gd name="T70" fmla="*/ 387 w 400"/>
                  <a:gd name="T71" fmla="*/ 319 h 368"/>
                  <a:gd name="T72" fmla="*/ 256 w 400"/>
                  <a:gd name="T73" fmla="*/ 339 h 368"/>
                  <a:gd name="T74" fmla="*/ 345 w 400"/>
                  <a:gd name="T75" fmla="*/ 236 h 368"/>
                  <a:gd name="T76" fmla="*/ 256 w 400"/>
                  <a:gd name="T77" fmla="*/ 339 h 368"/>
                  <a:gd name="T78" fmla="*/ 373 w 400"/>
                  <a:gd name="T79" fmla="*/ 219 h 368"/>
                  <a:gd name="T80" fmla="*/ 256 w 400"/>
                  <a:gd name="T81" fmla="*/ 126 h 368"/>
                  <a:gd name="T82" fmla="*/ 355 w 400"/>
                  <a:gd name="T83" fmla="*/ 313 h 368"/>
                  <a:gd name="T84" fmla="*/ 373 w 400"/>
                  <a:gd name="T85" fmla="*/ 228 h 368"/>
                  <a:gd name="T86" fmla="*/ 355 w 400"/>
                  <a:gd name="T87" fmla="*/ 313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0" h="368">
                    <a:moveTo>
                      <a:pt x="53" y="53"/>
                    </a:moveTo>
                    <a:cubicBezTo>
                      <a:pt x="27" y="60"/>
                      <a:pt x="27" y="60"/>
                      <a:pt x="27" y="60"/>
                    </a:cubicBezTo>
                    <a:cubicBezTo>
                      <a:pt x="27" y="111"/>
                      <a:pt x="27" y="111"/>
                      <a:pt x="27" y="111"/>
                    </a:cubicBezTo>
                    <a:cubicBezTo>
                      <a:pt x="53" y="104"/>
                      <a:pt x="53" y="104"/>
                      <a:pt x="53" y="104"/>
                    </a:cubicBezTo>
                    <a:lnTo>
                      <a:pt x="53" y="53"/>
                    </a:lnTo>
                    <a:close/>
                    <a:moveTo>
                      <a:pt x="134" y="305"/>
                    </a:moveTo>
                    <a:cubicBezTo>
                      <a:pt x="136" y="306"/>
                      <a:pt x="136" y="306"/>
                      <a:pt x="136" y="306"/>
                    </a:cubicBezTo>
                    <a:cubicBezTo>
                      <a:pt x="139" y="307"/>
                      <a:pt x="139" y="307"/>
                      <a:pt x="139" y="307"/>
                    </a:cubicBezTo>
                    <a:cubicBezTo>
                      <a:pt x="191" y="321"/>
                      <a:pt x="191" y="321"/>
                      <a:pt x="191" y="321"/>
                    </a:cubicBezTo>
                    <a:cubicBezTo>
                      <a:pt x="191" y="109"/>
                      <a:pt x="191" y="109"/>
                      <a:pt x="191" y="109"/>
                    </a:cubicBezTo>
                    <a:cubicBezTo>
                      <a:pt x="134" y="93"/>
                      <a:pt x="134" y="93"/>
                      <a:pt x="134" y="93"/>
                    </a:cubicBezTo>
                    <a:lnTo>
                      <a:pt x="134" y="305"/>
                    </a:lnTo>
                    <a:close/>
                    <a:moveTo>
                      <a:pt x="247" y="66"/>
                    </a:moveTo>
                    <a:cubicBezTo>
                      <a:pt x="134" y="33"/>
                      <a:pt x="134" y="33"/>
                      <a:pt x="134" y="33"/>
                    </a:cubicBezTo>
                    <a:cubicBezTo>
                      <a:pt x="134" y="33"/>
                      <a:pt x="134" y="33"/>
                      <a:pt x="134" y="33"/>
                    </a:cubicBezTo>
                    <a:cubicBezTo>
                      <a:pt x="134" y="83"/>
                      <a:pt x="134" y="83"/>
                      <a:pt x="134" y="83"/>
                    </a:cubicBezTo>
                    <a:cubicBezTo>
                      <a:pt x="253" y="116"/>
                      <a:pt x="253" y="116"/>
                      <a:pt x="253" y="116"/>
                    </a:cubicBezTo>
                    <a:cubicBezTo>
                      <a:pt x="253" y="68"/>
                      <a:pt x="253" y="68"/>
                      <a:pt x="253" y="68"/>
                    </a:cubicBezTo>
                    <a:cubicBezTo>
                      <a:pt x="250" y="67"/>
                      <a:pt x="250" y="67"/>
                      <a:pt x="250" y="67"/>
                    </a:cubicBezTo>
                    <a:lnTo>
                      <a:pt x="247" y="66"/>
                    </a:lnTo>
                    <a:close/>
                    <a:moveTo>
                      <a:pt x="201" y="324"/>
                    </a:moveTo>
                    <a:cubicBezTo>
                      <a:pt x="253" y="339"/>
                      <a:pt x="253" y="339"/>
                      <a:pt x="253" y="339"/>
                    </a:cubicBezTo>
                    <a:cubicBezTo>
                      <a:pt x="253" y="259"/>
                      <a:pt x="253" y="259"/>
                      <a:pt x="253" y="259"/>
                    </a:cubicBezTo>
                    <a:cubicBezTo>
                      <a:pt x="201" y="232"/>
                      <a:pt x="201" y="232"/>
                      <a:pt x="201" y="232"/>
                    </a:cubicBezTo>
                    <a:lnTo>
                      <a:pt x="201" y="324"/>
                    </a:lnTo>
                    <a:close/>
                    <a:moveTo>
                      <a:pt x="63" y="101"/>
                    </a:moveTo>
                    <a:cubicBezTo>
                      <a:pt x="131" y="84"/>
                      <a:pt x="131" y="84"/>
                      <a:pt x="131" y="84"/>
                    </a:cubicBezTo>
                    <a:cubicBezTo>
                      <a:pt x="131" y="33"/>
                      <a:pt x="131" y="33"/>
                      <a:pt x="131" y="33"/>
                    </a:cubicBezTo>
                    <a:cubicBezTo>
                      <a:pt x="63" y="51"/>
                      <a:pt x="63" y="51"/>
                      <a:pt x="63" y="51"/>
                    </a:cubicBezTo>
                    <a:lnTo>
                      <a:pt x="63" y="101"/>
                    </a:lnTo>
                    <a:close/>
                    <a:moveTo>
                      <a:pt x="27" y="333"/>
                    </a:moveTo>
                    <a:cubicBezTo>
                      <a:pt x="125" y="306"/>
                      <a:pt x="125" y="306"/>
                      <a:pt x="125" y="306"/>
                    </a:cubicBezTo>
                    <a:cubicBezTo>
                      <a:pt x="129" y="306"/>
                      <a:pt x="129" y="306"/>
                      <a:pt x="129" y="306"/>
                    </a:cubicBezTo>
                    <a:cubicBezTo>
                      <a:pt x="131" y="305"/>
                      <a:pt x="131" y="305"/>
                      <a:pt x="131" y="305"/>
                    </a:cubicBezTo>
                    <a:cubicBezTo>
                      <a:pt x="131" y="93"/>
                      <a:pt x="131" y="93"/>
                      <a:pt x="131" y="93"/>
                    </a:cubicBezTo>
                    <a:cubicBezTo>
                      <a:pt x="27" y="120"/>
                      <a:pt x="27" y="120"/>
                      <a:pt x="27" y="120"/>
                    </a:cubicBezTo>
                    <a:lnTo>
                      <a:pt x="27" y="333"/>
                    </a:lnTo>
                    <a:close/>
                    <a:moveTo>
                      <a:pt x="201" y="221"/>
                    </a:moveTo>
                    <a:cubicBezTo>
                      <a:pt x="253" y="248"/>
                      <a:pt x="253" y="248"/>
                      <a:pt x="253" y="248"/>
                    </a:cubicBezTo>
                    <a:cubicBezTo>
                      <a:pt x="253" y="126"/>
                      <a:pt x="253" y="126"/>
                      <a:pt x="253" y="126"/>
                    </a:cubicBezTo>
                    <a:cubicBezTo>
                      <a:pt x="201" y="112"/>
                      <a:pt x="201" y="112"/>
                      <a:pt x="201" y="112"/>
                    </a:cubicBezTo>
                    <a:lnTo>
                      <a:pt x="201" y="221"/>
                    </a:lnTo>
                    <a:close/>
                    <a:moveTo>
                      <a:pt x="256" y="68"/>
                    </a:moveTo>
                    <a:cubicBezTo>
                      <a:pt x="256" y="116"/>
                      <a:pt x="256" y="116"/>
                      <a:pt x="256" y="116"/>
                    </a:cubicBezTo>
                    <a:cubicBezTo>
                      <a:pt x="373" y="85"/>
                      <a:pt x="373" y="85"/>
                      <a:pt x="373" y="85"/>
                    </a:cubicBezTo>
                    <a:cubicBezTo>
                      <a:pt x="373" y="35"/>
                      <a:pt x="373" y="35"/>
                      <a:pt x="373" y="35"/>
                    </a:cubicBezTo>
                    <a:cubicBezTo>
                      <a:pt x="261" y="66"/>
                      <a:pt x="261" y="66"/>
                      <a:pt x="261" y="66"/>
                    </a:cubicBezTo>
                    <a:cubicBezTo>
                      <a:pt x="258" y="67"/>
                      <a:pt x="258" y="67"/>
                      <a:pt x="258" y="67"/>
                    </a:cubicBezTo>
                    <a:lnTo>
                      <a:pt x="256" y="68"/>
                    </a:lnTo>
                    <a:close/>
                    <a:moveTo>
                      <a:pt x="254" y="40"/>
                    </a:moveTo>
                    <a:cubicBezTo>
                      <a:pt x="135" y="5"/>
                      <a:pt x="135" y="5"/>
                      <a:pt x="135" y="5"/>
                    </a:cubicBezTo>
                    <a:cubicBezTo>
                      <a:pt x="0" y="39"/>
                      <a:pt x="0" y="39"/>
                      <a:pt x="0" y="39"/>
                    </a:cubicBezTo>
                    <a:cubicBezTo>
                      <a:pt x="0" y="368"/>
                      <a:pt x="0" y="368"/>
                      <a:pt x="0" y="368"/>
                    </a:cubicBezTo>
                    <a:cubicBezTo>
                      <a:pt x="132" y="332"/>
                      <a:pt x="132" y="332"/>
                      <a:pt x="132" y="332"/>
                    </a:cubicBezTo>
                    <a:cubicBezTo>
                      <a:pt x="256" y="367"/>
                      <a:pt x="256" y="367"/>
                      <a:pt x="256" y="367"/>
                    </a:cubicBezTo>
                    <a:cubicBezTo>
                      <a:pt x="256" y="367"/>
                      <a:pt x="376" y="335"/>
                      <a:pt x="387" y="333"/>
                    </a:cubicBezTo>
                    <a:cubicBezTo>
                      <a:pt x="398" y="330"/>
                      <a:pt x="400" y="327"/>
                      <a:pt x="400" y="315"/>
                    </a:cubicBezTo>
                    <a:cubicBezTo>
                      <a:pt x="400" y="310"/>
                      <a:pt x="400" y="0"/>
                      <a:pt x="400" y="0"/>
                    </a:cubicBezTo>
                    <a:lnTo>
                      <a:pt x="254" y="40"/>
                    </a:lnTo>
                    <a:close/>
                    <a:moveTo>
                      <a:pt x="387" y="319"/>
                    </a:moveTo>
                    <a:cubicBezTo>
                      <a:pt x="256" y="353"/>
                      <a:pt x="256" y="353"/>
                      <a:pt x="256" y="353"/>
                    </a:cubicBezTo>
                    <a:cubicBezTo>
                      <a:pt x="136" y="320"/>
                      <a:pt x="136" y="320"/>
                      <a:pt x="136" y="320"/>
                    </a:cubicBezTo>
                    <a:cubicBezTo>
                      <a:pt x="132" y="319"/>
                      <a:pt x="132" y="319"/>
                      <a:pt x="132" y="319"/>
                    </a:cubicBezTo>
                    <a:cubicBezTo>
                      <a:pt x="128" y="319"/>
                      <a:pt x="128" y="319"/>
                      <a:pt x="128" y="319"/>
                    </a:cubicBezTo>
                    <a:cubicBezTo>
                      <a:pt x="13" y="350"/>
                      <a:pt x="13" y="350"/>
                      <a:pt x="13" y="350"/>
                    </a:cubicBezTo>
                    <a:cubicBezTo>
                      <a:pt x="13" y="49"/>
                      <a:pt x="13" y="49"/>
                      <a:pt x="13" y="49"/>
                    </a:cubicBezTo>
                    <a:cubicBezTo>
                      <a:pt x="134" y="19"/>
                      <a:pt x="134" y="19"/>
                      <a:pt x="134" y="19"/>
                    </a:cubicBezTo>
                    <a:cubicBezTo>
                      <a:pt x="250" y="53"/>
                      <a:pt x="250" y="53"/>
                      <a:pt x="250" y="53"/>
                    </a:cubicBezTo>
                    <a:cubicBezTo>
                      <a:pt x="254" y="54"/>
                      <a:pt x="254" y="54"/>
                      <a:pt x="254" y="54"/>
                    </a:cubicBezTo>
                    <a:cubicBezTo>
                      <a:pt x="258" y="53"/>
                      <a:pt x="258" y="53"/>
                      <a:pt x="258" y="53"/>
                    </a:cubicBezTo>
                    <a:cubicBezTo>
                      <a:pt x="387" y="18"/>
                      <a:pt x="387" y="18"/>
                      <a:pt x="387" y="18"/>
                    </a:cubicBezTo>
                    <a:cubicBezTo>
                      <a:pt x="387" y="319"/>
                      <a:pt x="387" y="319"/>
                      <a:pt x="387" y="319"/>
                    </a:cubicBezTo>
                    <a:close/>
                    <a:moveTo>
                      <a:pt x="256" y="339"/>
                    </a:moveTo>
                    <a:cubicBezTo>
                      <a:pt x="256" y="339"/>
                      <a:pt x="256" y="339"/>
                      <a:pt x="256" y="339"/>
                    </a:cubicBezTo>
                    <a:cubicBezTo>
                      <a:pt x="345" y="316"/>
                      <a:pt x="345" y="316"/>
                      <a:pt x="345" y="316"/>
                    </a:cubicBezTo>
                    <a:cubicBezTo>
                      <a:pt x="345" y="236"/>
                      <a:pt x="345" y="236"/>
                      <a:pt x="345" y="236"/>
                    </a:cubicBezTo>
                    <a:cubicBezTo>
                      <a:pt x="256" y="259"/>
                      <a:pt x="256" y="259"/>
                      <a:pt x="256" y="259"/>
                    </a:cubicBezTo>
                    <a:lnTo>
                      <a:pt x="256" y="339"/>
                    </a:lnTo>
                    <a:close/>
                    <a:moveTo>
                      <a:pt x="256" y="249"/>
                    </a:moveTo>
                    <a:cubicBezTo>
                      <a:pt x="373" y="219"/>
                      <a:pt x="373" y="219"/>
                      <a:pt x="373" y="219"/>
                    </a:cubicBezTo>
                    <a:cubicBezTo>
                      <a:pt x="373" y="94"/>
                      <a:pt x="373" y="94"/>
                      <a:pt x="373" y="94"/>
                    </a:cubicBezTo>
                    <a:cubicBezTo>
                      <a:pt x="256" y="126"/>
                      <a:pt x="256" y="126"/>
                      <a:pt x="256" y="126"/>
                    </a:cubicBezTo>
                    <a:lnTo>
                      <a:pt x="256" y="249"/>
                    </a:lnTo>
                    <a:close/>
                    <a:moveTo>
                      <a:pt x="355" y="313"/>
                    </a:moveTo>
                    <a:cubicBezTo>
                      <a:pt x="373" y="308"/>
                      <a:pt x="373" y="308"/>
                      <a:pt x="373" y="308"/>
                    </a:cubicBezTo>
                    <a:cubicBezTo>
                      <a:pt x="373" y="228"/>
                      <a:pt x="373" y="228"/>
                      <a:pt x="373" y="228"/>
                    </a:cubicBezTo>
                    <a:cubicBezTo>
                      <a:pt x="355" y="233"/>
                      <a:pt x="355" y="233"/>
                      <a:pt x="355" y="233"/>
                    </a:cubicBezTo>
                    <a:lnTo>
                      <a:pt x="355" y="31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75" name="Rechthoek 10"/>
            <p:cNvSpPr>
              <a:spLocks noChangeAspect="1"/>
            </p:cNvSpPr>
            <p:nvPr/>
          </p:nvSpPr>
          <p:spPr>
            <a:xfrm>
              <a:off x="6418264" y="1778098"/>
              <a:ext cx="1841401" cy="184140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76" name="Titel 7"/>
            <p:cNvSpPr txBox="1">
              <a:spLocks/>
            </p:cNvSpPr>
            <p:nvPr/>
          </p:nvSpPr>
          <p:spPr>
            <a:xfrm>
              <a:off x="6489448" y="1809802"/>
              <a:ext cx="1561090" cy="640875"/>
            </a:xfrm>
            <a:prstGeom prst="rect">
              <a:avLst/>
            </a:prstGeom>
          </p:spPr>
          <p:txBody>
            <a:bodyPr lIns="0" tIns="34290" rIns="68580" bIns="3429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offer</a:t>
              </a:r>
            </a:p>
          </p:txBody>
        </p:sp>
        <p:sp>
          <p:nvSpPr>
            <p:cNvPr id="77" name="Titel 7"/>
            <p:cNvSpPr txBox="1">
              <a:spLocks/>
            </p:cNvSpPr>
            <p:nvPr/>
          </p:nvSpPr>
          <p:spPr>
            <a:xfrm>
              <a:off x="6489447" y="2932444"/>
              <a:ext cx="1770217" cy="640875"/>
            </a:xfrm>
            <a:prstGeom prst="rect">
              <a:avLst/>
            </a:prstGeom>
          </p:spPr>
          <p:txBody>
            <a:bodyPr lIns="0" tIns="34290" rIns="68580" bIns="34290"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Access to </a:t>
              </a:r>
            </a:p>
            <a:p>
              <a:pPr algn="l"/>
              <a:r>
                <a:rPr lang="en-GB" sz="1400" dirty="0">
                  <a:solidFill>
                    <a:schemeClr val="bg1"/>
                  </a:solidFill>
                </a:rPr>
                <a:t>specifications, designs and implementation </a:t>
              </a:r>
            </a:p>
            <a:p>
              <a:pPr algn="l"/>
              <a:r>
                <a:rPr lang="en-GB" sz="1400" dirty="0">
                  <a:solidFill>
                    <a:schemeClr val="bg1"/>
                  </a:solidFill>
                </a:rPr>
                <a:t>guidelines</a:t>
              </a:r>
            </a:p>
          </p:txBody>
        </p:sp>
        <p:sp>
          <p:nvSpPr>
            <p:cNvPr id="78" name="Rechthoek 10"/>
            <p:cNvSpPr>
              <a:spLocks noChangeAspect="1"/>
            </p:cNvSpPr>
            <p:nvPr/>
          </p:nvSpPr>
          <p:spPr>
            <a:xfrm>
              <a:off x="6418791" y="1778097"/>
              <a:ext cx="1841401" cy="1841401"/>
            </a:xfrm>
            <a:prstGeom prst="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sp>
        <p:nvSpPr>
          <p:cNvPr id="81" name="Rectangle 80"/>
          <p:cNvSpPr/>
          <p:nvPr/>
        </p:nvSpPr>
        <p:spPr>
          <a:xfrm>
            <a:off x="3219451" y="466733"/>
            <a:ext cx="2756706" cy="3990973"/>
          </a:xfrm>
          <a:prstGeom prst="rect">
            <a:avLst/>
          </a:prstGeom>
          <a:solidFill>
            <a:schemeClr val="bg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sp>
        <p:nvSpPr>
          <p:cNvPr id="82" name="Rectangle 81"/>
          <p:cNvSpPr/>
          <p:nvPr/>
        </p:nvSpPr>
        <p:spPr>
          <a:xfrm>
            <a:off x="5976159" y="444564"/>
            <a:ext cx="3076575" cy="4000498"/>
          </a:xfrm>
          <a:prstGeom prst="rect">
            <a:avLst/>
          </a:prstGeom>
          <a:solidFill>
            <a:schemeClr val="bg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sp>
        <p:nvSpPr>
          <p:cNvPr id="83" name="Freeform 82"/>
          <p:cNvSpPr/>
          <p:nvPr/>
        </p:nvSpPr>
        <p:spPr>
          <a:xfrm>
            <a:off x="1123727" y="2909889"/>
            <a:ext cx="2217967" cy="1547812"/>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38525 w 3438525"/>
              <a:gd name="connsiteY0" fmla="*/ 1543050 h 1543050"/>
              <a:gd name="connsiteX1" fmla="*/ 3438525 w 3438525"/>
              <a:gd name="connsiteY1" fmla="*/ 1247775 h 1543050"/>
              <a:gd name="connsiteX2" fmla="*/ 0 w 3438525"/>
              <a:gd name="connsiteY2" fmla="*/ 1247775 h 1543050"/>
              <a:gd name="connsiteX3" fmla="*/ 3692 w 3438525"/>
              <a:gd name="connsiteY3" fmla="*/ 0 h 1543050"/>
              <a:gd name="connsiteX0" fmla="*/ 3438880 w 3438880"/>
              <a:gd name="connsiteY0" fmla="*/ 1547812 h 1547812"/>
              <a:gd name="connsiteX1" fmla="*/ 3438880 w 3438880"/>
              <a:gd name="connsiteY1" fmla="*/ 1252537 h 1547812"/>
              <a:gd name="connsiteX2" fmla="*/ 355 w 3438880"/>
              <a:gd name="connsiteY2" fmla="*/ 1252537 h 1547812"/>
              <a:gd name="connsiteX3" fmla="*/ 355 w 3438880"/>
              <a:gd name="connsiteY3" fmla="*/ 0 h 1547812"/>
            </a:gdLst>
            <a:ahLst/>
            <a:cxnLst>
              <a:cxn ang="0">
                <a:pos x="connsiteX0" y="connsiteY0"/>
              </a:cxn>
              <a:cxn ang="0">
                <a:pos x="connsiteX1" y="connsiteY1"/>
              </a:cxn>
              <a:cxn ang="0">
                <a:pos x="connsiteX2" y="connsiteY2"/>
              </a:cxn>
              <a:cxn ang="0">
                <a:pos x="connsiteX3" y="connsiteY3"/>
              </a:cxn>
            </a:cxnLst>
            <a:rect l="l" t="t" r="r" b="b"/>
            <a:pathLst>
              <a:path w="3438880" h="1547812">
                <a:moveTo>
                  <a:pt x="3438880" y="1547812"/>
                </a:moveTo>
                <a:lnTo>
                  <a:pt x="3438880" y="1252537"/>
                </a:lnTo>
                <a:lnTo>
                  <a:pt x="355" y="1252537"/>
                </a:lnTo>
                <a:cubicBezTo>
                  <a:pt x="1586" y="836612"/>
                  <a:pt x="-876" y="415925"/>
                  <a:pt x="355" y="0"/>
                </a:cubicBez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grpSp>
        <p:nvGrpSpPr>
          <p:cNvPr id="84" name="Group 83"/>
          <p:cNvGrpSpPr/>
          <p:nvPr/>
        </p:nvGrpSpPr>
        <p:grpSpPr>
          <a:xfrm>
            <a:off x="265115" y="1047757"/>
            <a:ext cx="2486024" cy="2571749"/>
            <a:chOff x="265113" y="1047750"/>
            <a:chExt cx="2486024" cy="2571749"/>
          </a:xfrm>
        </p:grpSpPr>
        <p:grpSp>
          <p:nvGrpSpPr>
            <p:cNvPr id="85" name="Group 84"/>
            <p:cNvGrpSpPr/>
            <p:nvPr/>
          </p:nvGrpSpPr>
          <p:grpSpPr>
            <a:xfrm>
              <a:off x="2106514" y="1047750"/>
              <a:ext cx="644623" cy="644623"/>
              <a:chOff x="2106514" y="1047750"/>
              <a:chExt cx="644623" cy="644623"/>
            </a:xfrm>
          </p:grpSpPr>
          <p:sp>
            <p:nvSpPr>
              <p:cNvPr id="90" name="Rechthoek 10"/>
              <p:cNvSpPr>
                <a:spLocks noChangeAspect="1"/>
              </p:cNvSpPr>
              <p:nvPr/>
            </p:nvSpPr>
            <p:spPr>
              <a:xfrm>
                <a:off x="2106514"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91" name="Freeform 25"/>
              <p:cNvSpPr>
                <a:spLocks/>
              </p:cNvSpPr>
              <p:nvPr/>
            </p:nvSpPr>
            <p:spPr bwMode="auto">
              <a:xfrm>
                <a:off x="2232820" y="1184076"/>
                <a:ext cx="379200" cy="371970"/>
              </a:xfrm>
              <a:custGeom>
                <a:avLst/>
                <a:gdLst>
                  <a:gd name="T0" fmla="*/ 173 w 200"/>
                  <a:gd name="T1" fmla="*/ 109 h 196"/>
                  <a:gd name="T2" fmla="*/ 180 w 200"/>
                  <a:gd name="T3" fmla="*/ 118 h 196"/>
                  <a:gd name="T4" fmla="*/ 200 w 200"/>
                  <a:gd name="T5" fmla="*/ 118 h 196"/>
                  <a:gd name="T6" fmla="*/ 102 w 200"/>
                  <a:gd name="T7" fmla="*/ 0 h 196"/>
                  <a:gd name="T8" fmla="*/ 64 w 200"/>
                  <a:gd name="T9" fmla="*/ 44 h 196"/>
                  <a:gd name="T10" fmla="*/ 64 w 200"/>
                  <a:gd name="T11" fmla="*/ 20 h 196"/>
                  <a:gd name="T12" fmla="*/ 38 w 200"/>
                  <a:gd name="T13" fmla="*/ 20 h 196"/>
                  <a:gd name="T14" fmla="*/ 38 w 200"/>
                  <a:gd name="T15" fmla="*/ 75 h 196"/>
                  <a:gd name="T16" fmla="*/ 0 w 200"/>
                  <a:gd name="T17" fmla="*/ 118 h 196"/>
                  <a:gd name="T18" fmla="*/ 21 w 200"/>
                  <a:gd name="T19" fmla="*/ 118 h 196"/>
                  <a:gd name="T20" fmla="*/ 28 w 200"/>
                  <a:gd name="T21" fmla="*/ 110 h 196"/>
                  <a:gd name="T22" fmla="*/ 28 w 200"/>
                  <a:gd name="T23" fmla="*/ 184 h 196"/>
                  <a:gd name="T24" fmla="*/ 18 w 200"/>
                  <a:gd name="T25" fmla="*/ 184 h 196"/>
                  <a:gd name="T26" fmla="*/ 18 w 200"/>
                  <a:gd name="T27" fmla="*/ 196 h 196"/>
                  <a:gd name="T28" fmla="*/ 69 w 200"/>
                  <a:gd name="T29" fmla="*/ 196 h 196"/>
                  <a:gd name="T30" fmla="*/ 77 w 200"/>
                  <a:gd name="T31" fmla="*/ 185 h 196"/>
                  <a:gd name="T32" fmla="*/ 77 w 200"/>
                  <a:gd name="T33" fmla="*/ 185 h 196"/>
                  <a:gd name="T34" fmla="*/ 81 w 200"/>
                  <a:gd name="T35" fmla="*/ 174 h 196"/>
                  <a:gd name="T36" fmla="*/ 96 w 200"/>
                  <a:gd name="T37" fmla="*/ 119 h 196"/>
                  <a:gd name="T38" fmla="*/ 77 w 200"/>
                  <a:gd name="T39" fmla="*/ 169 h 196"/>
                  <a:gd name="T40" fmla="*/ 76 w 200"/>
                  <a:gd name="T41" fmla="*/ 173 h 196"/>
                  <a:gd name="T42" fmla="*/ 76 w 200"/>
                  <a:gd name="T43" fmla="*/ 173 h 196"/>
                  <a:gd name="T44" fmla="*/ 69 w 200"/>
                  <a:gd name="T45" fmla="*/ 110 h 196"/>
                  <a:gd name="T46" fmla="*/ 126 w 200"/>
                  <a:gd name="T47" fmla="*/ 60 h 196"/>
                  <a:gd name="T48" fmla="*/ 128 w 200"/>
                  <a:gd name="T49" fmla="*/ 83 h 196"/>
                  <a:gd name="T50" fmla="*/ 129 w 200"/>
                  <a:gd name="T51" fmla="*/ 136 h 196"/>
                  <a:gd name="T52" fmla="*/ 100 w 200"/>
                  <a:gd name="T53" fmla="*/ 177 h 196"/>
                  <a:gd name="T54" fmla="*/ 83 w 200"/>
                  <a:gd name="T55" fmla="*/ 184 h 196"/>
                  <a:gd name="T56" fmla="*/ 77 w 200"/>
                  <a:gd name="T57" fmla="*/ 196 h 196"/>
                  <a:gd name="T58" fmla="*/ 183 w 200"/>
                  <a:gd name="T59" fmla="*/ 196 h 196"/>
                  <a:gd name="T60" fmla="*/ 183 w 200"/>
                  <a:gd name="T61" fmla="*/ 184 h 196"/>
                  <a:gd name="T62" fmla="*/ 173 w 200"/>
                  <a:gd name="T63" fmla="*/ 184 h 196"/>
                  <a:gd name="T64" fmla="*/ 173 w 200"/>
                  <a:gd name="T65" fmla="*/ 10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196">
                    <a:moveTo>
                      <a:pt x="173" y="109"/>
                    </a:moveTo>
                    <a:cubicBezTo>
                      <a:pt x="180" y="118"/>
                      <a:pt x="180" y="118"/>
                      <a:pt x="180" y="118"/>
                    </a:cubicBezTo>
                    <a:cubicBezTo>
                      <a:pt x="200" y="118"/>
                      <a:pt x="200" y="118"/>
                      <a:pt x="200" y="118"/>
                    </a:cubicBezTo>
                    <a:cubicBezTo>
                      <a:pt x="102" y="0"/>
                      <a:pt x="102" y="0"/>
                      <a:pt x="102" y="0"/>
                    </a:cubicBezTo>
                    <a:cubicBezTo>
                      <a:pt x="64" y="44"/>
                      <a:pt x="64" y="44"/>
                      <a:pt x="64" y="44"/>
                    </a:cubicBezTo>
                    <a:cubicBezTo>
                      <a:pt x="64" y="20"/>
                      <a:pt x="64" y="20"/>
                      <a:pt x="64" y="20"/>
                    </a:cubicBezTo>
                    <a:cubicBezTo>
                      <a:pt x="38" y="20"/>
                      <a:pt x="38" y="20"/>
                      <a:pt x="38" y="20"/>
                    </a:cubicBezTo>
                    <a:cubicBezTo>
                      <a:pt x="38" y="75"/>
                      <a:pt x="38" y="75"/>
                      <a:pt x="38" y="75"/>
                    </a:cubicBezTo>
                    <a:cubicBezTo>
                      <a:pt x="0" y="118"/>
                      <a:pt x="0" y="118"/>
                      <a:pt x="0" y="118"/>
                    </a:cubicBezTo>
                    <a:cubicBezTo>
                      <a:pt x="21" y="118"/>
                      <a:pt x="21" y="118"/>
                      <a:pt x="21" y="118"/>
                    </a:cubicBezTo>
                    <a:cubicBezTo>
                      <a:pt x="28" y="110"/>
                      <a:pt x="28" y="110"/>
                      <a:pt x="28" y="110"/>
                    </a:cubicBezTo>
                    <a:cubicBezTo>
                      <a:pt x="28" y="184"/>
                      <a:pt x="28" y="184"/>
                      <a:pt x="28" y="184"/>
                    </a:cubicBezTo>
                    <a:cubicBezTo>
                      <a:pt x="18" y="184"/>
                      <a:pt x="18" y="184"/>
                      <a:pt x="18" y="184"/>
                    </a:cubicBezTo>
                    <a:cubicBezTo>
                      <a:pt x="18" y="196"/>
                      <a:pt x="18" y="196"/>
                      <a:pt x="18" y="196"/>
                    </a:cubicBezTo>
                    <a:cubicBezTo>
                      <a:pt x="69" y="196"/>
                      <a:pt x="69" y="196"/>
                      <a:pt x="69" y="196"/>
                    </a:cubicBezTo>
                    <a:cubicBezTo>
                      <a:pt x="73" y="192"/>
                      <a:pt x="75" y="188"/>
                      <a:pt x="77" y="185"/>
                    </a:cubicBezTo>
                    <a:cubicBezTo>
                      <a:pt x="77" y="185"/>
                      <a:pt x="77" y="185"/>
                      <a:pt x="77" y="185"/>
                    </a:cubicBezTo>
                    <a:cubicBezTo>
                      <a:pt x="79" y="181"/>
                      <a:pt x="80" y="178"/>
                      <a:pt x="81" y="174"/>
                    </a:cubicBezTo>
                    <a:cubicBezTo>
                      <a:pt x="95" y="140"/>
                      <a:pt x="95" y="120"/>
                      <a:pt x="96" y="119"/>
                    </a:cubicBezTo>
                    <a:cubicBezTo>
                      <a:pt x="95" y="120"/>
                      <a:pt x="85" y="138"/>
                      <a:pt x="77" y="169"/>
                    </a:cubicBezTo>
                    <a:cubicBezTo>
                      <a:pt x="77" y="170"/>
                      <a:pt x="77" y="171"/>
                      <a:pt x="76" y="173"/>
                    </a:cubicBezTo>
                    <a:cubicBezTo>
                      <a:pt x="76" y="173"/>
                      <a:pt x="76" y="173"/>
                      <a:pt x="76" y="173"/>
                    </a:cubicBezTo>
                    <a:cubicBezTo>
                      <a:pt x="77" y="173"/>
                      <a:pt x="57" y="146"/>
                      <a:pt x="69" y="110"/>
                    </a:cubicBezTo>
                    <a:cubicBezTo>
                      <a:pt x="80" y="73"/>
                      <a:pt x="126" y="60"/>
                      <a:pt x="126" y="60"/>
                    </a:cubicBezTo>
                    <a:cubicBezTo>
                      <a:pt x="127" y="60"/>
                      <a:pt x="127" y="68"/>
                      <a:pt x="128" y="83"/>
                    </a:cubicBezTo>
                    <a:cubicBezTo>
                      <a:pt x="129" y="97"/>
                      <a:pt x="132" y="117"/>
                      <a:pt x="129" y="136"/>
                    </a:cubicBezTo>
                    <a:cubicBezTo>
                      <a:pt x="126" y="156"/>
                      <a:pt x="114" y="169"/>
                      <a:pt x="100" y="177"/>
                    </a:cubicBezTo>
                    <a:cubicBezTo>
                      <a:pt x="94" y="180"/>
                      <a:pt x="88" y="182"/>
                      <a:pt x="83" y="184"/>
                    </a:cubicBezTo>
                    <a:cubicBezTo>
                      <a:pt x="81" y="187"/>
                      <a:pt x="79" y="191"/>
                      <a:pt x="77" y="196"/>
                    </a:cubicBezTo>
                    <a:cubicBezTo>
                      <a:pt x="183" y="196"/>
                      <a:pt x="183" y="196"/>
                      <a:pt x="183" y="196"/>
                    </a:cubicBezTo>
                    <a:cubicBezTo>
                      <a:pt x="183" y="184"/>
                      <a:pt x="183" y="184"/>
                      <a:pt x="183" y="184"/>
                    </a:cubicBezTo>
                    <a:cubicBezTo>
                      <a:pt x="173" y="184"/>
                      <a:pt x="173" y="184"/>
                      <a:pt x="173" y="184"/>
                    </a:cubicBezTo>
                    <a:lnTo>
                      <a:pt x="173" y="10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86" name="Rechthoek 10"/>
            <p:cNvSpPr>
              <a:spLocks noChangeAspect="1"/>
            </p:cNvSpPr>
            <p:nvPr/>
          </p:nvSpPr>
          <p:spPr>
            <a:xfrm>
              <a:off x="265113" y="1778098"/>
              <a:ext cx="1841401" cy="184140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87" name="Titel 7"/>
            <p:cNvSpPr txBox="1">
              <a:spLocks/>
            </p:cNvSpPr>
            <p:nvPr/>
          </p:nvSpPr>
          <p:spPr>
            <a:xfrm>
              <a:off x="350837" y="1809802"/>
              <a:ext cx="1561090" cy="640875"/>
            </a:xfrm>
            <a:prstGeom prst="rect">
              <a:avLst/>
            </a:prstGeom>
          </p:spPr>
          <p:txBody>
            <a:bodyPr lIns="0" tIns="34290" rIns="68580" bIns="3429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flexibility value chain</a:t>
              </a:r>
            </a:p>
          </p:txBody>
        </p:sp>
        <p:sp>
          <p:nvSpPr>
            <p:cNvPr id="88" name="Titel 7"/>
            <p:cNvSpPr txBox="1">
              <a:spLocks/>
            </p:cNvSpPr>
            <p:nvPr/>
          </p:nvSpPr>
          <p:spPr>
            <a:xfrm>
              <a:off x="350836" y="2932444"/>
              <a:ext cx="1755677" cy="640875"/>
            </a:xfrm>
            <a:prstGeom prst="rect">
              <a:avLst/>
            </a:prstGeom>
          </p:spPr>
          <p:txBody>
            <a:bodyPr lIns="0" tIns="34290" rIns="68580" bIns="34290"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How flexibility is used today and will be used tomorrow</a:t>
              </a:r>
            </a:p>
          </p:txBody>
        </p:sp>
        <p:sp>
          <p:nvSpPr>
            <p:cNvPr id="89" name="Rechthoek 10"/>
            <p:cNvSpPr>
              <a:spLocks noChangeAspect="1"/>
            </p:cNvSpPr>
            <p:nvPr/>
          </p:nvSpPr>
          <p:spPr>
            <a:xfrm>
              <a:off x="265113" y="1778097"/>
              <a:ext cx="1841401" cy="1841401"/>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spTree>
    <p:extLst>
      <p:ext uri="{BB962C8B-B14F-4D97-AF65-F5344CB8AC3E}">
        <p14:creationId xmlns:p14="http://schemas.microsoft.com/office/powerpoint/2010/main" val="261188476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750" fill="hold"/>
                                        <p:tgtEl>
                                          <p:spTgt spid="65"/>
                                        </p:tgtEl>
                                      </p:cBhvr>
                                      <p:by x="80000" y="80000"/>
                                    </p:animScale>
                                  </p:childTnLst>
                                </p:cTn>
                              </p:par>
                              <p:par>
                                <p:cTn id="7" presetID="6" presetClass="emph" presetSubtype="0" fill="hold" nodeType="withEffect">
                                  <p:stCondLst>
                                    <p:cond delay="0"/>
                                  </p:stCondLst>
                                  <p:childTnLst>
                                    <p:animScale>
                                      <p:cBhvr>
                                        <p:cTn id="8" dur="750" fill="hold"/>
                                        <p:tgtEl>
                                          <p:spTgt spid="73"/>
                                        </p:tgtEl>
                                      </p:cBhvr>
                                      <p:by x="80000" y="80000"/>
                                    </p:animScale>
                                  </p:childTnLst>
                                </p:cTn>
                              </p:par>
                            </p:childTnLst>
                          </p:cTn>
                        </p:par>
                        <p:par>
                          <p:cTn id="9" fill="hold">
                            <p:stCondLst>
                              <p:cond delay="750"/>
                            </p:stCondLst>
                            <p:childTnLst>
                              <p:par>
                                <p:cTn id="10" presetID="10" presetClass="entr" presetSubtype="0" fill="hold" grpId="0" nodeType="after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750"/>
                                        <p:tgtEl>
                                          <p:spTgt spid="8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1"/>
                                        </p:tgtEl>
                                        <p:attrNameLst>
                                          <p:attrName>style.visibility</p:attrName>
                                        </p:attrNameLst>
                                      </p:cBhvr>
                                      <p:to>
                                        <p:strVal val="visible"/>
                                      </p:to>
                                    </p:set>
                                    <p:animEffect transition="in" filter="fade">
                                      <p:cBhvr>
                                        <p:cTn id="15" dur="75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a:xfrm flipH="1">
            <a:off x="8345349" y="3282267"/>
            <a:ext cx="1312829" cy="34289"/>
          </a:xfrm>
          <a:custGeom>
            <a:avLst/>
            <a:gdLst>
              <a:gd name="connsiteX0" fmla="*/ 839756 w 839756"/>
              <a:gd name="connsiteY0" fmla="*/ 0 h 335902"/>
              <a:gd name="connsiteX1" fmla="*/ 839756 w 839756"/>
              <a:gd name="connsiteY1" fmla="*/ 335902 h 335902"/>
              <a:gd name="connsiteX2" fmla="*/ 0 w 839756"/>
              <a:gd name="connsiteY2" fmla="*/ 335902 h 335902"/>
              <a:gd name="connsiteX0" fmla="*/ 839756 w 839756"/>
              <a:gd name="connsiteY0" fmla="*/ 0 h 0"/>
              <a:gd name="connsiteX1" fmla="*/ 0 w 839756"/>
              <a:gd name="connsiteY1" fmla="*/ 0 h 0"/>
            </a:gdLst>
            <a:ahLst/>
            <a:cxnLst>
              <a:cxn ang="0">
                <a:pos x="connsiteX0" y="connsiteY0"/>
              </a:cxn>
              <a:cxn ang="0">
                <a:pos x="connsiteX1" y="connsiteY1"/>
              </a:cxn>
            </a:cxnLst>
            <a:rect l="l" t="t" r="r" b="b"/>
            <a:pathLst>
              <a:path w="839756">
                <a:moveTo>
                  <a:pt x="839756" y="0"/>
                </a:move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7" name="Rechthoek 11"/>
          <p:cNvSpPr>
            <a:spLocks noChangeAspect="1"/>
          </p:cNvSpPr>
          <p:nvPr/>
        </p:nvSpPr>
        <p:spPr>
          <a:xfrm>
            <a:off x="9622280" y="3246370"/>
            <a:ext cx="71795" cy="717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8" name="Freeform 7"/>
          <p:cNvSpPr/>
          <p:nvPr/>
        </p:nvSpPr>
        <p:spPr>
          <a:xfrm>
            <a:off x="7694821" y="3807746"/>
            <a:ext cx="1066742" cy="649505"/>
          </a:xfrm>
          <a:custGeom>
            <a:avLst/>
            <a:gdLst>
              <a:gd name="connsiteX0" fmla="*/ 1184987 w 1184987"/>
              <a:gd name="connsiteY0" fmla="*/ 0 h 559837"/>
              <a:gd name="connsiteX1" fmla="*/ 1184987 w 1184987"/>
              <a:gd name="connsiteY1" fmla="*/ 559837 h 559837"/>
              <a:gd name="connsiteX2" fmla="*/ 317241 w 1184987"/>
              <a:gd name="connsiteY2" fmla="*/ 559837 h 559837"/>
              <a:gd name="connsiteX3" fmla="*/ 317241 w 1184987"/>
              <a:gd name="connsiteY3" fmla="*/ 298580 h 559837"/>
              <a:gd name="connsiteX4" fmla="*/ 0 w 1184987"/>
              <a:gd name="connsiteY4" fmla="*/ 298580 h 559837"/>
              <a:gd name="connsiteX5" fmla="*/ 0 w 1184987"/>
              <a:gd name="connsiteY5" fmla="*/ 74645 h 559837"/>
              <a:gd name="connsiteX0" fmla="*/ 1184987 w 1184987"/>
              <a:gd name="connsiteY0" fmla="*/ 485192 h 485192"/>
              <a:gd name="connsiteX1" fmla="*/ 317241 w 1184987"/>
              <a:gd name="connsiteY1" fmla="*/ 485192 h 485192"/>
              <a:gd name="connsiteX2" fmla="*/ 317241 w 1184987"/>
              <a:gd name="connsiteY2" fmla="*/ 223935 h 485192"/>
              <a:gd name="connsiteX3" fmla="*/ 0 w 1184987"/>
              <a:gd name="connsiteY3" fmla="*/ 223935 h 485192"/>
              <a:gd name="connsiteX4" fmla="*/ 0 w 1184987"/>
              <a:gd name="connsiteY4" fmla="*/ 0 h 485192"/>
              <a:gd name="connsiteX0" fmla="*/ 1184987 w 1184987"/>
              <a:gd name="connsiteY0" fmla="*/ 485192 h 485192"/>
              <a:gd name="connsiteX1" fmla="*/ 1151584 w 1184987"/>
              <a:gd name="connsiteY1" fmla="*/ 470001 h 485192"/>
              <a:gd name="connsiteX2" fmla="*/ 317241 w 1184987"/>
              <a:gd name="connsiteY2" fmla="*/ 485192 h 485192"/>
              <a:gd name="connsiteX3" fmla="*/ 317241 w 1184987"/>
              <a:gd name="connsiteY3" fmla="*/ 223935 h 485192"/>
              <a:gd name="connsiteX4" fmla="*/ 0 w 1184987"/>
              <a:gd name="connsiteY4" fmla="*/ 223935 h 485192"/>
              <a:gd name="connsiteX5" fmla="*/ 0 w 1184987"/>
              <a:gd name="connsiteY5" fmla="*/ 0 h 485192"/>
              <a:gd name="connsiteX0" fmla="*/ 1184987 w 1184987"/>
              <a:gd name="connsiteY0" fmla="*/ 485192 h 485192"/>
              <a:gd name="connsiteX1" fmla="*/ 1055891 w 1184987"/>
              <a:gd name="connsiteY1" fmla="*/ 480634 h 485192"/>
              <a:gd name="connsiteX2" fmla="*/ 317241 w 1184987"/>
              <a:gd name="connsiteY2" fmla="*/ 485192 h 485192"/>
              <a:gd name="connsiteX3" fmla="*/ 317241 w 1184987"/>
              <a:gd name="connsiteY3" fmla="*/ 223935 h 485192"/>
              <a:gd name="connsiteX4" fmla="*/ 0 w 1184987"/>
              <a:gd name="connsiteY4" fmla="*/ 223935 h 485192"/>
              <a:gd name="connsiteX5" fmla="*/ 0 w 1184987"/>
              <a:gd name="connsiteY5" fmla="*/ 0 h 485192"/>
              <a:gd name="connsiteX0" fmla="*/ 1036131 w 1055891"/>
              <a:gd name="connsiteY0" fmla="*/ 602150 h 602150"/>
              <a:gd name="connsiteX1" fmla="*/ 1055891 w 1055891"/>
              <a:gd name="connsiteY1" fmla="*/ 480634 h 602150"/>
              <a:gd name="connsiteX2" fmla="*/ 317241 w 1055891"/>
              <a:gd name="connsiteY2" fmla="*/ 485192 h 602150"/>
              <a:gd name="connsiteX3" fmla="*/ 317241 w 1055891"/>
              <a:gd name="connsiteY3" fmla="*/ 223935 h 602150"/>
              <a:gd name="connsiteX4" fmla="*/ 0 w 1055891"/>
              <a:gd name="connsiteY4" fmla="*/ 223935 h 602150"/>
              <a:gd name="connsiteX5" fmla="*/ 0 w 1055891"/>
              <a:gd name="connsiteY5" fmla="*/ 0 h 602150"/>
              <a:gd name="connsiteX0" fmla="*/ 1036131 w 1067110"/>
              <a:gd name="connsiteY0" fmla="*/ 602150 h 602150"/>
              <a:gd name="connsiteX1" fmla="*/ 1067110 w 1067110"/>
              <a:gd name="connsiteY1" fmla="*/ 480634 h 602150"/>
              <a:gd name="connsiteX2" fmla="*/ 317241 w 1067110"/>
              <a:gd name="connsiteY2" fmla="*/ 485192 h 602150"/>
              <a:gd name="connsiteX3" fmla="*/ 317241 w 1067110"/>
              <a:gd name="connsiteY3" fmla="*/ 223935 h 602150"/>
              <a:gd name="connsiteX4" fmla="*/ 0 w 1067110"/>
              <a:gd name="connsiteY4" fmla="*/ 223935 h 602150"/>
              <a:gd name="connsiteX5" fmla="*/ 0 w 1067110"/>
              <a:gd name="connsiteY5" fmla="*/ 0 h 602150"/>
              <a:gd name="connsiteX0" fmla="*/ 1058570 w 1067110"/>
              <a:gd name="connsiteY0" fmla="*/ 630199 h 630199"/>
              <a:gd name="connsiteX1" fmla="*/ 1067110 w 1067110"/>
              <a:gd name="connsiteY1" fmla="*/ 480634 h 630199"/>
              <a:gd name="connsiteX2" fmla="*/ 317241 w 1067110"/>
              <a:gd name="connsiteY2" fmla="*/ 485192 h 630199"/>
              <a:gd name="connsiteX3" fmla="*/ 317241 w 1067110"/>
              <a:gd name="connsiteY3" fmla="*/ 223935 h 630199"/>
              <a:gd name="connsiteX4" fmla="*/ 0 w 1067110"/>
              <a:gd name="connsiteY4" fmla="*/ 223935 h 630199"/>
              <a:gd name="connsiteX5" fmla="*/ 0 w 1067110"/>
              <a:gd name="connsiteY5" fmla="*/ 0 h 630199"/>
              <a:gd name="connsiteX0" fmla="*/ 1069790 w 1069790"/>
              <a:gd name="connsiteY0" fmla="*/ 635809 h 635809"/>
              <a:gd name="connsiteX1" fmla="*/ 1067110 w 1069790"/>
              <a:gd name="connsiteY1" fmla="*/ 480634 h 635809"/>
              <a:gd name="connsiteX2" fmla="*/ 317241 w 1069790"/>
              <a:gd name="connsiteY2" fmla="*/ 485192 h 635809"/>
              <a:gd name="connsiteX3" fmla="*/ 317241 w 1069790"/>
              <a:gd name="connsiteY3" fmla="*/ 223935 h 635809"/>
              <a:gd name="connsiteX4" fmla="*/ 0 w 1069790"/>
              <a:gd name="connsiteY4" fmla="*/ 223935 h 635809"/>
              <a:gd name="connsiteX5" fmla="*/ 0 w 1069790"/>
              <a:gd name="connsiteY5" fmla="*/ 0 h 6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790" h="635809">
                <a:moveTo>
                  <a:pt x="1069790" y="635809"/>
                </a:moveTo>
                <a:cubicBezTo>
                  <a:pt x="1068897" y="584084"/>
                  <a:pt x="1068003" y="532359"/>
                  <a:pt x="1067110" y="480634"/>
                </a:cubicBezTo>
                <a:lnTo>
                  <a:pt x="317241" y="485192"/>
                </a:lnTo>
                <a:lnTo>
                  <a:pt x="317241" y="223935"/>
                </a:lnTo>
                <a:lnTo>
                  <a:pt x="0" y="223935"/>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9" name="Freeform 8"/>
          <p:cNvSpPr/>
          <p:nvPr/>
        </p:nvSpPr>
        <p:spPr>
          <a:xfrm>
            <a:off x="5847187" y="3807739"/>
            <a:ext cx="5594" cy="663288"/>
          </a:xfrm>
          <a:custGeom>
            <a:avLst/>
            <a:gdLst>
              <a:gd name="connsiteX0" fmla="*/ 0 w 190500"/>
              <a:gd name="connsiteY0" fmla="*/ 0 h 480060"/>
              <a:gd name="connsiteX1" fmla="*/ 0 w 190500"/>
              <a:gd name="connsiteY1" fmla="*/ 480060 h 480060"/>
              <a:gd name="connsiteX2" fmla="*/ 190500 w 190500"/>
              <a:gd name="connsiteY2" fmla="*/ 480060 h 480060"/>
              <a:gd name="connsiteX0" fmla="*/ 5610 w 196110"/>
              <a:gd name="connsiteY0" fmla="*/ 0 h 665184"/>
              <a:gd name="connsiteX1" fmla="*/ 0 w 196110"/>
              <a:gd name="connsiteY1" fmla="*/ 665184 h 665184"/>
              <a:gd name="connsiteX2" fmla="*/ 196110 w 196110"/>
              <a:gd name="connsiteY2" fmla="*/ 480060 h 665184"/>
              <a:gd name="connsiteX0" fmla="*/ 5610 w 5610"/>
              <a:gd name="connsiteY0" fmla="*/ 0 h 665184"/>
              <a:gd name="connsiteX1" fmla="*/ 0 w 5610"/>
              <a:gd name="connsiteY1" fmla="*/ 665184 h 665184"/>
            </a:gdLst>
            <a:ahLst/>
            <a:cxnLst>
              <a:cxn ang="0">
                <a:pos x="connsiteX0" y="connsiteY0"/>
              </a:cxn>
              <a:cxn ang="0">
                <a:pos x="connsiteX1" y="connsiteY1"/>
              </a:cxn>
            </a:cxnLst>
            <a:rect l="l" t="t" r="r" b="b"/>
            <a:pathLst>
              <a:path w="5610" h="665184">
                <a:moveTo>
                  <a:pt x="5610" y="0"/>
                </a:moveTo>
                <a:lnTo>
                  <a:pt x="0" y="665184"/>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10" name="Rechthoek 11"/>
          <p:cNvSpPr>
            <a:spLocks noChangeAspect="1"/>
          </p:cNvSpPr>
          <p:nvPr/>
        </p:nvSpPr>
        <p:spPr>
          <a:xfrm>
            <a:off x="5814091" y="4465178"/>
            <a:ext cx="71795" cy="717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11" name="Freeform 10"/>
          <p:cNvSpPr/>
          <p:nvPr/>
        </p:nvSpPr>
        <p:spPr>
          <a:xfrm>
            <a:off x="7629699" y="3813949"/>
            <a:ext cx="251209" cy="643303"/>
          </a:xfrm>
          <a:custGeom>
            <a:avLst/>
            <a:gdLst>
              <a:gd name="connsiteX0" fmla="*/ 0 w 251927"/>
              <a:gd name="connsiteY0" fmla="*/ 0 h 373225"/>
              <a:gd name="connsiteX1" fmla="*/ 0 w 251927"/>
              <a:gd name="connsiteY1" fmla="*/ 298580 h 373225"/>
              <a:gd name="connsiteX2" fmla="*/ 251927 w 251927"/>
              <a:gd name="connsiteY2" fmla="*/ 298580 h 373225"/>
              <a:gd name="connsiteX3" fmla="*/ 251927 w 251927"/>
              <a:gd name="connsiteY3" fmla="*/ 373225 h 373225"/>
            </a:gdLst>
            <a:ahLst/>
            <a:cxnLst>
              <a:cxn ang="0">
                <a:pos x="connsiteX0" y="connsiteY0"/>
              </a:cxn>
              <a:cxn ang="0">
                <a:pos x="connsiteX1" y="connsiteY1"/>
              </a:cxn>
              <a:cxn ang="0">
                <a:pos x="connsiteX2" y="connsiteY2"/>
              </a:cxn>
              <a:cxn ang="0">
                <a:pos x="connsiteX3" y="connsiteY3"/>
              </a:cxn>
            </a:cxnLst>
            <a:rect l="l" t="t" r="r" b="b"/>
            <a:pathLst>
              <a:path w="251927" h="373225">
                <a:moveTo>
                  <a:pt x="0" y="0"/>
                </a:moveTo>
                <a:lnTo>
                  <a:pt x="0" y="298580"/>
                </a:lnTo>
                <a:lnTo>
                  <a:pt x="251927" y="298580"/>
                </a:lnTo>
                <a:lnTo>
                  <a:pt x="251927" y="373225"/>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12" name="Rechthoek 11"/>
          <p:cNvSpPr>
            <a:spLocks noChangeAspect="1"/>
          </p:cNvSpPr>
          <p:nvPr/>
        </p:nvSpPr>
        <p:spPr>
          <a:xfrm>
            <a:off x="7845008" y="4466994"/>
            <a:ext cx="71795" cy="717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13" name="Freeform 12"/>
          <p:cNvSpPr/>
          <p:nvPr/>
        </p:nvSpPr>
        <p:spPr>
          <a:xfrm>
            <a:off x="4665839" y="6"/>
            <a:ext cx="1177487" cy="690839"/>
          </a:xfrm>
          <a:custGeom>
            <a:avLst/>
            <a:gdLst>
              <a:gd name="connsiteX0" fmla="*/ 1007706 w 1007706"/>
              <a:gd name="connsiteY0" fmla="*/ 345233 h 345233"/>
              <a:gd name="connsiteX1" fmla="*/ 1007706 w 1007706"/>
              <a:gd name="connsiteY1" fmla="*/ 139959 h 345233"/>
              <a:gd name="connsiteX2" fmla="*/ 0 w 1007706"/>
              <a:gd name="connsiteY2" fmla="*/ 139959 h 345233"/>
              <a:gd name="connsiteX3" fmla="*/ 0 w 1007706"/>
              <a:gd name="connsiteY3" fmla="*/ 0 h 345233"/>
            </a:gdLst>
            <a:ahLst/>
            <a:cxnLst>
              <a:cxn ang="0">
                <a:pos x="connsiteX0" y="connsiteY0"/>
              </a:cxn>
              <a:cxn ang="0">
                <a:pos x="connsiteX1" y="connsiteY1"/>
              </a:cxn>
              <a:cxn ang="0">
                <a:pos x="connsiteX2" y="connsiteY2"/>
              </a:cxn>
              <a:cxn ang="0">
                <a:pos x="connsiteX3" y="connsiteY3"/>
              </a:cxn>
            </a:cxnLst>
            <a:rect l="l" t="t" r="r" b="b"/>
            <a:pathLst>
              <a:path w="1007706" h="345233">
                <a:moveTo>
                  <a:pt x="1007706" y="345233"/>
                </a:moveTo>
                <a:lnTo>
                  <a:pt x="1007706" y="139959"/>
                </a:lnTo>
                <a:lnTo>
                  <a:pt x="0" y="139959"/>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14" name="Freeform 13"/>
          <p:cNvSpPr/>
          <p:nvPr/>
        </p:nvSpPr>
        <p:spPr>
          <a:xfrm>
            <a:off x="6420170" y="6"/>
            <a:ext cx="986226" cy="690839"/>
          </a:xfrm>
          <a:custGeom>
            <a:avLst/>
            <a:gdLst>
              <a:gd name="connsiteX0" fmla="*/ 0 w 989045"/>
              <a:gd name="connsiteY0" fmla="*/ 541175 h 541175"/>
              <a:gd name="connsiteX1" fmla="*/ 0 w 989045"/>
              <a:gd name="connsiteY1" fmla="*/ 214604 h 541175"/>
              <a:gd name="connsiteX2" fmla="*/ 989045 w 989045"/>
              <a:gd name="connsiteY2" fmla="*/ 214604 h 541175"/>
              <a:gd name="connsiteX3" fmla="*/ 989045 w 989045"/>
              <a:gd name="connsiteY3" fmla="*/ 0 h 541175"/>
            </a:gdLst>
            <a:ahLst/>
            <a:cxnLst>
              <a:cxn ang="0">
                <a:pos x="connsiteX0" y="connsiteY0"/>
              </a:cxn>
              <a:cxn ang="0">
                <a:pos x="connsiteX1" y="connsiteY1"/>
              </a:cxn>
              <a:cxn ang="0">
                <a:pos x="connsiteX2" y="connsiteY2"/>
              </a:cxn>
              <a:cxn ang="0">
                <a:pos x="connsiteX3" y="connsiteY3"/>
              </a:cxn>
            </a:cxnLst>
            <a:rect l="l" t="t" r="r" b="b"/>
            <a:pathLst>
              <a:path w="989045" h="541175">
                <a:moveTo>
                  <a:pt x="0" y="541175"/>
                </a:moveTo>
                <a:lnTo>
                  <a:pt x="0" y="214604"/>
                </a:lnTo>
                <a:lnTo>
                  <a:pt x="989045" y="214604"/>
                </a:lnTo>
                <a:lnTo>
                  <a:pt x="989045"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15" name="Rechthoek 11"/>
          <p:cNvSpPr>
            <a:spLocks noChangeAspect="1"/>
          </p:cNvSpPr>
          <p:nvPr/>
        </p:nvSpPr>
        <p:spPr>
          <a:xfrm>
            <a:off x="7370503" y="-84618"/>
            <a:ext cx="71795" cy="717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16" name="Rechthoek 11"/>
          <p:cNvSpPr>
            <a:spLocks noChangeAspect="1"/>
          </p:cNvSpPr>
          <p:nvPr/>
        </p:nvSpPr>
        <p:spPr>
          <a:xfrm>
            <a:off x="4629942" y="-82194"/>
            <a:ext cx="71795" cy="717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17" name="Isosceles Triangle 1026"/>
          <p:cNvSpPr/>
          <p:nvPr/>
        </p:nvSpPr>
        <p:spPr>
          <a:xfrm>
            <a:off x="5784646" y="1762478"/>
            <a:ext cx="202487" cy="104688"/>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3" tIns="34285" rIns="68563" bIns="34285" numCol="1" spcCol="0" rtlCol="0" fromWordArt="0" anchor="ctr" anchorCtr="0" forceAA="0" compatLnSpc="1">
            <a:prstTxWarp prst="textNoShape">
              <a:avLst/>
            </a:prstTxWarp>
            <a:noAutofit/>
          </a:bodyPr>
          <a:lstStyle/>
          <a:p>
            <a:pPr algn="ctr"/>
            <a:endParaRPr lang="en-GB" dirty="0">
              <a:solidFill>
                <a:prstClr val="white"/>
              </a:solidFill>
              <a:latin typeface="Calibri" pitchFamily="34" charset="0"/>
            </a:endParaRPr>
          </a:p>
        </p:txBody>
      </p:sp>
      <p:sp>
        <p:nvSpPr>
          <p:cNvPr id="25" name="Rechthoek 11"/>
          <p:cNvSpPr>
            <a:spLocks noChangeAspect="1"/>
          </p:cNvSpPr>
          <p:nvPr/>
        </p:nvSpPr>
        <p:spPr>
          <a:xfrm>
            <a:off x="7370503" y="-84618"/>
            <a:ext cx="71795" cy="717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26" name="Rechthoek 11"/>
          <p:cNvSpPr>
            <a:spLocks noChangeAspect="1"/>
          </p:cNvSpPr>
          <p:nvPr/>
        </p:nvSpPr>
        <p:spPr>
          <a:xfrm>
            <a:off x="4629942" y="-82182"/>
            <a:ext cx="71795" cy="717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27" name="Rechthoek 11"/>
          <p:cNvSpPr>
            <a:spLocks noChangeAspect="1"/>
          </p:cNvSpPr>
          <p:nvPr/>
        </p:nvSpPr>
        <p:spPr>
          <a:xfrm>
            <a:off x="5331601" y="690847"/>
            <a:ext cx="3013742" cy="3118463"/>
          </a:xfrm>
          <a:prstGeom prst="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grpSp>
        <p:nvGrpSpPr>
          <p:cNvPr id="47" name="Group 46"/>
          <p:cNvGrpSpPr/>
          <p:nvPr/>
        </p:nvGrpSpPr>
        <p:grpSpPr>
          <a:xfrm>
            <a:off x="385764" y="1217886"/>
            <a:ext cx="2661400" cy="3023921"/>
            <a:chOff x="514350" y="1623838"/>
            <a:chExt cx="3548533" cy="4031895"/>
          </a:xfrm>
        </p:grpSpPr>
        <p:grpSp>
          <p:nvGrpSpPr>
            <p:cNvPr id="18" name="Group 17"/>
            <p:cNvGrpSpPr/>
            <p:nvPr/>
          </p:nvGrpSpPr>
          <p:grpSpPr>
            <a:xfrm>
              <a:off x="912362" y="1623838"/>
              <a:ext cx="2752509" cy="2752509"/>
              <a:chOff x="789278" y="2166444"/>
              <a:chExt cx="2571636" cy="2571636"/>
            </a:xfrm>
          </p:grpSpPr>
          <p:sp>
            <p:nvSpPr>
              <p:cNvPr id="19" name="Oval 18"/>
              <p:cNvSpPr/>
              <p:nvPr/>
            </p:nvSpPr>
            <p:spPr>
              <a:xfrm>
                <a:off x="789278" y="2166444"/>
                <a:ext cx="2571636" cy="2571636"/>
              </a:xfrm>
              <a:prstGeom prst="ellipse">
                <a:avLst/>
              </a:prstGeom>
              <a:solidFill>
                <a:schemeClr val="bg1"/>
              </a:solidFill>
              <a:ln w="571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20" name="Freeform 5"/>
              <p:cNvSpPr>
                <a:spLocks noEditPoints="1"/>
              </p:cNvSpPr>
              <p:nvPr/>
            </p:nvSpPr>
            <p:spPr bwMode="auto">
              <a:xfrm>
                <a:off x="2067325" y="2936035"/>
                <a:ext cx="904037" cy="859777"/>
              </a:xfrm>
              <a:custGeom>
                <a:avLst/>
                <a:gdLst>
                  <a:gd name="T0" fmla="*/ 734 w 1277"/>
                  <a:gd name="T1" fmla="*/ 57 h 1214"/>
                  <a:gd name="T2" fmla="*/ 751 w 1277"/>
                  <a:gd name="T3" fmla="*/ 60 h 1214"/>
                  <a:gd name="T4" fmla="*/ 785 w 1277"/>
                  <a:gd name="T5" fmla="*/ 73 h 1214"/>
                  <a:gd name="T6" fmla="*/ 800 w 1277"/>
                  <a:gd name="T7" fmla="*/ 76 h 1214"/>
                  <a:gd name="T8" fmla="*/ 826 w 1277"/>
                  <a:gd name="T9" fmla="*/ 76 h 1214"/>
                  <a:gd name="T10" fmla="*/ 847 w 1277"/>
                  <a:gd name="T11" fmla="*/ 68 h 1214"/>
                  <a:gd name="T12" fmla="*/ 858 w 1277"/>
                  <a:gd name="T13" fmla="*/ 60 h 1214"/>
                  <a:gd name="T14" fmla="*/ 870 w 1277"/>
                  <a:gd name="T15" fmla="*/ 50 h 1214"/>
                  <a:gd name="T16" fmla="*/ 870 w 1277"/>
                  <a:gd name="T17" fmla="*/ 50 h 1214"/>
                  <a:gd name="T18" fmla="*/ 873 w 1277"/>
                  <a:gd name="T19" fmla="*/ 48 h 1214"/>
                  <a:gd name="T20" fmla="*/ 882 w 1277"/>
                  <a:gd name="T21" fmla="*/ 39 h 1214"/>
                  <a:gd name="T22" fmla="*/ 908 w 1277"/>
                  <a:gd name="T23" fmla="*/ 18 h 1214"/>
                  <a:gd name="T24" fmla="*/ 956 w 1277"/>
                  <a:gd name="T25" fmla="*/ 1 h 1214"/>
                  <a:gd name="T26" fmla="*/ 971 w 1277"/>
                  <a:gd name="T27" fmla="*/ 5 h 1214"/>
                  <a:gd name="T28" fmla="*/ 1003 w 1277"/>
                  <a:gd name="T29" fmla="*/ 26 h 1214"/>
                  <a:gd name="T30" fmla="*/ 1020 w 1277"/>
                  <a:gd name="T31" fmla="*/ 51 h 1214"/>
                  <a:gd name="T32" fmla="*/ 1019 w 1277"/>
                  <a:gd name="T33" fmla="*/ 57 h 1214"/>
                  <a:gd name="T34" fmla="*/ 989 w 1277"/>
                  <a:gd name="T35" fmla="*/ 45 h 1214"/>
                  <a:gd name="T36" fmla="*/ 961 w 1277"/>
                  <a:gd name="T37" fmla="*/ 35 h 1214"/>
                  <a:gd name="T38" fmla="*/ 951 w 1277"/>
                  <a:gd name="T39" fmla="*/ 32 h 1214"/>
                  <a:gd name="T40" fmla="*/ 914 w 1277"/>
                  <a:gd name="T41" fmla="*/ 29 h 1214"/>
                  <a:gd name="T42" fmla="*/ 892 w 1277"/>
                  <a:gd name="T43" fmla="*/ 48 h 1214"/>
                  <a:gd name="T44" fmla="*/ 887 w 1277"/>
                  <a:gd name="T45" fmla="*/ 58 h 1214"/>
                  <a:gd name="T46" fmla="*/ 886 w 1277"/>
                  <a:gd name="T47" fmla="*/ 60 h 1214"/>
                  <a:gd name="T48" fmla="*/ 886 w 1277"/>
                  <a:gd name="T49" fmla="*/ 61 h 1214"/>
                  <a:gd name="T50" fmla="*/ 885 w 1277"/>
                  <a:gd name="T51" fmla="*/ 62 h 1214"/>
                  <a:gd name="T52" fmla="*/ 867 w 1277"/>
                  <a:gd name="T53" fmla="*/ 91 h 1214"/>
                  <a:gd name="T54" fmla="*/ 835 w 1277"/>
                  <a:gd name="T55" fmla="*/ 112 h 1214"/>
                  <a:gd name="T56" fmla="*/ 784 w 1277"/>
                  <a:gd name="T57" fmla="*/ 108 h 1214"/>
                  <a:gd name="T58" fmla="*/ 752 w 1277"/>
                  <a:gd name="T59" fmla="*/ 86 h 1214"/>
                  <a:gd name="T60" fmla="*/ 1277 w 1277"/>
                  <a:gd name="T61" fmla="*/ 910 h 1214"/>
                  <a:gd name="T62" fmla="*/ 0 w 1277"/>
                  <a:gd name="T63" fmla="*/ 1214 h 1214"/>
                  <a:gd name="T64" fmla="*/ 87 w 1277"/>
                  <a:gd name="T65" fmla="*/ 910 h 1214"/>
                  <a:gd name="T66" fmla="*/ 332 w 1277"/>
                  <a:gd name="T67" fmla="*/ 396 h 1214"/>
                  <a:gd name="T68" fmla="*/ 577 w 1277"/>
                  <a:gd name="T69" fmla="*/ 396 h 1214"/>
                  <a:gd name="T70" fmla="*/ 822 w 1277"/>
                  <a:gd name="T71" fmla="*/ 396 h 1214"/>
                  <a:gd name="T72" fmla="*/ 907 w 1277"/>
                  <a:gd name="T73" fmla="*/ 734 h 1214"/>
                  <a:gd name="T74" fmla="*/ 1093 w 1277"/>
                  <a:gd name="T75" fmla="*/ 136 h 1214"/>
                  <a:gd name="T76" fmla="*/ 1227 w 1277"/>
                  <a:gd name="T77" fmla="*/ 734 h 1214"/>
                  <a:gd name="T78" fmla="*/ 1277 w 1277"/>
                  <a:gd name="T79" fmla="*/ 910 h 1214"/>
                  <a:gd name="T80" fmla="*/ 208 w 1277"/>
                  <a:gd name="T81" fmla="*/ 778 h 1214"/>
                  <a:gd name="T82" fmla="*/ 400 w 1277"/>
                  <a:gd name="T83" fmla="*/ 956 h 1214"/>
                  <a:gd name="T84" fmla="*/ 732 w 1277"/>
                  <a:gd name="T85" fmla="*/ 778 h 1214"/>
                  <a:gd name="T86" fmla="*/ 540 w 1277"/>
                  <a:gd name="T87" fmla="*/ 956 h 1214"/>
                  <a:gd name="T88" fmla="*/ 732 w 1277"/>
                  <a:gd name="T89" fmla="*/ 778 h 1214"/>
                  <a:gd name="T90" fmla="*/ 876 w 1277"/>
                  <a:gd name="T91" fmla="*/ 778 h 1214"/>
                  <a:gd name="T92" fmla="*/ 1069 w 1277"/>
                  <a:gd name="T93" fmla="*/ 956 h 1214"/>
                  <a:gd name="T94" fmla="*/ 1069 w 1277"/>
                  <a:gd name="T95" fmla="*/ 778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7" h="1214">
                    <a:moveTo>
                      <a:pt x="741" y="71"/>
                    </a:moveTo>
                    <a:cubicBezTo>
                      <a:pt x="736" y="63"/>
                      <a:pt x="734" y="57"/>
                      <a:pt x="734" y="57"/>
                    </a:cubicBezTo>
                    <a:cubicBezTo>
                      <a:pt x="737" y="55"/>
                      <a:pt x="737" y="55"/>
                      <a:pt x="737" y="55"/>
                    </a:cubicBezTo>
                    <a:cubicBezTo>
                      <a:pt x="737" y="55"/>
                      <a:pt x="742" y="57"/>
                      <a:pt x="751" y="60"/>
                    </a:cubicBezTo>
                    <a:cubicBezTo>
                      <a:pt x="755" y="62"/>
                      <a:pt x="760" y="64"/>
                      <a:pt x="766" y="66"/>
                    </a:cubicBezTo>
                    <a:cubicBezTo>
                      <a:pt x="772" y="69"/>
                      <a:pt x="778" y="71"/>
                      <a:pt x="785" y="73"/>
                    </a:cubicBezTo>
                    <a:cubicBezTo>
                      <a:pt x="788" y="74"/>
                      <a:pt x="791" y="75"/>
                      <a:pt x="795" y="75"/>
                    </a:cubicBezTo>
                    <a:cubicBezTo>
                      <a:pt x="797" y="75"/>
                      <a:pt x="798" y="76"/>
                      <a:pt x="800" y="76"/>
                    </a:cubicBezTo>
                    <a:cubicBezTo>
                      <a:pt x="802" y="76"/>
                      <a:pt x="803" y="76"/>
                      <a:pt x="805" y="77"/>
                    </a:cubicBezTo>
                    <a:cubicBezTo>
                      <a:pt x="812" y="77"/>
                      <a:pt x="819" y="77"/>
                      <a:pt x="826" y="76"/>
                    </a:cubicBezTo>
                    <a:cubicBezTo>
                      <a:pt x="829" y="75"/>
                      <a:pt x="833" y="75"/>
                      <a:pt x="836" y="73"/>
                    </a:cubicBezTo>
                    <a:cubicBezTo>
                      <a:pt x="839" y="71"/>
                      <a:pt x="844" y="70"/>
                      <a:pt x="847" y="68"/>
                    </a:cubicBezTo>
                    <a:cubicBezTo>
                      <a:pt x="848" y="67"/>
                      <a:pt x="850" y="66"/>
                      <a:pt x="852" y="64"/>
                    </a:cubicBezTo>
                    <a:cubicBezTo>
                      <a:pt x="854" y="63"/>
                      <a:pt x="856" y="63"/>
                      <a:pt x="858" y="60"/>
                    </a:cubicBezTo>
                    <a:cubicBezTo>
                      <a:pt x="870" y="50"/>
                      <a:pt x="870" y="50"/>
                      <a:pt x="870" y="50"/>
                    </a:cubicBezTo>
                    <a:cubicBezTo>
                      <a:pt x="870" y="50"/>
                      <a:pt x="869" y="51"/>
                      <a:pt x="870" y="50"/>
                    </a:cubicBezTo>
                    <a:cubicBezTo>
                      <a:pt x="870" y="50"/>
                      <a:pt x="870" y="50"/>
                      <a:pt x="870" y="50"/>
                    </a:cubicBezTo>
                    <a:cubicBezTo>
                      <a:pt x="870" y="50"/>
                      <a:pt x="870" y="50"/>
                      <a:pt x="870" y="50"/>
                    </a:cubicBezTo>
                    <a:cubicBezTo>
                      <a:pt x="871" y="49"/>
                      <a:pt x="871" y="49"/>
                      <a:pt x="871" y="49"/>
                    </a:cubicBezTo>
                    <a:cubicBezTo>
                      <a:pt x="873" y="48"/>
                      <a:pt x="873" y="48"/>
                      <a:pt x="873" y="48"/>
                    </a:cubicBezTo>
                    <a:cubicBezTo>
                      <a:pt x="876" y="45"/>
                      <a:pt x="876" y="45"/>
                      <a:pt x="876" y="45"/>
                    </a:cubicBezTo>
                    <a:cubicBezTo>
                      <a:pt x="882" y="39"/>
                      <a:pt x="882" y="39"/>
                      <a:pt x="882" y="39"/>
                    </a:cubicBezTo>
                    <a:cubicBezTo>
                      <a:pt x="886" y="35"/>
                      <a:pt x="891" y="32"/>
                      <a:pt x="895" y="28"/>
                    </a:cubicBezTo>
                    <a:cubicBezTo>
                      <a:pt x="899" y="24"/>
                      <a:pt x="904" y="22"/>
                      <a:pt x="908" y="18"/>
                    </a:cubicBezTo>
                    <a:cubicBezTo>
                      <a:pt x="912" y="14"/>
                      <a:pt x="917" y="12"/>
                      <a:pt x="922" y="8"/>
                    </a:cubicBezTo>
                    <a:cubicBezTo>
                      <a:pt x="933" y="4"/>
                      <a:pt x="945" y="0"/>
                      <a:pt x="956" y="1"/>
                    </a:cubicBezTo>
                    <a:cubicBezTo>
                      <a:pt x="959" y="2"/>
                      <a:pt x="961" y="2"/>
                      <a:pt x="964" y="3"/>
                    </a:cubicBezTo>
                    <a:cubicBezTo>
                      <a:pt x="966" y="3"/>
                      <a:pt x="969" y="4"/>
                      <a:pt x="971" y="5"/>
                    </a:cubicBezTo>
                    <a:cubicBezTo>
                      <a:pt x="976" y="7"/>
                      <a:pt x="980" y="9"/>
                      <a:pt x="984" y="11"/>
                    </a:cubicBezTo>
                    <a:cubicBezTo>
                      <a:pt x="992" y="16"/>
                      <a:pt x="998" y="21"/>
                      <a:pt x="1003" y="26"/>
                    </a:cubicBezTo>
                    <a:cubicBezTo>
                      <a:pt x="1008" y="31"/>
                      <a:pt x="1012" y="36"/>
                      <a:pt x="1014" y="40"/>
                    </a:cubicBezTo>
                    <a:cubicBezTo>
                      <a:pt x="1017" y="44"/>
                      <a:pt x="1019" y="48"/>
                      <a:pt x="1020" y="51"/>
                    </a:cubicBezTo>
                    <a:cubicBezTo>
                      <a:pt x="1021" y="53"/>
                      <a:pt x="1021" y="55"/>
                      <a:pt x="1021" y="55"/>
                    </a:cubicBezTo>
                    <a:cubicBezTo>
                      <a:pt x="1019" y="57"/>
                      <a:pt x="1019" y="57"/>
                      <a:pt x="1019" y="57"/>
                    </a:cubicBezTo>
                    <a:cubicBezTo>
                      <a:pt x="1019" y="57"/>
                      <a:pt x="1013" y="55"/>
                      <a:pt x="1004" y="52"/>
                    </a:cubicBezTo>
                    <a:cubicBezTo>
                      <a:pt x="1000" y="50"/>
                      <a:pt x="995" y="48"/>
                      <a:pt x="989" y="45"/>
                    </a:cubicBezTo>
                    <a:cubicBezTo>
                      <a:pt x="984" y="43"/>
                      <a:pt x="977" y="41"/>
                      <a:pt x="971" y="38"/>
                    </a:cubicBezTo>
                    <a:cubicBezTo>
                      <a:pt x="968" y="37"/>
                      <a:pt x="964" y="36"/>
                      <a:pt x="961" y="35"/>
                    </a:cubicBezTo>
                    <a:cubicBezTo>
                      <a:pt x="959" y="35"/>
                      <a:pt x="957" y="34"/>
                      <a:pt x="956" y="33"/>
                    </a:cubicBezTo>
                    <a:cubicBezTo>
                      <a:pt x="954" y="33"/>
                      <a:pt x="952" y="33"/>
                      <a:pt x="951" y="32"/>
                    </a:cubicBezTo>
                    <a:cubicBezTo>
                      <a:pt x="944" y="30"/>
                      <a:pt x="936" y="28"/>
                      <a:pt x="927" y="27"/>
                    </a:cubicBezTo>
                    <a:cubicBezTo>
                      <a:pt x="923" y="27"/>
                      <a:pt x="918" y="27"/>
                      <a:pt x="914" y="29"/>
                    </a:cubicBezTo>
                    <a:cubicBezTo>
                      <a:pt x="910" y="31"/>
                      <a:pt x="905" y="33"/>
                      <a:pt x="902" y="36"/>
                    </a:cubicBezTo>
                    <a:cubicBezTo>
                      <a:pt x="898" y="40"/>
                      <a:pt x="895" y="43"/>
                      <a:pt x="892" y="48"/>
                    </a:cubicBezTo>
                    <a:cubicBezTo>
                      <a:pt x="889" y="54"/>
                      <a:pt x="889" y="54"/>
                      <a:pt x="889" y="54"/>
                    </a:cubicBezTo>
                    <a:cubicBezTo>
                      <a:pt x="887" y="58"/>
                      <a:pt x="887" y="58"/>
                      <a:pt x="887" y="58"/>
                    </a:cubicBezTo>
                    <a:cubicBezTo>
                      <a:pt x="886" y="60"/>
                      <a:pt x="886" y="60"/>
                      <a:pt x="886" y="60"/>
                    </a:cubicBezTo>
                    <a:cubicBezTo>
                      <a:pt x="886" y="60"/>
                      <a:pt x="886" y="60"/>
                      <a:pt x="886" y="60"/>
                    </a:cubicBezTo>
                    <a:cubicBezTo>
                      <a:pt x="886" y="61"/>
                      <a:pt x="886" y="61"/>
                      <a:pt x="886" y="61"/>
                    </a:cubicBezTo>
                    <a:cubicBezTo>
                      <a:pt x="886" y="61"/>
                      <a:pt x="886" y="61"/>
                      <a:pt x="886" y="61"/>
                    </a:cubicBezTo>
                    <a:cubicBezTo>
                      <a:pt x="886" y="61"/>
                      <a:pt x="886" y="61"/>
                      <a:pt x="886" y="61"/>
                    </a:cubicBezTo>
                    <a:cubicBezTo>
                      <a:pt x="886" y="61"/>
                      <a:pt x="885" y="62"/>
                      <a:pt x="885" y="62"/>
                    </a:cubicBezTo>
                    <a:cubicBezTo>
                      <a:pt x="879" y="77"/>
                      <a:pt x="879" y="77"/>
                      <a:pt x="879" y="77"/>
                    </a:cubicBezTo>
                    <a:cubicBezTo>
                      <a:pt x="876" y="81"/>
                      <a:pt x="871" y="87"/>
                      <a:pt x="867" y="91"/>
                    </a:cubicBezTo>
                    <a:cubicBezTo>
                      <a:pt x="863" y="97"/>
                      <a:pt x="858" y="100"/>
                      <a:pt x="853" y="104"/>
                    </a:cubicBezTo>
                    <a:cubicBezTo>
                      <a:pt x="847" y="107"/>
                      <a:pt x="841" y="109"/>
                      <a:pt x="835" y="112"/>
                    </a:cubicBezTo>
                    <a:cubicBezTo>
                      <a:pt x="823" y="116"/>
                      <a:pt x="810" y="116"/>
                      <a:pt x="799" y="113"/>
                    </a:cubicBezTo>
                    <a:cubicBezTo>
                      <a:pt x="793" y="112"/>
                      <a:pt x="788" y="111"/>
                      <a:pt x="784" y="108"/>
                    </a:cubicBezTo>
                    <a:cubicBezTo>
                      <a:pt x="779" y="106"/>
                      <a:pt x="775" y="104"/>
                      <a:pt x="771" y="101"/>
                    </a:cubicBezTo>
                    <a:cubicBezTo>
                      <a:pt x="763" y="96"/>
                      <a:pt x="757" y="91"/>
                      <a:pt x="752" y="86"/>
                    </a:cubicBezTo>
                    <a:cubicBezTo>
                      <a:pt x="748" y="81"/>
                      <a:pt x="744" y="76"/>
                      <a:pt x="741" y="71"/>
                    </a:cubicBezTo>
                    <a:close/>
                    <a:moveTo>
                      <a:pt x="1277" y="910"/>
                    </a:moveTo>
                    <a:cubicBezTo>
                      <a:pt x="1277" y="1214"/>
                      <a:pt x="1277" y="1214"/>
                      <a:pt x="1277" y="1214"/>
                    </a:cubicBezTo>
                    <a:cubicBezTo>
                      <a:pt x="0" y="1214"/>
                      <a:pt x="0" y="1214"/>
                      <a:pt x="0" y="1214"/>
                    </a:cubicBezTo>
                    <a:cubicBezTo>
                      <a:pt x="0" y="910"/>
                      <a:pt x="0" y="910"/>
                      <a:pt x="0" y="910"/>
                    </a:cubicBezTo>
                    <a:cubicBezTo>
                      <a:pt x="87" y="910"/>
                      <a:pt x="87" y="910"/>
                      <a:pt x="87" y="910"/>
                    </a:cubicBezTo>
                    <a:cubicBezTo>
                      <a:pt x="87" y="568"/>
                      <a:pt x="87" y="568"/>
                      <a:pt x="87" y="568"/>
                    </a:cubicBezTo>
                    <a:cubicBezTo>
                      <a:pt x="332" y="396"/>
                      <a:pt x="332" y="396"/>
                      <a:pt x="332" y="396"/>
                    </a:cubicBezTo>
                    <a:cubicBezTo>
                      <a:pt x="332" y="568"/>
                      <a:pt x="332" y="568"/>
                      <a:pt x="332" y="568"/>
                    </a:cubicBezTo>
                    <a:cubicBezTo>
                      <a:pt x="577" y="396"/>
                      <a:pt x="577" y="396"/>
                      <a:pt x="577" y="396"/>
                    </a:cubicBezTo>
                    <a:cubicBezTo>
                      <a:pt x="577" y="568"/>
                      <a:pt x="577" y="568"/>
                      <a:pt x="577" y="568"/>
                    </a:cubicBezTo>
                    <a:cubicBezTo>
                      <a:pt x="822" y="396"/>
                      <a:pt x="822" y="396"/>
                      <a:pt x="822" y="396"/>
                    </a:cubicBezTo>
                    <a:cubicBezTo>
                      <a:pt x="822" y="734"/>
                      <a:pt x="822" y="734"/>
                      <a:pt x="822" y="734"/>
                    </a:cubicBezTo>
                    <a:cubicBezTo>
                      <a:pt x="907" y="734"/>
                      <a:pt x="907" y="734"/>
                      <a:pt x="907" y="734"/>
                    </a:cubicBezTo>
                    <a:cubicBezTo>
                      <a:pt x="953" y="136"/>
                      <a:pt x="953" y="136"/>
                      <a:pt x="953" y="136"/>
                    </a:cubicBezTo>
                    <a:cubicBezTo>
                      <a:pt x="1093" y="136"/>
                      <a:pt x="1093" y="136"/>
                      <a:pt x="1093" y="136"/>
                    </a:cubicBezTo>
                    <a:cubicBezTo>
                      <a:pt x="1133" y="734"/>
                      <a:pt x="1133" y="734"/>
                      <a:pt x="1133" y="734"/>
                    </a:cubicBezTo>
                    <a:cubicBezTo>
                      <a:pt x="1227" y="734"/>
                      <a:pt x="1227" y="734"/>
                      <a:pt x="1227" y="734"/>
                    </a:cubicBezTo>
                    <a:cubicBezTo>
                      <a:pt x="1227" y="910"/>
                      <a:pt x="1227" y="910"/>
                      <a:pt x="1227" y="910"/>
                    </a:cubicBezTo>
                    <a:lnTo>
                      <a:pt x="1277" y="910"/>
                    </a:lnTo>
                    <a:close/>
                    <a:moveTo>
                      <a:pt x="400" y="778"/>
                    </a:moveTo>
                    <a:cubicBezTo>
                      <a:pt x="208" y="778"/>
                      <a:pt x="208" y="778"/>
                      <a:pt x="208" y="778"/>
                    </a:cubicBezTo>
                    <a:cubicBezTo>
                      <a:pt x="208" y="956"/>
                      <a:pt x="208" y="956"/>
                      <a:pt x="208" y="956"/>
                    </a:cubicBezTo>
                    <a:cubicBezTo>
                      <a:pt x="400" y="956"/>
                      <a:pt x="400" y="956"/>
                      <a:pt x="400" y="956"/>
                    </a:cubicBezTo>
                    <a:lnTo>
                      <a:pt x="400" y="778"/>
                    </a:lnTo>
                    <a:close/>
                    <a:moveTo>
                      <a:pt x="732" y="778"/>
                    </a:moveTo>
                    <a:cubicBezTo>
                      <a:pt x="540" y="778"/>
                      <a:pt x="540" y="778"/>
                      <a:pt x="540" y="778"/>
                    </a:cubicBezTo>
                    <a:cubicBezTo>
                      <a:pt x="540" y="956"/>
                      <a:pt x="540" y="956"/>
                      <a:pt x="540" y="956"/>
                    </a:cubicBezTo>
                    <a:cubicBezTo>
                      <a:pt x="732" y="956"/>
                      <a:pt x="732" y="956"/>
                      <a:pt x="732" y="956"/>
                    </a:cubicBezTo>
                    <a:lnTo>
                      <a:pt x="732" y="778"/>
                    </a:lnTo>
                    <a:close/>
                    <a:moveTo>
                      <a:pt x="1069" y="778"/>
                    </a:moveTo>
                    <a:cubicBezTo>
                      <a:pt x="876" y="778"/>
                      <a:pt x="876" y="778"/>
                      <a:pt x="876" y="778"/>
                    </a:cubicBezTo>
                    <a:cubicBezTo>
                      <a:pt x="876" y="956"/>
                      <a:pt x="876" y="956"/>
                      <a:pt x="876" y="956"/>
                    </a:cubicBezTo>
                    <a:cubicBezTo>
                      <a:pt x="1069" y="956"/>
                      <a:pt x="1069" y="956"/>
                      <a:pt x="1069" y="956"/>
                    </a:cubicBezTo>
                    <a:lnTo>
                      <a:pt x="1069" y="778"/>
                    </a:lnTo>
                    <a:close/>
                    <a:moveTo>
                      <a:pt x="1069" y="778"/>
                    </a:moveTo>
                    <a:cubicBezTo>
                      <a:pt x="1069" y="778"/>
                      <a:pt x="1069" y="778"/>
                      <a:pt x="1069" y="778"/>
                    </a:cubicBezTo>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1" name="Freeform 17"/>
              <p:cNvSpPr>
                <a:spLocks/>
              </p:cNvSpPr>
              <p:nvPr/>
            </p:nvSpPr>
            <p:spPr bwMode="auto">
              <a:xfrm flipH="1">
                <a:off x="1208950" y="3238057"/>
                <a:ext cx="632152" cy="579205"/>
              </a:xfrm>
              <a:custGeom>
                <a:avLst/>
                <a:gdLst>
                  <a:gd name="T0" fmla="*/ 166 w 167"/>
                  <a:gd name="T1" fmla="*/ 58 h 153"/>
                  <a:gd name="T2" fmla="*/ 147 w 167"/>
                  <a:gd name="T3" fmla="*/ 44 h 153"/>
                  <a:gd name="T4" fmla="*/ 147 w 167"/>
                  <a:gd name="T5" fmla="*/ 3 h 153"/>
                  <a:gd name="T6" fmla="*/ 144 w 167"/>
                  <a:gd name="T7" fmla="*/ 0 h 153"/>
                  <a:gd name="T8" fmla="*/ 125 w 167"/>
                  <a:gd name="T9" fmla="*/ 0 h 153"/>
                  <a:gd name="T10" fmla="*/ 123 w 167"/>
                  <a:gd name="T11" fmla="*/ 3 h 153"/>
                  <a:gd name="T12" fmla="*/ 123 w 167"/>
                  <a:gd name="T13" fmla="*/ 27 h 153"/>
                  <a:gd name="T14" fmla="*/ 85 w 167"/>
                  <a:gd name="T15" fmla="*/ 1 h 153"/>
                  <a:gd name="T16" fmla="*/ 82 w 167"/>
                  <a:gd name="T17" fmla="*/ 1 h 153"/>
                  <a:gd name="T18" fmla="*/ 1 w 167"/>
                  <a:gd name="T19" fmla="*/ 58 h 153"/>
                  <a:gd name="T20" fmla="*/ 0 w 167"/>
                  <a:gd name="T21" fmla="*/ 59 h 153"/>
                  <a:gd name="T22" fmla="*/ 1 w 167"/>
                  <a:gd name="T23" fmla="*/ 61 h 153"/>
                  <a:gd name="T24" fmla="*/ 12 w 167"/>
                  <a:gd name="T25" fmla="*/ 77 h 153"/>
                  <a:gd name="T26" fmla="*/ 14 w 167"/>
                  <a:gd name="T27" fmla="*/ 78 h 153"/>
                  <a:gd name="T28" fmla="*/ 15 w 167"/>
                  <a:gd name="T29" fmla="*/ 77 h 153"/>
                  <a:gd name="T30" fmla="*/ 20 w 167"/>
                  <a:gd name="T31" fmla="*/ 74 h 153"/>
                  <a:gd name="T32" fmla="*/ 20 w 167"/>
                  <a:gd name="T33" fmla="*/ 151 h 153"/>
                  <a:gd name="T34" fmla="*/ 23 w 167"/>
                  <a:gd name="T35" fmla="*/ 153 h 153"/>
                  <a:gd name="T36" fmla="*/ 65 w 167"/>
                  <a:gd name="T37" fmla="*/ 153 h 153"/>
                  <a:gd name="T38" fmla="*/ 68 w 167"/>
                  <a:gd name="T39" fmla="*/ 151 h 153"/>
                  <a:gd name="T40" fmla="*/ 68 w 167"/>
                  <a:gd name="T41" fmla="*/ 93 h 153"/>
                  <a:gd name="T42" fmla="*/ 100 w 167"/>
                  <a:gd name="T43" fmla="*/ 93 h 153"/>
                  <a:gd name="T44" fmla="*/ 100 w 167"/>
                  <a:gd name="T45" fmla="*/ 151 h 153"/>
                  <a:gd name="T46" fmla="*/ 102 w 167"/>
                  <a:gd name="T47" fmla="*/ 153 h 153"/>
                  <a:gd name="T48" fmla="*/ 144 w 167"/>
                  <a:gd name="T49" fmla="*/ 153 h 153"/>
                  <a:gd name="T50" fmla="*/ 147 w 167"/>
                  <a:gd name="T51" fmla="*/ 151 h 153"/>
                  <a:gd name="T52" fmla="*/ 147 w 167"/>
                  <a:gd name="T53" fmla="*/ 74 h 153"/>
                  <a:gd name="T54" fmla="*/ 152 w 167"/>
                  <a:gd name="T55" fmla="*/ 77 h 153"/>
                  <a:gd name="T56" fmla="*/ 155 w 167"/>
                  <a:gd name="T57" fmla="*/ 77 h 153"/>
                  <a:gd name="T58" fmla="*/ 166 w 167"/>
                  <a:gd name="T59" fmla="*/ 61 h 153"/>
                  <a:gd name="T60" fmla="*/ 167 w 167"/>
                  <a:gd name="T61" fmla="*/ 59 h 153"/>
                  <a:gd name="T62" fmla="*/ 166 w 167"/>
                  <a:gd name="T63" fmla="*/ 5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53">
                    <a:moveTo>
                      <a:pt x="166" y="58"/>
                    </a:moveTo>
                    <a:cubicBezTo>
                      <a:pt x="147" y="44"/>
                      <a:pt x="147" y="44"/>
                      <a:pt x="147" y="44"/>
                    </a:cubicBezTo>
                    <a:cubicBezTo>
                      <a:pt x="147" y="3"/>
                      <a:pt x="147" y="3"/>
                      <a:pt x="147" y="3"/>
                    </a:cubicBezTo>
                    <a:cubicBezTo>
                      <a:pt x="147" y="1"/>
                      <a:pt x="146" y="0"/>
                      <a:pt x="144" y="0"/>
                    </a:cubicBezTo>
                    <a:cubicBezTo>
                      <a:pt x="125" y="0"/>
                      <a:pt x="125" y="0"/>
                      <a:pt x="125" y="0"/>
                    </a:cubicBezTo>
                    <a:cubicBezTo>
                      <a:pt x="124" y="0"/>
                      <a:pt x="123" y="1"/>
                      <a:pt x="123" y="3"/>
                    </a:cubicBezTo>
                    <a:cubicBezTo>
                      <a:pt x="123" y="27"/>
                      <a:pt x="123" y="27"/>
                      <a:pt x="123" y="27"/>
                    </a:cubicBezTo>
                    <a:cubicBezTo>
                      <a:pt x="85" y="1"/>
                      <a:pt x="85" y="1"/>
                      <a:pt x="85" y="1"/>
                    </a:cubicBezTo>
                    <a:cubicBezTo>
                      <a:pt x="84" y="0"/>
                      <a:pt x="83" y="0"/>
                      <a:pt x="82" y="1"/>
                    </a:cubicBezTo>
                    <a:cubicBezTo>
                      <a:pt x="1" y="58"/>
                      <a:pt x="1" y="58"/>
                      <a:pt x="1" y="58"/>
                    </a:cubicBezTo>
                    <a:cubicBezTo>
                      <a:pt x="1" y="58"/>
                      <a:pt x="1" y="59"/>
                      <a:pt x="0" y="59"/>
                    </a:cubicBezTo>
                    <a:cubicBezTo>
                      <a:pt x="0" y="60"/>
                      <a:pt x="0" y="60"/>
                      <a:pt x="1" y="61"/>
                    </a:cubicBezTo>
                    <a:cubicBezTo>
                      <a:pt x="12" y="77"/>
                      <a:pt x="12" y="77"/>
                      <a:pt x="12" y="77"/>
                    </a:cubicBezTo>
                    <a:cubicBezTo>
                      <a:pt x="12" y="77"/>
                      <a:pt x="13" y="78"/>
                      <a:pt x="14" y="78"/>
                    </a:cubicBezTo>
                    <a:cubicBezTo>
                      <a:pt x="14" y="78"/>
                      <a:pt x="15" y="78"/>
                      <a:pt x="15" y="77"/>
                    </a:cubicBezTo>
                    <a:cubicBezTo>
                      <a:pt x="20" y="74"/>
                      <a:pt x="20" y="74"/>
                      <a:pt x="20" y="74"/>
                    </a:cubicBezTo>
                    <a:cubicBezTo>
                      <a:pt x="20" y="151"/>
                      <a:pt x="20" y="151"/>
                      <a:pt x="20" y="151"/>
                    </a:cubicBezTo>
                    <a:cubicBezTo>
                      <a:pt x="20" y="152"/>
                      <a:pt x="21" y="153"/>
                      <a:pt x="23" y="153"/>
                    </a:cubicBezTo>
                    <a:cubicBezTo>
                      <a:pt x="65" y="153"/>
                      <a:pt x="65" y="153"/>
                      <a:pt x="65" y="153"/>
                    </a:cubicBezTo>
                    <a:cubicBezTo>
                      <a:pt x="66" y="153"/>
                      <a:pt x="68" y="152"/>
                      <a:pt x="68" y="151"/>
                    </a:cubicBezTo>
                    <a:cubicBezTo>
                      <a:pt x="68" y="93"/>
                      <a:pt x="68" y="93"/>
                      <a:pt x="68" y="93"/>
                    </a:cubicBezTo>
                    <a:cubicBezTo>
                      <a:pt x="100" y="93"/>
                      <a:pt x="100" y="93"/>
                      <a:pt x="100" y="93"/>
                    </a:cubicBezTo>
                    <a:cubicBezTo>
                      <a:pt x="100" y="151"/>
                      <a:pt x="100" y="151"/>
                      <a:pt x="100" y="151"/>
                    </a:cubicBezTo>
                    <a:cubicBezTo>
                      <a:pt x="100" y="152"/>
                      <a:pt x="101" y="153"/>
                      <a:pt x="102" y="153"/>
                    </a:cubicBezTo>
                    <a:cubicBezTo>
                      <a:pt x="144" y="153"/>
                      <a:pt x="144" y="153"/>
                      <a:pt x="144" y="153"/>
                    </a:cubicBezTo>
                    <a:cubicBezTo>
                      <a:pt x="146" y="153"/>
                      <a:pt x="147" y="152"/>
                      <a:pt x="147" y="151"/>
                    </a:cubicBezTo>
                    <a:cubicBezTo>
                      <a:pt x="147" y="74"/>
                      <a:pt x="147" y="74"/>
                      <a:pt x="147" y="74"/>
                    </a:cubicBezTo>
                    <a:cubicBezTo>
                      <a:pt x="152" y="77"/>
                      <a:pt x="152" y="77"/>
                      <a:pt x="152" y="77"/>
                    </a:cubicBezTo>
                    <a:cubicBezTo>
                      <a:pt x="153" y="78"/>
                      <a:pt x="155" y="78"/>
                      <a:pt x="155" y="77"/>
                    </a:cubicBezTo>
                    <a:cubicBezTo>
                      <a:pt x="166" y="61"/>
                      <a:pt x="166" y="61"/>
                      <a:pt x="166" y="61"/>
                    </a:cubicBezTo>
                    <a:cubicBezTo>
                      <a:pt x="167" y="60"/>
                      <a:pt x="167" y="60"/>
                      <a:pt x="167" y="59"/>
                    </a:cubicBezTo>
                    <a:cubicBezTo>
                      <a:pt x="167" y="59"/>
                      <a:pt x="166" y="58"/>
                      <a:pt x="166" y="58"/>
                    </a:cubicBezTo>
                    <a:close/>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nvGrpSpPr>
              <p:cNvPr id="22" name="Group 21"/>
              <p:cNvGrpSpPr/>
              <p:nvPr/>
            </p:nvGrpSpPr>
            <p:grpSpPr>
              <a:xfrm>
                <a:off x="1670677" y="2611814"/>
                <a:ext cx="717184" cy="1781970"/>
                <a:chOff x="1586608" y="206374"/>
                <a:chExt cx="828675" cy="2058988"/>
              </a:xfrm>
              <a:solidFill>
                <a:schemeClr val="accent2"/>
              </a:solidFill>
            </p:grpSpPr>
            <p:sp>
              <p:nvSpPr>
                <p:cNvPr id="23" name="Freeform 3735"/>
                <p:cNvSpPr>
                  <a:spLocks/>
                </p:cNvSpPr>
                <p:nvPr/>
              </p:nvSpPr>
              <p:spPr bwMode="auto">
                <a:xfrm>
                  <a:off x="1586608" y="577849"/>
                  <a:ext cx="828675" cy="1687513"/>
                </a:xfrm>
                <a:custGeom>
                  <a:avLst/>
                  <a:gdLst>
                    <a:gd name="T0" fmla="*/ 52 w 221"/>
                    <a:gd name="T1" fmla="*/ 425 h 450"/>
                    <a:gd name="T2" fmla="*/ 77 w 221"/>
                    <a:gd name="T3" fmla="*/ 450 h 450"/>
                    <a:gd name="T4" fmla="*/ 102 w 221"/>
                    <a:gd name="T5" fmla="*/ 425 h 450"/>
                    <a:gd name="T6" fmla="*/ 102 w 221"/>
                    <a:gd name="T7" fmla="*/ 214 h 450"/>
                    <a:gd name="T8" fmla="*/ 119 w 221"/>
                    <a:gd name="T9" fmla="*/ 214 h 450"/>
                    <a:gd name="T10" fmla="*/ 119 w 221"/>
                    <a:gd name="T11" fmla="*/ 425 h 450"/>
                    <a:gd name="T12" fmla="*/ 144 w 221"/>
                    <a:gd name="T13" fmla="*/ 450 h 450"/>
                    <a:gd name="T14" fmla="*/ 169 w 221"/>
                    <a:gd name="T15" fmla="*/ 425 h 450"/>
                    <a:gd name="T16" fmla="*/ 169 w 221"/>
                    <a:gd name="T17" fmla="*/ 62 h 450"/>
                    <a:gd name="T18" fmla="*/ 186 w 221"/>
                    <a:gd name="T19" fmla="*/ 62 h 450"/>
                    <a:gd name="T20" fmla="*/ 186 w 221"/>
                    <a:gd name="T21" fmla="*/ 196 h 450"/>
                    <a:gd name="T22" fmla="*/ 221 w 221"/>
                    <a:gd name="T23" fmla="*/ 196 h 450"/>
                    <a:gd name="T24" fmla="*/ 221 w 221"/>
                    <a:gd name="T25" fmla="*/ 59 h 450"/>
                    <a:gd name="T26" fmla="*/ 163 w 221"/>
                    <a:gd name="T27" fmla="*/ 0 h 450"/>
                    <a:gd name="T28" fmla="*/ 57 w 221"/>
                    <a:gd name="T29" fmla="*/ 0 h 450"/>
                    <a:gd name="T30" fmla="*/ 0 w 221"/>
                    <a:gd name="T31" fmla="*/ 58 h 450"/>
                    <a:gd name="T32" fmla="*/ 0 w 221"/>
                    <a:gd name="T33" fmla="*/ 196 h 450"/>
                    <a:gd name="T34" fmla="*/ 35 w 221"/>
                    <a:gd name="T35" fmla="*/ 196 h 450"/>
                    <a:gd name="T36" fmla="*/ 35 w 221"/>
                    <a:gd name="T37" fmla="*/ 62 h 450"/>
                    <a:gd name="T38" fmla="*/ 52 w 221"/>
                    <a:gd name="T39" fmla="*/ 62 h 450"/>
                    <a:gd name="T40" fmla="*/ 52 w 221"/>
                    <a:gd name="T41" fmla="*/ 42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1" h="450">
                      <a:moveTo>
                        <a:pt x="52" y="425"/>
                      </a:moveTo>
                      <a:cubicBezTo>
                        <a:pt x="52" y="439"/>
                        <a:pt x="63" y="450"/>
                        <a:pt x="77" y="450"/>
                      </a:cubicBezTo>
                      <a:cubicBezTo>
                        <a:pt x="91" y="450"/>
                        <a:pt x="102" y="439"/>
                        <a:pt x="102" y="425"/>
                      </a:cubicBezTo>
                      <a:cubicBezTo>
                        <a:pt x="102" y="214"/>
                        <a:pt x="102" y="214"/>
                        <a:pt x="102" y="214"/>
                      </a:cubicBezTo>
                      <a:cubicBezTo>
                        <a:pt x="119" y="214"/>
                        <a:pt x="119" y="214"/>
                        <a:pt x="119" y="214"/>
                      </a:cubicBezTo>
                      <a:cubicBezTo>
                        <a:pt x="119" y="425"/>
                        <a:pt x="119" y="425"/>
                        <a:pt x="119" y="425"/>
                      </a:cubicBezTo>
                      <a:cubicBezTo>
                        <a:pt x="119" y="439"/>
                        <a:pt x="130" y="450"/>
                        <a:pt x="144" y="450"/>
                      </a:cubicBezTo>
                      <a:cubicBezTo>
                        <a:pt x="158" y="450"/>
                        <a:pt x="169" y="439"/>
                        <a:pt x="169" y="425"/>
                      </a:cubicBezTo>
                      <a:cubicBezTo>
                        <a:pt x="169" y="62"/>
                        <a:pt x="169" y="62"/>
                        <a:pt x="169" y="62"/>
                      </a:cubicBezTo>
                      <a:cubicBezTo>
                        <a:pt x="186" y="62"/>
                        <a:pt x="186" y="62"/>
                        <a:pt x="186" y="62"/>
                      </a:cubicBezTo>
                      <a:cubicBezTo>
                        <a:pt x="186" y="196"/>
                        <a:pt x="186" y="196"/>
                        <a:pt x="186" y="196"/>
                      </a:cubicBezTo>
                      <a:cubicBezTo>
                        <a:pt x="186" y="222"/>
                        <a:pt x="221" y="222"/>
                        <a:pt x="221" y="196"/>
                      </a:cubicBezTo>
                      <a:cubicBezTo>
                        <a:pt x="221" y="59"/>
                        <a:pt x="221" y="59"/>
                        <a:pt x="221" y="59"/>
                      </a:cubicBezTo>
                      <a:cubicBezTo>
                        <a:pt x="221" y="29"/>
                        <a:pt x="198" y="0"/>
                        <a:pt x="163" y="0"/>
                      </a:cubicBezTo>
                      <a:cubicBezTo>
                        <a:pt x="57" y="0"/>
                        <a:pt x="57" y="0"/>
                        <a:pt x="57" y="0"/>
                      </a:cubicBezTo>
                      <a:cubicBezTo>
                        <a:pt x="25" y="0"/>
                        <a:pt x="0" y="26"/>
                        <a:pt x="0" y="58"/>
                      </a:cubicBezTo>
                      <a:cubicBezTo>
                        <a:pt x="0" y="196"/>
                        <a:pt x="0" y="196"/>
                        <a:pt x="0" y="196"/>
                      </a:cubicBezTo>
                      <a:cubicBezTo>
                        <a:pt x="0" y="222"/>
                        <a:pt x="35" y="222"/>
                        <a:pt x="35" y="196"/>
                      </a:cubicBezTo>
                      <a:cubicBezTo>
                        <a:pt x="35" y="62"/>
                        <a:pt x="35" y="62"/>
                        <a:pt x="35" y="62"/>
                      </a:cubicBezTo>
                      <a:cubicBezTo>
                        <a:pt x="52" y="62"/>
                        <a:pt x="52" y="62"/>
                        <a:pt x="52" y="62"/>
                      </a:cubicBezTo>
                      <a:lnTo>
                        <a:pt x="52" y="425"/>
                      </a:lnTo>
                      <a:close/>
                    </a:path>
                  </a:pathLst>
                </a:cu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24" name="Oval 3736"/>
                <p:cNvSpPr>
                  <a:spLocks noChangeArrowheads="1"/>
                </p:cNvSpPr>
                <p:nvPr/>
              </p:nvSpPr>
              <p:spPr bwMode="auto">
                <a:xfrm>
                  <a:off x="1834258" y="206374"/>
                  <a:ext cx="333375" cy="336550"/>
                </a:xfrm>
                <a:prstGeom prst="ellipse">
                  <a:avLst/>
                </a:pr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grpSp>
        <p:grpSp>
          <p:nvGrpSpPr>
            <p:cNvPr id="29" name="Group 28"/>
            <p:cNvGrpSpPr/>
            <p:nvPr/>
          </p:nvGrpSpPr>
          <p:grpSpPr>
            <a:xfrm>
              <a:off x="514350" y="4650606"/>
              <a:ext cx="3548533" cy="1005127"/>
              <a:chOff x="895350" y="3489302"/>
              <a:chExt cx="2669006" cy="756000"/>
            </a:xfrm>
          </p:grpSpPr>
          <p:sp>
            <p:nvSpPr>
              <p:cNvPr id="30" name="Rechthoek 8"/>
              <p:cNvSpPr/>
              <p:nvPr/>
            </p:nvSpPr>
            <p:spPr>
              <a:xfrm>
                <a:off x="895350" y="3489302"/>
                <a:ext cx="2669006" cy="756000"/>
              </a:xfrm>
              <a:prstGeom prst="rect">
                <a:avLst/>
              </a:prstGeom>
              <a:noFill/>
              <a:ln>
                <a:solidFill>
                  <a:srgbClr val="FF541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nvGrpSpPr>
              <p:cNvPr id="31" name="Group 30"/>
              <p:cNvGrpSpPr/>
              <p:nvPr/>
            </p:nvGrpSpPr>
            <p:grpSpPr>
              <a:xfrm>
                <a:off x="1021035" y="3557713"/>
                <a:ext cx="2417637" cy="619179"/>
                <a:chOff x="798758" y="3478016"/>
                <a:chExt cx="2417637" cy="619179"/>
              </a:xfrm>
            </p:grpSpPr>
            <p:pic>
              <p:nvPicPr>
                <p:cNvPr id="32" name="Afbeelding 1"/>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t="26243"/>
                <a:stretch/>
              </p:blipFill>
              <p:spPr>
                <a:xfrm>
                  <a:off x="798758" y="3478016"/>
                  <a:ext cx="1933636" cy="619179"/>
                </a:xfrm>
                <a:prstGeom prst="rect">
                  <a:avLst/>
                </a:prstGeom>
              </p:spPr>
            </p:pic>
            <p:grpSp>
              <p:nvGrpSpPr>
                <p:cNvPr id="33" name="Group 32"/>
                <p:cNvGrpSpPr/>
                <p:nvPr/>
              </p:nvGrpSpPr>
              <p:grpSpPr>
                <a:xfrm>
                  <a:off x="2759252" y="3750906"/>
                  <a:ext cx="457143" cy="229571"/>
                  <a:chOff x="2290270" y="2492010"/>
                  <a:chExt cx="1315756" cy="660756"/>
                </a:xfrm>
                <a:solidFill>
                  <a:schemeClr val="accent2"/>
                </a:solidFill>
              </p:grpSpPr>
              <p:sp>
                <p:nvSpPr>
                  <p:cNvPr id="34" name="Freeform 6"/>
                  <p:cNvSpPr>
                    <a:spLocks noEditPoints="1"/>
                  </p:cNvSpPr>
                  <p:nvPr/>
                </p:nvSpPr>
                <p:spPr bwMode="auto">
                  <a:xfrm>
                    <a:off x="2290270" y="2492010"/>
                    <a:ext cx="1315756" cy="660756"/>
                  </a:xfrm>
                  <a:custGeom>
                    <a:avLst/>
                    <a:gdLst>
                      <a:gd name="T0" fmla="*/ 839 w 914"/>
                      <a:gd name="T1" fmla="*/ 154 h 459"/>
                      <a:gd name="T2" fmla="*/ 839 w 914"/>
                      <a:gd name="T3" fmla="*/ 0 h 459"/>
                      <a:gd name="T4" fmla="*/ 0 w 914"/>
                      <a:gd name="T5" fmla="*/ 0 h 459"/>
                      <a:gd name="T6" fmla="*/ 0 w 914"/>
                      <a:gd name="T7" fmla="*/ 459 h 459"/>
                      <a:gd name="T8" fmla="*/ 839 w 914"/>
                      <a:gd name="T9" fmla="*/ 459 h 459"/>
                      <a:gd name="T10" fmla="*/ 839 w 914"/>
                      <a:gd name="T11" fmla="*/ 305 h 459"/>
                      <a:gd name="T12" fmla="*/ 914 w 914"/>
                      <a:gd name="T13" fmla="*/ 305 h 459"/>
                      <a:gd name="T14" fmla="*/ 914 w 914"/>
                      <a:gd name="T15" fmla="*/ 154 h 459"/>
                      <a:gd name="T16" fmla="*/ 839 w 914"/>
                      <a:gd name="T17" fmla="*/ 154 h 459"/>
                      <a:gd name="T18" fmla="*/ 763 w 914"/>
                      <a:gd name="T19" fmla="*/ 381 h 459"/>
                      <a:gd name="T20" fmla="*/ 76 w 914"/>
                      <a:gd name="T21" fmla="*/ 381 h 459"/>
                      <a:gd name="T22" fmla="*/ 76 w 914"/>
                      <a:gd name="T23" fmla="*/ 76 h 459"/>
                      <a:gd name="T24" fmla="*/ 763 w 914"/>
                      <a:gd name="T25" fmla="*/ 76 h 459"/>
                      <a:gd name="T26" fmla="*/ 763 w 914"/>
                      <a:gd name="T27" fmla="*/ 381 h 459"/>
                      <a:gd name="T28" fmla="*/ 763 w 914"/>
                      <a:gd name="T29" fmla="*/ 381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4" h="459">
                        <a:moveTo>
                          <a:pt x="839" y="154"/>
                        </a:moveTo>
                        <a:lnTo>
                          <a:pt x="839" y="0"/>
                        </a:lnTo>
                        <a:lnTo>
                          <a:pt x="0" y="0"/>
                        </a:lnTo>
                        <a:lnTo>
                          <a:pt x="0" y="459"/>
                        </a:lnTo>
                        <a:lnTo>
                          <a:pt x="839" y="459"/>
                        </a:lnTo>
                        <a:lnTo>
                          <a:pt x="839" y="305"/>
                        </a:lnTo>
                        <a:lnTo>
                          <a:pt x="914" y="305"/>
                        </a:lnTo>
                        <a:lnTo>
                          <a:pt x="914" y="154"/>
                        </a:lnTo>
                        <a:lnTo>
                          <a:pt x="839" y="154"/>
                        </a:lnTo>
                        <a:close/>
                        <a:moveTo>
                          <a:pt x="763" y="381"/>
                        </a:moveTo>
                        <a:lnTo>
                          <a:pt x="76" y="381"/>
                        </a:lnTo>
                        <a:lnTo>
                          <a:pt x="76" y="76"/>
                        </a:lnTo>
                        <a:lnTo>
                          <a:pt x="763" y="76"/>
                        </a:lnTo>
                        <a:lnTo>
                          <a:pt x="763" y="381"/>
                        </a:lnTo>
                        <a:lnTo>
                          <a:pt x="763" y="3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5" name="Freeform 7"/>
                  <p:cNvSpPr>
                    <a:spLocks/>
                  </p:cNvSpPr>
                  <p:nvPr/>
                </p:nvSpPr>
                <p:spPr bwMode="auto">
                  <a:xfrm>
                    <a:off x="2454380" y="2658998"/>
                    <a:ext cx="329659" cy="326779"/>
                  </a:xfrm>
                  <a:custGeom>
                    <a:avLst/>
                    <a:gdLst>
                      <a:gd name="T0" fmla="*/ 0 w 229"/>
                      <a:gd name="T1" fmla="*/ 227 h 227"/>
                      <a:gd name="T2" fmla="*/ 0 w 229"/>
                      <a:gd name="T3" fmla="*/ 0 h 227"/>
                      <a:gd name="T4" fmla="*/ 115 w 229"/>
                      <a:gd name="T5" fmla="*/ 0 h 227"/>
                      <a:gd name="T6" fmla="*/ 229 w 229"/>
                      <a:gd name="T7" fmla="*/ 227 h 227"/>
                      <a:gd name="T8" fmla="*/ 0 w 229"/>
                      <a:gd name="T9" fmla="*/ 227 h 227"/>
                    </a:gdLst>
                    <a:ahLst/>
                    <a:cxnLst>
                      <a:cxn ang="0">
                        <a:pos x="T0" y="T1"/>
                      </a:cxn>
                      <a:cxn ang="0">
                        <a:pos x="T2" y="T3"/>
                      </a:cxn>
                      <a:cxn ang="0">
                        <a:pos x="T4" y="T5"/>
                      </a:cxn>
                      <a:cxn ang="0">
                        <a:pos x="T6" y="T7"/>
                      </a:cxn>
                      <a:cxn ang="0">
                        <a:pos x="T8" y="T9"/>
                      </a:cxn>
                    </a:cxnLst>
                    <a:rect l="0" t="0" r="r" b="b"/>
                    <a:pathLst>
                      <a:path w="229" h="227">
                        <a:moveTo>
                          <a:pt x="0" y="227"/>
                        </a:moveTo>
                        <a:lnTo>
                          <a:pt x="0" y="0"/>
                        </a:lnTo>
                        <a:lnTo>
                          <a:pt x="115" y="0"/>
                        </a:lnTo>
                        <a:lnTo>
                          <a:pt x="229" y="227"/>
                        </a:lnTo>
                        <a:lnTo>
                          <a:pt x="0" y="22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6" name="Freeform 8"/>
                  <p:cNvSpPr>
                    <a:spLocks/>
                  </p:cNvSpPr>
                  <p:nvPr/>
                </p:nvSpPr>
                <p:spPr bwMode="auto">
                  <a:xfrm>
                    <a:off x="2674632" y="2658998"/>
                    <a:ext cx="439065" cy="326779"/>
                  </a:xfrm>
                  <a:custGeom>
                    <a:avLst/>
                    <a:gdLst>
                      <a:gd name="T0" fmla="*/ 0 w 305"/>
                      <a:gd name="T1" fmla="*/ 0 h 227"/>
                      <a:gd name="T2" fmla="*/ 191 w 305"/>
                      <a:gd name="T3" fmla="*/ 0 h 227"/>
                      <a:gd name="T4" fmla="*/ 305 w 305"/>
                      <a:gd name="T5" fmla="*/ 227 h 227"/>
                      <a:gd name="T6" fmla="*/ 114 w 305"/>
                      <a:gd name="T7" fmla="*/ 227 h 227"/>
                      <a:gd name="T8" fmla="*/ 0 w 305"/>
                      <a:gd name="T9" fmla="*/ 0 h 227"/>
                    </a:gdLst>
                    <a:ahLst/>
                    <a:cxnLst>
                      <a:cxn ang="0">
                        <a:pos x="T0" y="T1"/>
                      </a:cxn>
                      <a:cxn ang="0">
                        <a:pos x="T2" y="T3"/>
                      </a:cxn>
                      <a:cxn ang="0">
                        <a:pos x="T4" y="T5"/>
                      </a:cxn>
                      <a:cxn ang="0">
                        <a:pos x="T6" y="T7"/>
                      </a:cxn>
                      <a:cxn ang="0">
                        <a:pos x="T8" y="T9"/>
                      </a:cxn>
                    </a:cxnLst>
                    <a:rect l="0" t="0" r="r" b="b"/>
                    <a:pathLst>
                      <a:path w="305" h="227">
                        <a:moveTo>
                          <a:pt x="0" y="0"/>
                        </a:moveTo>
                        <a:lnTo>
                          <a:pt x="191" y="0"/>
                        </a:lnTo>
                        <a:lnTo>
                          <a:pt x="305" y="227"/>
                        </a:lnTo>
                        <a:lnTo>
                          <a:pt x="114" y="227"/>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7" name="Freeform 9"/>
                  <p:cNvSpPr>
                    <a:spLocks/>
                  </p:cNvSpPr>
                  <p:nvPr/>
                </p:nvSpPr>
                <p:spPr bwMode="auto">
                  <a:xfrm>
                    <a:off x="3004291" y="2658998"/>
                    <a:ext cx="326780" cy="326779"/>
                  </a:xfrm>
                  <a:custGeom>
                    <a:avLst/>
                    <a:gdLst>
                      <a:gd name="T0" fmla="*/ 227 w 227"/>
                      <a:gd name="T1" fmla="*/ 0 h 227"/>
                      <a:gd name="T2" fmla="*/ 227 w 227"/>
                      <a:gd name="T3" fmla="*/ 227 h 227"/>
                      <a:gd name="T4" fmla="*/ 114 w 227"/>
                      <a:gd name="T5" fmla="*/ 227 h 227"/>
                      <a:gd name="T6" fmla="*/ 0 w 227"/>
                      <a:gd name="T7" fmla="*/ 0 h 227"/>
                      <a:gd name="T8" fmla="*/ 227 w 227"/>
                      <a:gd name="T9" fmla="*/ 0 h 227"/>
                    </a:gdLst>
                    <a:ahLst/>
                    <a:cxnLst>
                      <a:cxn ang="0">
                        <a:pos x="T0" y="T1"/>
                      </a:cxn>
                      <a:cxn ang="0">
                        <a:pos x="T2" y="T3"/>
                      </a:cxn>
                      <a:cxn ang="0">
                        <a:pos x="T4" y="T5"/>
                      </a:cxn>
                      <a:cxn ang="0">
                        <a:pos x="T6" y="T7"/>
                      </a:cxn>
                      <a:cxn ang="0">
                        <a:pos x="T8" y="T9"/>
                      </a:cxn>
                    </a:cxnLst>
                    <a:rect l="0" t="0" r="r" b="b"/>
                    <a:pathLst>
                      <a:path w="227" h="227">
                        <a:moveTo>
                          <a:pt x="227" y="0"/>
                        </a:moveTo>
                        <a:lnTo>
                          <a:pt x="227" y="227"/>
                        </a:lnTo>
                        <a:lnTo>
                          <a:pt x="114" y="227"/>
                        </a:lnTo>
                        <a:lnTo>
                          <a:pt x="0" y="0"/>
                        </a:lnTo>
                        <a:lnTo>
                          <a:pt x="22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grpSp>
        </p:grpSp>
        <p:cxnSp>
          <p:nvCxnSpPr>
            <p:cNvPr id="48" name="Straight Connector 47"/>
            <p:cNvCxnSpPr/>
            <p:nvPr/>
          </p:nvCxnSpPr>
          <p:spPr>
            <a:xfrm>
              <a:off x="2288616" y="4351020"/>
              <a:ext cx="0" cy="287179"/>
            </a:xfrm>
            <a:prstGeom prst="line">
              <a:avLst/>
            </a:prstGeom>
            <a:noFill/>
            <a:ln>
              <a:solidFill>
                <a:srgbClr val="FF5415"/>
              </a:solidFill>
            </a:ln>
            <a:effectLst/>
          </p:spPr>
          <p:style>
            <a:lnRef idx="1">
              <a:schemeClr val="accent1"/>
            </a:lnRef>
            <a:fillRef idx="3">
              <a:schemeClr val="accent1"/>
            </a:fillRef>
            <a:effectRef idx="2">
              <a:schemeClr val="accent1"/>
            </a:effectRef>
            <a:fontRef idx="minor">
              <a:schemeClr val="lt1"/>
            </a:fontRef>
          </p:style>
        </p:cxnSp>
      </p:grpSp>
      <p:sp>
        <p:nvSpPr>
          <p:cNvPr id="53" name="Rechthoek 11"/>
          <p:cNvSpPr>
            <a:spLocks noChangeAspect="1"/>
          </p:cNvSpPr>
          <p:nvPr/>
        </p:nvSpPr>
        <p:spPr>
          <a:xfrm>
            <a:off x="8724471" y="4478781"/>
            <a:ext cx="71795" cy="717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cxnSp>
        <p:nvCxnSpPr>
          <p:cNvPr id="55" name="Straight Connector 54"/>
          <p:cNvCxnSpPr/>
          <p:nvPr/>
        </p:nvCxnSpPr>
        <p:spPr>
          <a:xfrm flipH="1">
            <a:off x="5329139" y="690846"/>
            <a:ext cx="2462" cy="3123102"/>
          </a:xfrm>
          <a:prstGeom prst="line">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cxnSp>
      <p:cxnSp>
        <p:nvCxnSpPr>
          <p:cNvPr id="66" name="Straight Connector 65"/>
          <p:cNvCxnSpPr/>
          <p:nvPr/>
        </p:nvCxnSpPr>
        <p:spPr>
          <a:xfrm>
            <a:off x="8345342" y="690092"/>
            <a:ext cx="0" cy="3123857"/>
          </a:xfrm>
          <a:prstGeom prst="line">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cxnSp>
      <p:sp>
        <p:nvSpPr>
          <p:cNvPr id="67" name="Rechthoek 11"/>
          <p:cNvSpPr>
            <a:spLocks noChangeAspect="1"/>
          </p:cNvSpPr>
          <p:nvPr/>
        </p:nvSpPr>
        <p:spPr>
          <a:xfrm>
            <a:off x="3026920" y="1641683"/>
            <a:ext cx="1153823" cy="115381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68" name="Tijdelijke aanduiding voor inhoud 16"/>
          <p:cNvSpPr txBox="1">
            <a:spLocks/>
          </p:cNvSpPr>
          <p:nvPr/>
        </p:nvSpPr>
        <p:spPr>
          <a:xfrm>
            <a:off x="3089498" y="1935687"/>
            <a:ext cx="1028652" cy="578472"/>
          </a:xfrm>
          <a:prstGeom prst="rect">
            <a:avLst/>
          </a:prstGeom>
        </p:spPr>
        <p:txBody>
          <a:bodyPr lIns="68563" tIns="34285" rIns="68563" bIns="34285" anchor="ct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80000"/>
              </a:lnSpc>
              <a:spcBef>
                <a:spcPts val="0"/>
              </a:spcBef>
              <a:buNone/>
            </a:pPr>
            <a:r>
              <a:rPr lang="en-GB" sz="1500" dirty="0">
                <a:solidFill>
                  <a:schemeClr val="bg1"/>
                </a:solidFill>
                <a:latin typeface="Calibri" pitchFamily="34" charset="0"/>
              </a:rPr>
              <a:t>New Smart Energy System</a:t>
            </a:r>
          </a:p>
        </p:txBody>
      </p:sp>
      <p:cxnSp>
        <p:nvCxnSpPr>
          <p:cNvPr id="69" name="Straight Connector 122"/>
          <p:cNvCxnSpPr/>
          <p:nvPr/>
        </p:nvCxnSpPr>
        <p:spPr>
          <a:xfrm flipH="1">
            <a:off x="4555973" y="1863265"/>
            <a:ext cx="3228765" cy="0"/>
          </a:xfrm>
          <a:prstGeom prst="lin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cxnSp>
      <p:cxnSp>
        <p:nvCxnSpPr>
          <p:cNvPr id="70" name="Straight Connector 123"/>
          <p:cNvCxnSpPr/>
          <p:nvPr/>
        </p:nvCxnSpPr>
        <p:spPr>
          <a:xfrm flipH="1">
            <a:off x="4555973" y="2585806"/>
            <a:ext cx="3228765" cy="0"/>
          </a:xfrm>
          <a:prstGeom prst="lin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cxnSp>
      <p:sp>
        <p:nvSpPr>
          <p:cNvPr id="71" name="Rechthoek 11"/>
          <p:cNvSpPr>
            <a:spLocks noChangeAspect="1"/>
          </p:cNvSpPr>
          <p:nvPr/>
        </p:nvSpPr>
        <p:spPr>
          <a:xfrm>
            <a:off x="7762788" y="1803635"/>
            <a:ext cx="104045" cy="10404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72" name="Rechthoek 11"/>
          <p:cNvSpPr>
            <a:spLocks noChangeAspect="1"/>
          </p:cNvSpPr>
          <p:nvPr/>
        </p:nvSpPr>
        <p:spPr>
          <a:xfrm>
            <a:off x="7762788" y="2526449"/>
            <a:ext cx="104045" cy="10404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73" name="Rechthoek 11"/>
          <p:cNvSpPr>
            <a:spLocks noChangeAspect="1"/>
          </p:cNvSpPr>
          <p:nvPr/>
        </p:nvSpPr>
        <p:spPr>
          <a:xfrm>
            <a:off x="4468652" y="1803635"/>
            <a:ext cx="104045" cy="10404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74" name="Rechthoek 11"/>
          <p:cNvSpPr>
            <a:spLocks noChangeAspect="1"/>
          </p:cNvSpPr>
          <p:nvPr/>
        </p:nvSpPr>
        <p:spPr>
          <a:xfrm>
            <a:off x="4468652" y="2526449"/>
            <a:ext cx="104045" cy="10404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solidFill>
                <a:prstClr val="white"/>
              </a:solidFill>
              <a:latin typeface="Calibri" pitchFamily="34" charset="0"/>
            </a:endParaRPr>
          </a:p>
        </p:txBody>
      </p:sp>
      <p:sp>
        <p:nvSpPr>
          <p:cNvPr id="75" name="Rectangle 128"/>
          <p:cNvSpPr/>
          <p:nvPr/>
        </p:nvSpPr>
        <p:spPr>
          <a:xfrm>
            <a:off x="4275907" y="1233969"/>
            <a:ext cx="975746" cy="438572"/>
          </a:xfrm>
          <a:prstGeom prst="rect">
            <a:avLst/>
          </a:prstGeom>
        </p:spPr>
        <p:txBody>
          <a:bodyPr wrap="none" lIns="68563" tIns="34285" rIns="68563" bIns="34285">
            <a:spAutoFit/>
          </a:bodyPr>
          <a:lstStyle/>
          <a:p>
            <a:r>
              <a:rPr lang="en-GB" sz="1200" dirty="0">
                <a:latin typeface="Calibri" pitchFamily="34" charset="0"/>
              </a:rPr>
              <a:t>Capacity </a:t>
            </a:r>
          </a:p>
          <a:p>
            <a:r>
              <a:rPr lang="en-GB" sz="1200" dirty="0">
                <a:latin typeface="Calibri" pitchFamily="34" charset="0"/>
              </a:rPr>
              <a:t>Management</a:t>
            </a:r>
          </a:p>
        </p:txBody>
      </p:sp>
      <p:sp>
        <p:nvSpPr>
          <p:cNvPr id="76" name="Rectangle 129"/>
          <p:cNvSpPr/>
          <p:nvPr/>
        </p:nvSpPr>
        <p:spPr>
          <a:xfrm>
            <a:off x="4275905" y="2005856"/>
            <a:ext cx="944904" cy="438572"/>
          </a:xfrm>
          <a:prstGeom prst="rect">
            <a:avLst/>
          </a:prstGeom>
        </p:spPr>
        <p:txBody>
          <a:bodyPr wrap="none" lIns="68563" tIns="34285" rIns="68563" bIns="34285">
            <a:spAutoFit/>
          </a:bodyPr>
          <a:lstStyle/>
          <a:p>
            <a:r>
              <a:rPr lang="en-GB" sz="1200" dirty="0">
                <a:latin typeface="Calibri" pitchFamily="34" charset="0"/>
              </a:rPr>
              <a:t>Portfolio</a:t>
            </a:r>
            <a:br>
              <a:rPr lang="en-GB" sz="1200" dirty="0">
                <a:latin typeface="Calibri" pitchFamily="34" charset="0"/>
              </a:rPr>
            </a:br>
            <a:r>
              <a:rPr lang="en-GB" sz="1200" dirty="0">
                <a:latin typeface="Calibri" pitchFamily="34" charset="0"/>
              </a:rPr>
              <a:t>Optimization</a:t>
            </a:r>
          </a:p>
        </p:txBody>
      </p:sp>
      <p:sp>
        <p:nvSpPr>
          <p:cNvPr id="77" name="Rectangle 130"/>
          <p:cNvSpPr/>
          <p:nvPr/>
        </p:nvSpPr>
        <p:spPr>
          <a:xfrm>
            <a:off x="4344275" y="2808694"/>
            <a:ext cx="737988" cy="438572"/>
          </a:xfrm>
          <a:prstGeom prst="rect">
            <a:avLst/>
          </a:prstGeom>
        </p:spPr>
        <p:txBody>
          <a:bodyPr wrap="none" lIns="68563" tIns="34285" rIns="68563" bIns="34285">
            <a:spAutoFit/>
          </a:bodyPr>
          <a:lstStyle/>
          <a:p>
            <a:r>
              <a:rPr lang="en-GB" sz="1200" dirty="0">
                <a:latin typeface="Calibri" pitchFamily="34" charset="0"/>
              </a:rPr>
              <a:t>System </a:t>
            </a:r>
          </a:p>
          <a:p>
            <a:r>
              <a:rPr lang="en-GB" sz="1200" dirty="0">
                <a:latin typeface="Calibri" pitchFamily="34" charset="0"/>
              </a:rPr>
              <a:t>Balancing</a:t>
            </a:r>
          </a:p>
        </p:txBody>
      </p:sp>
      <p:sp>
        <p:nvSpPr>
          <p:cNvPr id="78" name="TextBox 133"/>
          <p:cNvSpPr txBox="1"/>
          <p:nvPr/>
        </p:nvSpPr>
        <p:spPr>
          <a:xfrm>
            <a:off x="6477693" y="2896899"/>
            <a:ext cx="1857405" cy="207739"/>
          </a:xfrm>
          <a:prstGeom prst="rect">
            <a:avLst/>
          </a:prstGeom>
          <a:noFill/>
        </p:spPr>
        <p:txBody>
          <a:bodyPr wrap="square" lIns="68563" tIns="34285" rIns="68563" bIns="34285" rtlCol="0">
            <a:spAutoFit/>
          </a:bodyPr>
          <a:lstStyle/>
          <a:p>
            <a:r>
              <a:rPr lang="en-GB" sz="900" b="1" dirty="0">
                <a:latin typeface="Calibri" pitchFamily="34" charset="0"/>
              </a:rPr>
              <a:t>Transmission System Operator</a:t>
            </a:r>
          </a:p>
        </p:txBody>
      </p:sp>
      <p:sp>
        <p:nvSpPr>
          <p:cNvPr id="79" name="TextBox 145"/>
          <p:cNvSpPr txBox="1"/>
          <p:nvPr/>
        </p:nvSpPr>
        <p:spPr>
          <a:xfrm>
            <a:off x="6477693" y="2130421"/>
            <a:ext cx="1737723" cy="207739"/>
          </a:xfrm>
          <a:prstGeom prst="rect">
            <a:avLst/>
          </a:prstGeom>
          <a:noFill/>
        </p:spPr>
        <p:txBody>
          <a:bodyPr wrap="square" lIns="68563" tIns="34285" rIns="68563" bIns="34285" rtlCol="0">
            <a:spAutoFit/>
          </a:bodyPr>
          <a:lstStyle/>
          <a:p>
            <a:r>
              <a:rPr lang="en-GB" sz="900" b="1" dirty="0">
                <a:latin typeface="Calibri" pitchFamily="34" charset="0"/>
              </a:rPr>
              <a:t>Balance Responsible Party</a:t>
            </a:r>
          </a:p>
        </p:txBody>
      </p:sp>
      <p:sp>
        <p:nvSpPr>
          <p:cNvPr id="80" name="TextBox 146"/>
          <p:cNvSpPr txBox="1"/>
          <p:nvPr/>
        </p:nvSpPr>
        <p:spPr>
          <a:xfrm>
            <a:off x="6477693" y="1389677"/>
            <a:ext cx="1737723" cy="207739"/>
          </a:xfrm>
          <a:prstGeom prst="rect">
            <a:avLst/>
          </a:prstGeom>
          <a:noFill/>
        </p:spPr>
        <p:txBody>
          <a:bodyPr wrap="square" lIns="68563" tIns="34285" rIns="68563" bIns="34285" rtlCol="0">
            <a:spAutoFit/>
          </a:bodyPr>
          <a:lstStyle/>
          <a:p>
            <a:r>
              <a:rPr lang="en-GB" sz="900" b="1" dirty="0">
                <a:latin typeface="Calibri" pitchFamily="34" charset="0"/>
              </a:rPr>
              <a:t>Distribution System Operator</a:t>
            </a:r>
          </a:p>
        </p:txBody>
      </p:sp>
      <p:sp>
        <p:nvSpPr>
          <p:cNvPr id="81" name="Freeform 5"/>
          <p:cNvSpPr>
            <a:spLocks noEditPoints="1"/>
          </p:cNvSpPr>
          <p:nvPr/>
        </p:nvSpPr>
        <p:spPr bwMode="auto">
          <a:xfrm>
            <a:off x="5733764" y="1267049"/>
            <a:ext cx="701671" cy="418485"/>
          </a:xfrm>
          <a:custGeom>
            <a:avLst/>
            <a:gdLst>
              <a:gd name="T0" fmla="*/ 325 w 1086"/>
              <a:gd name="T1" fmla="*/ 477 h 643"/>
              <a:gd name="T2" fmla="*/ 234 w 1086"/>
              <a:gd name="T3" fmla="*/ 510 h 643"/>
              <a:gd name="T4" fmla="*/ 185 w 1086"/>
              <a:gd name="T5" fmla="*/ 588 h 643"/>
              <a:gd name="T6" fmla="*/ 141 w 1086"/>
              <a:gd name="T7" fmla="*/ 617 h 643"/>
              <a:gd name="T8" fmla="*/ 170 w 1086"/>
              <a:gd name="T9" fmla="*/ 550 h 643"/>
              <a:gd name="T10" fmla="*/ 206 w 1086"/>
              <a:gd name="T11" fmla="*/ 408 h 643"/>
              <a:gd name="T12" fmla="*/ 20 w 1086"/>
              <a:gd name="T13" fmla="*/ 362 h 643"/>
              <a:gd name="T14" fmla="*/ 45 w 1086"/>
              <a:gd name="T15" fmla="*/ 281 h 643"/>
              <a:gd name="T16" fmla="*/ 215 w 1086"/>
              <a:gd name="T17" fmla="*/ 379 h 643"/>
              <a:gd name="T18" fmla="*/ 401 w 1086"/>
              <a:gd name="T19" fmla="*/ 271 h 643"/>
              <a:gd name="T20" fmla="*/ 244 w 1086"/>
              <a:gd name="T21" fmla="*/ 158 h 643"/>
              <a:gd name="T22" fmla="*/ 181 w 1086"/>
              <a:gd name="T23" fmla="*/ 78 h 643"/>
              <a:gd name="T24" fmla="*/ 256 w 1086"/>
              <a:gd name="T25" fmla="*/ 129 h 643"/>
              <a:gd name="T26" fmla="*/ 454 w 1086"/>
              <a:gd name="T27" fmla="*/ 191 h 643"/>
              <a:gd name="T28" fmla="*/ 506 w 1086"/>
              <a:gd name="T29" fmla="*/ 71 h 643"/>
              <a:gd name="T30" fmla="*/ 539 w 1086"/>
              <a:gd name="T31" fmla="*/ 3 h 643"/>
              <a:gd name="T32" fmla="*/ 578 w 1086"/>
              <a:gd name="T33" fmla="*/ 52 h 643"/>
              <a:gd name="T34" fmla="*/ 775 w 1086"/>
              <a:gd name="T35" fmla="*/ 199 h 643"/>
              <a:gd name="T36" fmla="*/ 997 w 1086"/>
              <a:gd name="T37" fmla="*/ 187 h 643"/>
              <a:gd name="T38" fmla="*/ 1036 w 1086"/>
              <a:gd name="T39" fmla="*/ 125 h 643"/>
              <a:gd name="T40" fmla="*/ 1056 w 1086"/>
              <a:gd name="T41" fmla="*/ 210 h 643"/>
              <a:gd name="T42" fmla="*/ 916 w 1086"/>
              <a:gd name="T43" fmla="*/ 297 h 643"/>
              <a:gd name="T44" fmla="*/ 1037 w 1086"/>
              <a:gd name="T45" fmla="*/ 466 h 643"/>
              <a:gd name="T46" fmla="*/ 1016 w 1086"/>
              <a:gd name="T47" fmla="*/ 503 h 643"/>
              <a:gd name="T48" fmla="*/ 975 w 1086"/>
              <a:gd name="T49" fmla="*/ 442 h 643"/>
              <a:gd name="T50" fmla="*/ 865 w 1086"/>
              <a:gd name="T51" fmla="*/ 291 h 643"/>
              <a:gd name="T52" fmla="*/ 741 w 1086"/>
              <a:gd name="T53" fmla="*/ 232 h 643"/>
              <a:gd name="T54" fmla="*/ 794 w 1086"/>
              <a:gd name="T55" fmla="*/ 450 h 643"/>
              <a:gd name="T56" fmla="*/ 847 w 1086"/>
              <a:gd name="T57" fmla="*/ 572 h 643"/>
              <a:gd name="T58" fmla="*/ 896 w 1086"/>
              <a:gd name="T59" fmla="*/ 609 h 643"/>
              <a:gd name="T60" fmla="*/ 826 w 1086"/>
              <a:gd name="T61" fmla="*/ 598 h 643"/>
              <a:gd name="T62" fmla="*/ 711 w 1086"/>
              <a:gd name="T63" fmla="*/ 553 h 643"/>
              <a:gd name="T64" fmla="*/ 491 w 1086"/>
              <a:gd name="T65" fmla="*/ 556 h 643"/>
              <a:gd name="T66" fmla="*/ 401 w 1086"/>
              <a:gd name="T67" fmla="*/ 536 h 643"/>
              <a:gd name="T68" fmla="*/ 681 w 1086"/>
              <a:gd name="T69" fmla="*/ 423 h 643"/>
              <a:gd name="T70" fmla="*/ 713 w 1086"/>
              <a:gd name="T71" fmla="*/ 232 h 643"/>
              <a:gd name="T72" fmla="*/ 568 w 1086"/>
              <a:gd name="T73" fmla="*/ 82 h 643"/>
              <a:gd name="T74" fmla="*/ 480 w 1086"/>
              <a:gd name="T75" fmla="*/ 206 h 643"/>
              <a:gd name="T76" fmla="*/ 652 w 1086"/>
              <a:gd name="T77" fmla="*/ 485 h 643"/>
              <a:gd name="T78" fmla="*/ 477 w 1086"/>
              <a:gd name="T79" fmla="*/ 289 h 643"/>
              <a:gd name="T80" fmla="*/ 339 w 1086"/>
              <a:gd name="T81" fmla="*/ 379 h 643"/>
              <a:gd name="T82" fmla="*/ 421 w 1086"/>
              <a:gd name="T83" fmla="*/ 513 h 643"/>
              <a:gd name="T84" fmla="*/ 652 w 1086"/>
              <a:gd name="T85" fmla="*/ 485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6" h="643">
                <a:moveTo>
                  <a:pt x="401" y="536"/>
                </a:moveTo>
                <a:cubicBezTo>
                  <a:pt x="377" y="517"/>
                  <a:pt x="352" y="497"/>
                  <a:pt x="325" y="477"/>
                </a:cubicBezTo>
                <a:cubicBezTo>
                  <a:pt x="304" y="498"/>
                  <a:pt x="277" y="493"/>
                  <a:pt x="248" y="491"/>
                </a:cubicBezTo>
                <a:cubicBezTo>
                  <a:pt x="243" y="497"/>
                  <a:pt x="238" y="503"/>
                  <a:pt x="234" y="510"/>
                </a:cubicBezTo>
                <a:cubicBezTo>
                  <a:pt x="220" y="529"/>
                  <a:pt x="206" y="548"/>
                  <a:pt x="193" y="568"/>
                </a:cubicBezTo>
                <a:cubicBezTo>
                  <a:pt x="189" y="574"/>
                  <a:pt x="185" y="581"/>
                  <a:pt x="185" y="588"/>
                </a:cubicBezTo>
                <a:cubicBezTo>
                  <a:pt x="187" y="609"/>
                  <a:pt x="176" y="619"/>
                  <a:pt x="156" y="623"/>
                </a:cubicBezTo>
                <a:cubicBezTo>
                  <a:pt x="152" y="621"/>
                  <a:pt x="146" y="620"/>
                  <a:pt x="141" y="617"/>
                </a:cubicBezTo>
                <a:cubicBezTo>
                  <a:pt x="125" y="603"/>
                  <a:pt x="124" y="578"/>
                  <a:pt x="146" y="570"/>
                </a:cubicBezTo>
                <a:cubicBezTo>
                  <a:pt x="158" y="566"/>
                  <a:pt x="164" y="559"/>
                  <a:pt x="170" y="550"/>
                </a:cubicBezTo>
                <a:cubicBezTo>
                  <a:pt x="187" y="525"/>
                  <a:pt x="205" y="499"/>
                  <a:pt x="223" y="473"/>
                </a:cubicBezTo>
                <a:cubicBezTo>
                  <a:pt x="208" y="453"/>
                  <a:pt x="200" y="433"/>
                  <a:pt x="206" y="408"/>
                </a:cubicBezTo>
                <a:cubicBezTo>
                  <a:pt x="163" y="391"/>
                  <a:pt x="121" y="373"/>
                  <a:pt x="78" y="356"/>
                </a:cubicBezTo>
                <a:cubicBezTo>
                  <a:pt x="61" y="369"/>
                  <a:pt x="42" y="377"/>
                  <a:pt x="20" y="362"/>
                </a:cubicBezTo>
                <a:cubicBezTo>
                  <a:pt x="3" y="350"/>
                  <a:pt x="0" y="333"/>
                  <a:pt x="3" y="315"/>
                </a:cubicBezTo>
                <a:cubicBezTo>
                  <a:pt x="8" y="293"/>
                  <a:pt x="25" y="285"/>
                  <a:pt x="45" y="281"/>
                </a:cubicBezTo>
                <a:cubicBezTo>
                  <a:pt x="77" y="291"/>
                  <a:pt x="81" y="294"/>
                  <a:pt x="92" y="329"/>
                </a:cubicBezTo>
                <a:cubicBezTo>
                  <a:pt x="132" y="345"/>
                  <a:pt x="173" y="362"/>
                  <a:pt x="215" y="379"/>
                </a:cubicBezTo>
                <a:cubicBezTo>
                  <a:pt x="244" y="348"/>
                  <a:pt x="277" y="338"/>
                  <a:pt x="315" y="357"/>
                </a:cubicBezTo>
                <a:cubicBezTo>
                  <a:pt x="344" y="328"/>
                  <a:pt x="372" y="300"/>
                  <a:pt x="401" y="271"/>
                </a:cubicBezTo>
                <a:cubicBezTo>
                  <a:pt x="399" y="260"/>
                  <a:pt x="397" y="249"/>
                  <a:pt x="395" y="235"/>
                </a:cubicBezTo>
                <a:cubicBezTo>
                  <a:pt x="345" y="210"/>
                  <a:pt x="294" y="183"/>
                  <a:pt x="244" y="158"/>
                </a:cubicBezTo>
                <a:cubicBezTo>
                  <a:pt x="203" y="177"/>
                  <a:pt x="177" y="172"/>
                  <a:pt x="162" y="143"/>
                </a:cubicBezTo>
                <a:cubicBezTo>
                  <a:pt x="150" y="121"/>
                  <a:pt x="159" y="91"/>
                  <a:pt x="181" y="78"/>
                </a:cubicBezTo>
                <a:cubicBezTo>
                  <a:pt x="207" y="63"/>
                  <a:pt x="234" y="73"/>
                  <a:pt x="254" y="104"/>
                </a:cubicBezTo>
                <a:cubicBezTo>
                  <a:pt x="255" y="112"/>
                  <a:pt x="256" y="120"/>
                  <a:pt x="256" y="129"/>
                </a:cubicBezTo>
                <a:cubicBezTo>
                  <a:pt x="307" y="156"/>
                  <a:pt x="358" y="183"/>
                  <a:pt x="408" y="209"/>
                </a:cubicBezTo>
                <a:cubicBezTo>
                  <a:pt x="423" y="203"/>
                  <a:pt x="436" y="198"/>
                  <a:pt x="454" y="191"/>
                </a:cubicBezTo>
                <a:cubicBezTo>
                  <a:pt x="458" y="181"/>
                  <a:pt x="463" y="168"/>
                  <a:pt x="469" y="156"/>
                </a:cubicBezTo>
                <a:cubicBezTo>
                  <a:pt x="481" y="127"/>
                  <a:pt x="494" y="99"/>
                  <a:pt x="506" y="71"/>
                </a:cubicBezTo>
                <a:cubicBezTo>
                  <a:pt x="509" y="63"/>
                  <a:pt x="513" y="56"/>
                  <a:pt x="509" y="45"/>
                </a:cubicBezTo>
                <a:cubicBezTo>
                  <a:pt x="504" y="26"/>
                  <a:pt x="519" y="6"/>
                  <a:pt x="539" y="3"/>
                </a:cubicBezTo>
                <a:cubicBezTo>
                  <a:pt x="559" y="0"/>
                  <a:pt x="576" y="14"/>
                  <a:pt x="578" y="36"/>
                </a:cubicBezTo>
                <a:cubicBezTo>
                  <a:pt x="578" y="41"/>
                  <a:pt x="578" y="46"/>
                  <a:pt x="578" y="52"/>
                </a:cubicBezTo>
                <a:cubicBezTo>
                  <a:pt x="618" y="83"/>
                  <a:pt x="658" y="114"/>
                  <a:pt x="698" y="145"/>
                </a:cubicBezTo>
                <a:cubicBezTo>
                  <a:pt x="751" y="135"/>
                  <a:pt x="771" y="149"/>
                  <a:pt x="775" y="199"/>
                </a:cubicBezTo>
                <a:cubicBezTo>
                  <a:pt x="814" y="224"/>
                  <a:pt x="853" y="249"/>
                  <a:pt x="894" y="275"/>
                </a:cubicBezTo>
                <a:cubicBezTo>
                  <a:pt x="928" y="246"/>
                  <a:pt x="962" y="217"/>
                  <a:pt x="997" y="187"/>
                </a:cubicBezTo>
                <a:cubicBezTo>
                  <a:pt x="997" y="180"/>
                  <a:pt x="997" y="174"/>
                  <a:pt x="997" y="167"/>
                </a:cubicBezTo>
                <a:cubicBezTo>
                  <a:pt x="997" y="146"/>
                  <a:pt x="1014" y="128"/>
                  <a:pt x="1036" y="125"/>
                </a:cubicBezTo>
                <a:cubicBezTo>
                  <a:pt x="1054" y="122"/>
                  <a:pt x="1078" y="140"/>
                  <a:pt x="1082" y="160"/>
                </a:cubicBezTo>
                <a:cubicBezTo>
                  <a:pt x="1086" y="180"/>
                  <a:pt x="1074" y="201"/>
                  <a:pt x="1056" y="210"/>
                </a:cubicBezTo>
                <a:cubicBezTo>
                  <a:pt x="1042" y="217"/>
                  <a:pt x="1030" y="210"/>
                  <a:pt x="1016" y="209"/>
                </a:cubicBezTo>
                <a:cubicBezTo>
                  <a:pt x="983" y="238"/>
                  <a:pt x="950" y="267"/>
                  <a:pt x="916" y="297"/>
                </a:cubicBezTo>
                <a:cubicBezTo>
                  <a:pt x="943" y="338"/>
                  <a:pt x="969" y="379"/>
                  <a:pt x="996" y="419"/>
                </a:cubicBezTo>
                <a:cubicBezTo>
                  <a:pt x="1008" y="436"/>
                  <a:pt x="1017" y="455"/>
                  <a:pt x="1037" y="466"/>
                </a:cubicBezTo>
                <a:cubicBezTo>
                  <a:pt x="1046" y="471"/>
                  <a:pt x="1044" y="484"/>
                  <a:pt x="1033" y="502"/>
                </a:cubicBezTo>
                <a:cubicBezTo>
                  <a:pt x="1027" y="502"/>
                  <a:pt x="1021" y="503"/>
                  <a:pt x="1016" y="503"/>
                </a:cubicBezTo>
                <a:cubicBezTo>
                  <a:pt x="1006" y="503"/>
                  <a:pt x="998" y="496"/>
                  <a:pt x="998" y="488"/>
                </a:cubicBezTo>
                <a:cubicBezTo>
                  <a:pt x="997" y="468"/>
                  <a:pt x="984" y="456"/>
                  <a:pt x="975" y="442"/>
                </a:cubicBezTo>
                <a:cubicBezTo>
                  <a:pt x="950" y="403"/>
                  <a:pt x="924" y="365"/>
                  <a:pt x="900" y="326"/>
                </a:cubicBezTo>
                <a:cubicBezTo>
                  <a:pt x="891" y="312"/>
                  <a:pt x="879" y="300"/>
                  <a:pt x="865" y="291"/>
                </a:cubicBezTo>
                <a:cubicBezTo>
                  <a:pt x="829" y="269"/>
                  <a:pt x="794" y="247"/>
                  <a:pt x="758" y="223"/>
                </a:cubicBezTo>
                <a:cubicBezTo>
                  <a:pt x="752" y="226"/>
                  <a:pt x="747" y="229"/>
                  <a:pt x="741" y="232"/>
                </a:cubicBezTo>
                <a:cubicBezTo>
                  <a:pt x="741" y="290"/>
                  <a:pt x="741" y="348"/>
                  <a:pt x="741" y="407"/>
                </a:cubicBezTo>
                <a:cubicBezTo>
                  <a:pt x="763" y="417"/>
                  <a:pt x="784" y="427"/>
                  <a:pt x="794" y="450"/>
                </a:cubicBezTo>
                <a:cubicBezTo>
                  <a:pt x="803" y="473"/>
                  <a:pt x="804" y="496"/>
                  <a:pt x="789" y="519"/>
                </a:cubicBezTo>
                <a:cubicBezTo>
                  <a:pt x="808" y="537"/>
                  <a:pt x="827" y="554"/>
                  <a:pt x="847" y="572"/>
                </a:cubicBezTo>
                <a:cubicBezTo>
                  <a:pt x="860" y="576"/>
                  <a:pt x="877" y="568"/>
                  <a:pt x="888" y="583"/>
                </a:cubicBezTo>
                <a:cubicBezTo>
                  <a:pt x="895" y="591"/>
                  <a:pt x="897" y="599"/>
                  <a:pt x="896" y="609"/>
                </a:cubicBezTo>
                <a:cubicBezTo>
                  <a:pt x="896" y="628"/>
                  <a:pt x="880" y="643"/>
                  <a:pt x="861" y="643"/>
                </a:cubicBezTo>
                <a:cubicBezTo>
                  <a:pt x="840" y="643"/>
                  <a:pt x="827" y="626"/>
                  <a:pt x="826" y="598"/>
                </a:cubicBezTo>
                <a:cubicBezTo>
                  <a:pt x="808" y="579"/>
                  <a:pt x="791" y="560"/>
                  <a:pt x="773" y="541"/>
                </a:cubicBezTo>
                <a:cubicBezTo>
                  <a:pt x="753" y="554"/>
                  <a:pt x="732" y="556"/>
                  <a:pt x="711" y="553"/>
                </a:cubicBezTo>
                <a:cubicBezTo>
                  <a:pt x="689" y="550"/>
                  <a:pt x="673" y="536"/>
                  <a:pt x="661" y="516"/>
                </a:cubicBezTo>
                <a:cubicBezTo>
                  <a:pt x="603" y="525"/>
                  <a:pt x="547" y="543"/>
                  <a:pt x="491" y="556"/>
                </a:cubicBezTo>
                <a:cubicBezTo>
                  <a:pt x="479" y="588"/>
                  <a:pt x="463" y="598"/>
                  <a:pt x="436" y="593"/>
                </a:cubicBezTo>
                <a:cubicBezTo>
                  <a:pt x="414" y="590"/>
                  <a:pt x="404" y="573"/>
                  <a:pt x="401" y="536"/>
                </a:cubicBezTo>
                <a:close/>
                <a:moveTo>
                  <a:pt x="493" y="265"/>
                </a:moveTo>
                <a:cubicBezTo>
                  <a:pt x="557" y="318"/>
                  <a:pt x="619" y="371"/>
                  <a:pt x="681" y="423"/>
                </a:cubicBezTo>
                <a:cubicBezTo>
                  <a:pt x="693" y="417"/>
                  <a:pt x="703" y="412"/>
                  <a:pt x="713" y="407"/>
                </a:cubicBezTo>
                <a:cubicBezTo>
                  <a:pt x="713" y="349"/>
                  <a:pt x="713" y="291"/>
                  <a:pt x="713" y="232"/>
                </a:cubicBezTo>
                <a:cubicBezTo>
                  <a:pt x="690" y="219"/>
                  <a:pt x="674" y="201"/>
                  <a:pt x="683" y="171"/>
                </a:cubicBezTo>
                <a:cubicBezTo>
                  <a:pt x="645" y="141"/>
                  <a:pt x="607" y="112"/>
                  <a:pt x="568" y="82"/>
                </a:cubicBezTo>
                <a:cubicBezTo>
                  <a:pt x="559" y="74"/>
                  <a:pt x="549" y="70"/>
                  <a:pt x="535" y="77"/>
                </a:cubicBezTo>
                <a:cubicBezTo>
                  <a:pt x="517" y="119"/>
                  <a:pt x="498" y="163"/>
                  <a:pt x="480" y="206"/>
                </a:cubicBezTo>
                <a:cubicBezTo>
                  <a:pt x="493" y="224"/>
                  <a:pt x="502" y="241"/>
                  <a:pt x="493" y="265"/>
                </a:cubicBezTo>
                <a:close/>
                <a:moveTo>
                  <a:pt x="652" y="485"/>
                </a:moveTo>
                <a:cubicBezTo>
                  <a:pt x="654" y="473"/>
                  <a:pt x="657" y="460"/>
                  <a:pt x="660" y="444"/>
                </a:cubicBezTo>
                <a:cubicBezTo>
                  <a:pt x="599" y="393"/>
                  <a:pt x="538" y="341"/>
                  <a:pt x="477" y="289"/>
                </a:cubicBezTo>
                <a:cubicBezTo>
                  <a:pt x="458" y="295"/>
                  <a:pt x="441" y="299"/>
                  <a:pt x="423" y="290"/>
                </a:cubicBezTo>
                <a:cubicBezTo>
                  <a:pt x="394" y="321"/>
                  <a:pt x="367" y="350"/>
                  <a:pt x="339" y="379"/>
                </a:cubicBezTo>
                <a:cubicBezTo>
                  <a:pt x="350" y="404"/>
                  <a:pt x="357" y="428"/>
                  <a:pt x="343" y="453"/>
                </a:cubicBezTo>
                <a:cubicBezTo>
                  <a:pt x="370" y="474"/>
                  <a:pt x="396" y="494"/>
                  <a:pt x="421" y="513"/>
                </a:cubicBezTo>
                <a:cubicBezTo>
                  <a:pt x="458" y="506"/>
                  <a:pt x="460" y="507"/>
                  <a:pt x="486" y="527"/>
                </a:cubicBezTo>
                <a:cubicBezTo>
                  <a:pt x="541" y="513"/>
                  <a:pt x="595" y="499"/>
                  <a:pt x="652" y="485"/>
                </a:cubicBezTo>
                <a:close/>
              </a:path>
            </a:pathLst>
          </a:custGeom>
          <a:solidFill>
            <a:srgbClr val="FF5415"/>
          </a:solidFill>
          <a:ln>
            <a:noFill/>
          </a:ln>
          <a:extLst/>
        </p:spPr>
        <p:txBody>
          <a:bodyPr vert="horz" wrap="square" lIns="68563" tIns="34285" rIns="68563" bIns="34285" numCol="1" anchor="t" anchorCtr="0" compatLnSpc="1">
            <a:prstTxWarp prst="textNoShape">
              <a:avLst/>
            </a:prstTxWarp>
          </a:bodyPr>
          <a:lstStyle/>
          <a:p>
            <a:endParaRPr lang="en-GB" dirty="0">
              <a:latin typeface="Calibri" pitchFamily="34" charset="0"/>
            </a:endParaRPr>
          </a:p>
        </p:txBody>
      </p:sp>
      <p:grpSp>
        <p:nvGrpSpPr>
          <p:cNvPr id="82" name="Group 81"/>
          <p:cNvGrpSpPr/>
          <p:nvPr/>
        </p:nvGrpSpPr>
        <p:grpSpPr>
          <a:xfrm>
            <a:off x="5852817" y="2026934"/>
            <a:ext cx="547493" cy="387021"/>
            <a:chOff x="5935440" y="2091640"/>
            <a:chExt cx="552450" cy="390525"/>
          </a:xfrm>
        </p:grpSpPr>
        <p:sp>
          <p:nvSpPr>
            <p:cNvPr id="83" name="Freeform 5"/>
            <p:cNvSpPr>
              <a:spLocks/>
            </p:cNvSpPr>
            <p:nvPr/>
          </p:nvSpPr>
          <p:spPr bwMode="auto">
            <a:xfrm>
              <a:off x="5935440" y="2091640"/>
              <a:ext cx="552450" cy="388938"/>
            </a:xfrm>
            <a:custGeom>
              <a:avLst/>
              <a:gdLst>
                <a:gd name="T0" fmla="*/ 562 w 562"/>
                <a:gd name="T1" fmla="*/ 67 h 395"/>
                <a:gd name="T2" fmla="*/ 540 w 562"/>
                <a:gd name="T3" fmla="*/ 67 h 395"/>
                <a:gd name="T4" fmla="*/ 537 w 562"/>
                <a:gd name="T5" fmla="*/ 42 h 395"/>
                <a:gd name="T6" fmla="*/ 431 w 562"/>
                <a:gd name="T7" fmla="*/ 162 h 395"/>
                <a:gd name="T8" fmla="*/ 431 w 562"/>
                <a:gd name="T9" fmla="*/ 395 h 395"/>
                <a:gd name="T10" fmla="*/ 356 w 562"/>
                <a:gd name="T11" fmla="*/ 395 h 395"/>
                <a:gd name="T12" fmla="*/ 356 w 562"/>
                <a:gd name="T13" fmla="*/ 193 h 395"/>
                <a:gd name="T14" fmla="*/ 172 w 562"/>
                <a:gd name="T15" fmla="*/ 51 h 395"/>
                <a:gd name="T16" fmla="*/ 94 w 562"/>
                <a:gd name="T17" fmla="*/ 154 h 395"/>
                <a:gd name="T18" fmla="*/ 17 w 562"/>
                <a:gd name="T19" fmla="*/ 256 h 395"/>
                <a:gd name="T20" fmla="*/ 0 w 562"/>
                <a:gd name="T21" fmla="*/ 240 h 395"/>
                <a:gd name="T22" fmla="*/ 168 w 562"/>
                <a:gd name="T23" fmla="*/ 19 h 395"/>
                <a:gd name="T24" fmla="*/ 261 w 562"/>
                <a:gd name="T25" fmla="*/ 91 h 395"/>
                <a:gd name="T26" fmla="*/ 355 w 562"/>
                <a:gd name="T27" fmla="*/ 162 h 395"/>
                <a:gd name="T28" fmla="*/ 355 w 562"/>
                <a:gd name="T29" fmla="*/ 80 h 395"/>
                <a:gd name="T30" fmla="*/ 355 w 562"/>
                <a:gd name="T31" fmla="*/ 0 h 395"/>
                <a:gd name="T32" fmla="*/ 431 w 562"/>
                <a:gd name="T33" fmla="*/ 0 h 395"/>
                <a:gd name="T34" fmla="*/ 431 w 562"/>
                <a:gd name="T35" fmla="*/ 119 h 395"/>
                <a:gd name="T36" fmla="*/ 447 w 562"/>
                <a:gd name="T37" fmla="*/ 109 h 395"/>
                <a:gd name="T38" fmla="*/ 479 w 562"/>
                <a:gd name="T39" fmla="*/ 74 h 395"/>
                <a:gd name="T40" fmla="*/ 523 w 562"/>
                <a:gd name="T41" fmla="*/ 25 h 395"/>
                <a:gd name="T42" fmla="*/ 500 w 562"/>
                <a:gd name="T43" fmla="*/ 18 h 395"/>
                <a:gd name="T44" fmla="*/ 500 w 562"/>
                <a:gd name="T45" fmla="*/ 0 h 395"/>
                <a:gd name="T46" fmla="*/ 562 w 562"/>
                <a:gd name="T47" fmla="*/ 0 h 395"/>
                <a:gd name="T48" fmla="*/ 562 w 562"/>
                <a:gd name="T49" fmla="*/ 67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2" h="395">
                  <a:moveTo>
                    <a:pt x="562" y="67"/>
                  </a:moveTo>
                  <a:cubicBezTo>
                    <a:pt x="554" y="67"/>
                    <a:pt x="547" y="67"/>
                    <a:pt x="540" y="67"/>
                  </a:cubicBezTo>
                  <a:cubicBezTo>
                    <a:pt x="537" y="59"/>
                    <a:pt x="541" y="51"/>
                    <a:pt x="537" y="42"/>
                  </a:cubicBezTo>
                  <a:cubicBezTo>
                    <a:pt x="503" y="84"/>
                    <a:pt x="464" y="119"/>
                    <a:pt x="431" y="162"/>
                  </a:cubicBezTo>
                  <a:cubicBezTo>
                    <a:pt x="431" y="239"/>
                    <a:pt x="431" y="317"/>
                    <a:pt x="431" y="395"/>
                  </a:cubicBezTo>
                  <a:cubicBezTo>
                    <a:pt x="405" y="395"/>
                    <a:pt x="381" y="395"/>
                    <a:pt x="356" y="395"/>
                  </a:cubicBezTo>
                  <a:cubicBezTo>
                    <a:pt x="356" y="328"/>
                    <a:pt x="356" y="261"/>
                    <a:pt x="356" y="193"/>
                  </a:cubicBezTo>
                  <a:cubicBezTo>
                    <a:pt x="295" y="146"/>
                    <a:pt x="234" y="99"/>
                    <a:pt x="172" y="51"/>
                  </a:cubicBezTo>
                  <a:cubicBezTo>
                    <a:pt x="147" y="85"/>
                    <a:pt x="121" y="120"/>
                    <a:pt x="94" y="154"/>
                  </a:cubicBezTo>
                  <a:cubicBezTo>
                    <a:pt x="68" y="188"/>
                    <a:pt x="44" y="224"/>
                    <a:pt x="17" y="256"/>
                  </a:cubicBezTo>
                  <a:cubicBezTo>
                    <a:pt x="11" y="250"/>
                    <a:pt x="6" y="245"/>
                    <a:pt x="0" y="240"/>
                  </a:cubicBezTo>
                  <a:cubicBezTo>
                    <a:pt x="55" y="167"/>
                    <a:pt x="112" y="93"/>
                    <a:pt x="168" y="19"/>
                  </a:cubicBezTo>
                  <a:cubicBezTo>
                    <a:pt x="200" y="43"/>
                    <a:pt x="231" y="67"/>
                    <a:pt x="261" y="91"/>
                  </a:cubicBezTo>
                  <a:cubicBezTo>
                    <a:pt x="291" y="115"/>
                    <a:pt x="322" y="137"/>
                    <a:pt x="355" y="162"/>
                  </a:cubicBezTo>
                  <a:cubicBezTo>
                    <a:pt x="355" y="133"/>
                    <a:pt x="355" y="107"/>
                    <a:pt x="355" y="80"/>
                  </a:cubicBezTo>
                  <a:cubicBezTo>
                    <a:pt x="355" y="54"/>
                    <a:pt x="355" y="27"/>
                    <a:pt x="355" y="0"/>
                  </a:cubicBezTo>
                  <a:cubicBezTo>
                    <a:pt x="380" y="0"/>
                    <a:pt x="405" y="0"/>
                    <a:pt x="431" y="0"/>
                  </a:cubicBezTo>
                  <a:cubicBezTo>
                    <a:pt x="431" y="39"/>
                    <a:pt x="431" y="79"/>
                    <a:pt x="431" y="119"/>
                  </a:cubicBezTo>
                  <a:cubicBezTo>
                    <a:pt x="440" y="120"/>
                    <a:pt x="444" y="114"/>
                    <a:pt x="447" y="109"/>
                  </a:cubicBezTo>
                  <a:cubicBezTo>
                    <a:pt x="455" y="95"/>
                    <a:pt x="467" y="85"/>
                    <a:pt x="479" y="74"/>
                  </a:cubicBezTo>
                  <a:cubicBezTo>
                    <a:pt x="494" y="58"/>
                    <a:pt x="506" y="39"/>
                    <a:pt x="523" y="25"/>
                  </a:cubicBezTo>
                  <a:cubicBezTo>
                    <a:pt x="516" y="20"/>
                    <a:pt x="506" y="28"/>
                    <a:pt x="500" y="18"/>
                  </a:cubicBezTo>
                  <a:cubicBezTo>
                    <a:pt x="500" y="13"/>
                    <a:pt x="500" y="6"/>
                    <a:pt x="500" y="0"/>
                  </a:cubicBezTo>
                  <a:cubicBezTo>
                    <a:pt x="521" y="0"/>
                    <a:pt x="541" y="0"/>
                    <a:pt x="562" y="0"/>
                  </a:cubicBezTo>
                  <a:cubicBezTo>
                    <a:pt x="562" y="22"/>
                    <a:pt x="562" y="43"/>
                    <a:pt x="562" y="67"/>
                  </a:cubicBezTo>
                  <a:close/>
                </a:path>
              </a:pathLst>
            </a:custGeom>
            <a:solidFill>
              <a:srgbClr val="FF5415"/>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84" name="Freeform 6"/>
            <p:cNvSpPr>
              <a:spLocks/>
            </p:cNvSpPr>
            <p:nvPr/>
          </p:nvSpPr>
          <p:spPr bwMode="auto">
            <a:xfrm>
              <a:off x="6079903" y="2239278"/>
              <a:ext cx="73025" cy="241300"/>
            </a:xfrm>
            <a:custGeom>
              <a:avLst/>
              <a:gdLst>
                <a:gd name="T0" fmla="*/ 74 w 74"/>
                <a:gd name="T1" fmla="*/ 244 h 244"/>
                <a:gd name="T2" fmla="*/ 0 w 74"/>
                <a:gd name="T3" fmla="*/ 244 h 244"/>
                <a:gd name="T4" fmla="*/ 0 w 74"/>
                <a:gd name="T5" fmla="*/ 1 h 244"/>
                <a:gd name="T6" fmla="*/ 74 w 74"/>
                <a:gd name="T7" fmla="*/ 0 h 244"/>
                <a:gd name="T8" fmla="*/ 74 w 74"/>
                <a:gd name="T9" fmla="*/ 244 h 244"/>
              </a:gdLst>
              <a:ahLst/>
              <a:cxnLst>
                <a:cxn ang="0">
                  <a:pos x="T0" y="T1"/>
                </a:cxn>
                <a:cxn ang="0">
                  <a:pos x="T2" y="T3"/>
                </a:cxn>
                <a:cxn ang="0">
                  <a:pos x="T4" y="T5"/>
                </a:cxn>
                <a:cxn ang="0">
                  <a:pos x="T6" y="T7"/>
                </a:cxn>
                <a:cxn ang="0">
                  <a:pos x="T8" y="T9"/>
                </a:cxn>
              </a:cxnLst>
              <a:rect l="0" t="0" r="r" b="b"/>
              <a:pathLst>
                <a:path w="74" h="244">
                  <a:moveTo>
                    <a:pt x="74" y="244"/>
                  </a:moveTo>
                  <a:cubicBezTo>
                    <a:pt x="49" y="244"/>
                    <a:pt x="25" y="244"/>
                    <a:pt x="0" y="244"/>
                  </a:cubicBezTo>
                  <a:cubicBezTo>
                    <a:pt x="0" y="163"/>
                    <a:pt x="0" y="83"/>
                    <a:pt x="0" y="1"/>
                  </a:cubicBezTo>
                  <a:cubicBezTo>
                    <a:pt x="24" y="0"/>
                    <a:pt x="49" y="0"/>
                    <a:pt x="74" y="0"/>
                  </a:cubicBezTo>
                  <a:cubicBezTo>
                    <a:pt x="74" y="82"/>
                    <a:pt x="74" y="162"/>
                    <a:pt x="74" y="244"/>
                  </a:cubicBezTo>
                  <a:close/>
                </a:path>
              </a:pathLst>
            </a:custGeom>
            <a:solidFill>
              <a:srgbClr val="FF5415"/>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86" name="Freeform 8"/>
            <p:cNvSpPr>
              <a:spLocks/>
            </p:cNvSpPr>
            <p:nvPr/>
          </p:nvSpPr>
          <p:spPr bwMode="auto">
            <a:xfrm>
              <a:off x="6183090" y="2307540"/>
              <a:ext cx="74613" cy="174625"/>
            </a:xfrm>
            <a:custGeom>
              <a:avLst/>
              <a:gdLst>
                <a:gd name="T0" fmla="*/ 0 w 75"/>
                <a:gd name="T1" fmla="*/ 0 h 176"/>
                <a:gd name="T2" fmla="*/ 74 w 75"/>
                <a:gd name="T3" fmla="*/ 0 h 176"/>
                <a:gd name="T4" fmla="*/ 74 w 75"/>
                <a:gd name="T5" fmla="*/ 174 h 176"/>
                <a:gd name="T6" fmla="*/ 74 w 75"/>
                <a:gd name="T7" fmla="*/ 175 h 176"/>
                <a:gd name="T8" fmla="*/ 72 w 75"/>
                <a:gd name="T9" fmla="*/ 176 h 176"/>
                <a:gd name="T10" fmla="*/ 0 w 75"/>
                <a:gd name="T11" fmla="*/ 176 h 176"/>
                <a:gd name="T12" fmla="*/ 0 w 75"/>
                <a:gd name="T13" fmla="*/ 0 h 176"/>
              </a:gdLst>
              <a:ahLst/>
              <a:cxnLst>
                <a:cxn ang="0">
                  <a:pos x="T0" y="T1"/>
                </a:cxn>
                <a:cxn ang="0">
                  <a:pos x="T2" y="T3"/>
                </a:cxn>
                <a:cxn ang="0">
                  <a:pos x="T4" y="T5"/>
                </a:cxn>
                <a:cxn ang="0">
                  <a:pos x="T6" y="T7"/>
                </a:cxn>
                <a:cxn ang="0">
                  <a:pos x="T8" y="T9"/>
                </a:cxn>
                <a:cxn ang="0">
                  <a:pos x="T10" y="T11"/>
                </a:cxn>
                <a:cxn ang="0">
                  <a:pos x="T12" y="T13"/>
                </a:cxn>
              </a:cxnLst>
              <a:rect l="0" t="0" r="r" b="b"/>
              <a:pathLst>
                <a:path w="75" h="176">
                  <a:moveTo>
                    <a:pt x="0" y="0"/>
                  </a:moveTo>
                  <a:cubicBezTo>
                    <a:pt x="25" y="0"/>
                    <a:pt x="49" y="0"/>
                    <a:pt x="74" y="0"/>
                  </a:cubicBezTo>
                  <a:cubicBezTo>
                    <a:pt x="74" y="58"/>
                    <a:pt x="74" y="116"/>
                    <a:pt x="74" y="174"/>
                  </a:cubicBezTo>
                  <a:cubicBezTo>
                    <a:pt x="75" y="174"/>
                    <a:pt x="74" y="175"/>
                    <a:pt x="74" y="175"/>
                  </a:cubicBezTo>
                  <a:cubicBezTo>
                    <a:pt x="73" y="175"/>
                    <a:pt x="73" y="176"/>
                    <a:pt x="72" y="176"/>
                  </a:cubicBezTo>
                  <a:cubicBezTo>
                    <a:pt x="48" y="176"/>
                    <a:pt x="24" y="176"/>
                    <a:pt x="0" y="176"/>
                  </a:cubicBezTo>
                  <a:cubicBezTo>
                    <a:pt x="0" y="117"/>
                    <a:pt x="0" y="59"/>
                    <a:pt x="0" y="0"/>
                  </a:cubicBezTo>
                  <a:close/>
                </a:path>
              </a:pathLst>
            </a:custGeom>
            <a:solidFill>
              <a:srgbClr val="FF5415"/>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87" name="Freeform 9"/>
            <p:cNvSpPr>
              <a:spLocks/>
            </p:cNvSpPr>
            <p:nvPr/>
          </p:nvSpPr>
          <p:spPr bwMode="auto">
            <a:xfrm>
              <a:off x="5978303" y="2374215"/>
              <a:ext cx="73025" cy="106363"/>
            </a:xfrm>
            <a:custGeom>
              <a:avLst/>
              <a:gdLst>
                <a:gd name="T0" fmla="*/ 74 w 74"/>
                <a:gd name="T1" fmla="*/ 108 h 108"/>
                <a:gd name="T2" fmla="*/ 0 w 74"/>
                <a:gd name="T3" fmla="*/ 108 h 108"/>
                <a:gd name="T4" fmla="*/ 0 w 74"/>
                <a:gd name="T5" fmla="*/ 1 h 108"/>
                <a:gd name="T6" fmla="*/ 74 w 74"/>
                <a:gd name="T7" fmla="*/ 0 h 108"/>
                <a:gd name="T8" fmla="*/ 74 w 74"/>
                <a:gd name="T9" fmla="*/ 108 h 108"/>
              </a:gdLst>
              <a:ahLst/>
              <a:cxnLst>
                <a:cxn ang="0">
                  <a:pos x="T0" y="T1"/>
                </a:cxn>
                <a:cxn ang="0">
                  <a:pos x="T2" y="T3"/>
                </a:cxn>
                <a:cxn ang="0">
                  <a:pos x="T4" y="T5"/>
                </a:cxn>
                <a:cxn ang="0">
                  <a:pos x="T6" y="T7"/>
                </a:cxn>
                <a:cxn ang="0">
                  <a:pos x="T8" y="T9"/>
                </a:cxn>
              </a:cxnLst>
              <a:rect l="0" t="0" r="r" b="b"/>
              <a:pathLst>
                <a:path w="74" h="108">
                  <a:moveTo>
                    <a:pt x="74" y="108"/>
                  </a:moveTo>
                  <a:cubicBezTo>
                    <a:pt x="49" y="108"/>
                    <a:pt x="25" y="108"/>
                    <a:pt x="0" y="108"/>
                  </a:cubicBezTo>
                  <a:cubicBezTo>
                    <a:pt x="0" y="73"/>
                    <a:pt x="0" y="38"/>
                    <a:pt x="0" y="1"/>
                  </a:cubicBezTo>
                  <a:cubicBezTo>
                    <a:pt x="24" y="0"/>
                    <a:pt x="49" y="1"/>
                    <a:pt x="74" y="0"/>
                  </a:cubicBezTo>
                  <a:cubicBezTo>
                    <a:pt x="74" y="36"/>
                    <a:pt x="74" y="71"/>
                    <a:pt x="74" y="108"/>
                  </a:cubicBezTo>
                  <a:close/>
                </a:path>
              </a:pathLst>
            </a:custGeom>
            <a:solidFill>
              <a:srgbClr val="FF5415"/>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sp>
        <p:nvSpPr>
          <p:cNvPr id="88" name="Freeform 6"/>
          <p:cNvSpPr>
            <a:spLocks noEditPoints="1"/>
          </p:cNvSpPr>
          <p:nvPr/>
        </p:nvSpPr>
        <p:spPr bwMode="auto">
          <a:xfrm>
            <a:off x="5948068" y="2720641"/>
            <a:ext cx="314000" cy="590780"/>
          </a:xfrm>
          <a:custGeom>
            <a:avLst/>
            <a:gdLst>
              <a:gd name="T0" fmla="*/ 15 w 448"/>
              <a:gd name="T1" fmla="*/ 844 h 844"/>
              <a:gd name="T2" fmla="*/ 46 w 448"/>
              <a:gd name="T3" fmla="*/ 707 h 844"/>
              <a:gd name="T4" fmla="*/ 143 w 448"/>
              <a:gd name="T5" fmla="*/ 429 h 844"/>
              <a:gd name="T6" fmla="*/ 175 w 448"/>
              <a:gd name="T7" fmla="*/ 108 h 844"/>
              <a:gd name="T8" fmla="*/ 17 w 448"/>
              <a:gd name="T9" fmla="*/ 71 h 844"/>
              <a:gd name="T10" fmla="*/ 17 w 448"/>
              <a:gd name="T11" fmla="*/ 44 h 844"/>
              <a:gd name="T12" fmla="*/ 197 w 448"/>
              <a:gd name="T13" fmla="*/ 3 h 844"/>
              <a:gd name="T14" fmla="*/ 261 w 448"/>
              <a:gd name="T15" fmla="*/ 18 h 844"/>
              <a:gd name="T16" fmla="*/ 431 w 448"/>
              <a:gd name="T17" fmla="*/ 45 h 844"/>
              <a:gd name="T18" fmla="*/ 430 w 448"/>
              <a:gd name="T19" fmla="*/ 71 h 844"/>
              <a:gd name="T20" fmla="*/ 269 w 448"/>
              <a:gd name="T21" fmla="*/ 111 h 844"/>
              <a:gd name="T22" fmla="*/ 292 w 448"/>
              <a:gd name="T23" fmla="*/ 324 h 844"/>
              <a:gd name="T24" fmla="*/ 319 w 448"/>
              <a:gd name="T25" fmla="*/ 493 h 844"/>
              <a:gd name="T26" fmla="*/ 447 w 448"/>
              <a:gd name="T27" fmla="*/ 832 h 844"/>
              <a:gd name="T28" fmla="*/ 224 w 448"/>
              <a:gd name="T29" fmla="*/ 637 h 844"/>
              <a:gd name="T30" fmla="*/ 224 w 448"/>
              <a:gd name="T31" fmla="*/ 312 h 844"/>
              <a:gd name="T32" fmla="*/ 225 w 448"/>
              <a:gd name="T33" fmla="*/ 602 h 844"/>
              <a:gd name="T34" fmla="*/ 243 w 448"/>
              <a:gd name="T35" fmla="*/ 619 h 844"/>
              <a:gd name="T36" fmla="*/ 317 w 448"/>
              <a:gd name="T37" fmla="*/ 554 h 844"/>
              <a:gd name="T38" fmla="*/ 130 w 448"/>
              <a:gd name="T39" fmla="*/ 554 h 844"/>
              <a:gd name="T40" fmla="*/ 203 w 448"/>
              <a:gd name="T41" fmla="*/ 619 h 844"/>
              <a:gd name="T42" fmla="*/ 213 w 448"/>
              <a:gd name="T43" fmla="*/ 25 h 844"/>
              <a:gd name="T44" fmla="*/ 224 w 448"/>
              <a:gd name="T45" fmla="*/ 255 h 844"/>
              <a:gd name="T46" fmla="*/ 234 w 448"/>
              <a:gd name="T47" fmla="*/ 25 h 844"/>
              <a:gd name="T48" fmla="*/ 265 w 448"/>
              <a:gd name="T49" fmla="*/ 85 h 844"/>
              <a:gd name="T50" fmla="*/ 363 w 448"/>
              <a:gd name="T51" fmla="*/ 58 h 844"/>
              <a:gd name="T52" fmla="*/ 265 w 448"/>
              <a:gd name="T53" fmla="*/ 85 h 844"/>
              <a:gd name="T54" fmla="*/ 84 w 448"/>
              <a:gd name="T55" fmla="*/ 62 h 844"/>
              <a:gd name="T56" fmla="*/ 183 w 448"/>
              <a:gd name="T57" fmla="*/ 43 h 844"/>
              <a:gd name="T58" fmla="*/ 211 w 448"/>
              <a:gd name="T59" fmla="*/ 279 h 844"/>
              <a:gd name="T60" fmla="*/ 174 w 448"/>
              <a:gd name="T61" fmla="*/ 369 h 844"/>
              <a:gd name="T62" fmla="*/ 211 w 448"/>
              <a:gd name="T63" fmla="*/ 279 h 844"/>
              <a:gd name="T64" fmla="*/ 259 w 448"/>
              <a:gd name="T65" fmla="*/ 246 h 844"/>
              <a:gd name="T66" fmla="*/ 269 w 448"/>
              <a:gd name="T67" fmla="*/ 363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8" h="844">
                <a:moveTo>
                  <a:pt x="224" y="637"/>
                </a:moveTo>
                <a:cubicBezTo>
                  <a:pt x="153" y="707"/>
                  <a:pt x="84" y="778"/>
                  <a:pt x="15" y="844"/>
                </a:cubicBezTo>
                <a:cubicBezTo>
                  <a:pt x="5" y="842"/>
                  <a:pt x="1" y="838"/>
                  <a:pt x="0" y="830"/>
                </a:cubicBezTo>
                <a:cubicBezTo>
                  <a:pt x="15" y="790"/>
                  <a:pt x="31" y="749"/>
                  <a:pt x="46" y="707"/>
                </a:cubicBezTo>
                <a:cubicBezTo>
                  <a:pt x="76" y="630"/>
                  <a:pt x="105" y="552"/>
                  <a:pt x="135" y="475"/>
                </a:cubicBezTo>
                <a:cubicBezTo>
                  <a:pt x="141" y="460"/>
                  <a:pt x="142" y="444"/>
                  <a:pt x="143" y="429"/>
                </a:cubicBezTo>
                <a:cubicBezTo>
                  <a:pt x="155" y="330"/>
                  <a:pt x="166" y="231"/>
                  <a:pt x="176" y="132"/>
                </a:cubicBezTo>
                <a:cubicBezTo>
                  <a:pt x="177" y="125"/>
                  <a:pt x="179" y="117"/>
                  <a:pt x="175" y="108"/>
                </a:cubicBezTo>
                <a:cubicBezTo>
                  <a:pt x="144" y="101"/>
                  <a:pt x="111" y="93"/>
                  <a:pt x="79" y="86"/>
                </a:cubicBezTo>
                <a:cubicBezTo>
                  <a:pt x="58" y="81"/>
                  <a:pt x="37" y="76"/>
                  <a:pt x="17" y="71"/>
                </a:cubicBezTo>
                <a:cubicBezTo>
                  <a:pt x="10" y="70"/>
                  <a:pt x="1" y="69"/>
                  <a:pt x="0" y="57"/>
                </a:cubicBezTo>
                <a:cubicBezTo>
                  <a:pt x="1" y="48"/>
                  <a:pt x="8" y="46"/>
                  <a:pt x="17" y="44"/>
                </a:cubicBezTo>
                <a:cubicBezTo>
                  <a:pt x="73" y="36"/>
                  <a:pt x="129" y="27"/>
                  <a:pt x="186" y="19"/>
                </a:cubicBezTo>
                <a:cubicBezTo>
                  <a:pt x="191" y="15"/>
                  <a:pt x="189" y="7"/>
                  <a:pt x="197" y="3"/>
                </a:cubicBezTo>
                <a:cubicBezTo>
                  <a:pt x="214" y="1"/>
                  <a:pt x="233" y="0"/>
                  <a:pt x="251" y="3"/>
                </a:cubicBezTo>
                <a:cubicBezTo>
                  <a:pt x="258" y="7"/>
                  <a:pt x="258" y="13"/>
                  <a:pt x="261" y="18"/>
                </a:cubicBezTo>
                <a:cubicBezTo>
                  <a:pt x="271" y="20"/>
                  <a:pt x="281" y="22"/>
                  <a:pt x="291" y="23"/>
                </a:cubicBezTo>
                <a:cubicBezTo>
                  <a:pt x="337" y="31"/>
                  <a:pt x="384" y="38"/>
                  <a:pt x="431" y="45"/>
                </a:cubicBezTo>
                <a:cubicBezTo>
                  <a:pt x="438" y="46"/>
                  <a:pt x="444" y="48"/>
                  <a:pt x="447" y="55"/>
                </a:cubicBezTo>
                <a:cubicBezTo>
                  <a:pt x="448" y="68"/>
                  <a:pt x="438" y="69"/>
                  <a:pt x="430" y="71"/>
                </a:cubicBezTo>
                <a:cubicBezTo>
                  <a:pt x="380" y="83"/>
                  <a:pt x="330" y="95"/>
                  <a:pt x="280" y="106"/>
                </a:cubicBezTo>
                <a:cubicBezTo>
                  <a:pt x="276" y="107"/>
                  <a:pt x="273" y="107"/>
                  <a:pt x="269" y="111"/>
                </a:cubicBezTo>
                <a:cubicBezTo>
                  <a:pt x="272" y="137"/>
                  <a:pt x="274" y="164"/>
                  <a:pt x="277" y="191"/>
                </a:cubicBezTo>
                <a:cubicBezTo>
                  <a:pt x="282" y="235"/>
                  <a:pt x="287" y="279"/>
                  <a:pt x="292" y="324"/>
                </a:cubicBezTo>
                <a:cubicBezTo>
                  <a:pt x="297" y="365"/>
                  <a:pt x="301" y="407"/>
                  <a:pt x="306" y="448"/>
                </a:cubicBezTo>
                <a:cubicBezTo>
                  <a:pt x="307" y="464"/>
                  <a:pt x="313" y="479"/>
                  <a:pt x="319" y="493"/>
                </a:cubicBezTo>
                <a:cubicBezTo>
                  <a:pt x="361" y="602"/>
                  <a:pt x="402" y="711"/>
                  <a:pt x="444" y="820"/>
                </a:cubicBezTo>
                <a:cubicBezTo>
                  <a:pt x="446" y="824"/>
                  <a:pt x="447" y="829"/>
                  <a:pt x="447" y="832"/>
                </a:cubicBezTo>
                <a:cubicBezTo>
                  <a:pt x="445" y="839"/>
                  <a:pt x="441" y="842"/>
                  <a:pt x="431" y="844"/>
                </a:cubicBezTo>
                <a:cubicBezTo>
                  <a:pt x="363" y="776"/>
                  <a:pt x="294" y="707"/>
                  <a:pt x="224" y="637"/>
                </a:cubicBezTo>
                <a:close/>
                <a:moveTo>
                  <a:pt x="307" y="528"/>
                </a:moveTo>
                <a:cubicBezTo>
                  <a:pt x="280" y="458"/>
                  <a:pt x="252" y="387"/>
                  <a:pt x="224" y="312"/>
                </a:cubicBezTo>
                <a:cubicBezTo>
                  <a:pt x="195" y="387"/>
                  <a:pt x="167" y="458"/>
                  <a:pt x="140" y="528"/>
                </a:cubicBezTo>
                <a:cubicBezTo>
                  <a:pt x="169" y="553"/>
                  <a:pt x="197" y="577"/>
                  <a:pt x="225" y="602"/>
                </a:cubicBezTo>
                <a:cubicBezTo>
                  <a:pt x="249" y="574"/>
                  <a:pt x="279" y="555"/>
                  <a:pt x="307" y="528"/>
                </a:cubicBezTo>
                <a:close/>
                <a:moveTo>
                  <a:pt x="243" y="619"/>
                </a:moveTo>
                <a:cubicBezTo>
                  <a:pt x="297" y="672"/>
                  <a:pt x="348" y="724"/>
                  <a:pt x="401" y="777"/>
                </a:cubicBezTo>
                <a:cubicBezTo>
                  <a:pt x="373" y="702"/>
                  <a:pt x="343" y="629"/>
                  <a:pt x="317" y="554"/>
                </a:cubicBezTo>
                <a:cubicBezTo>
                  <a:pt x="288" y="573"/>
                  <a:pt x="267" y="598"/>
                  <a:pt x="243" y="619"/>
                </a:cubicBezTo>
                <a:close/>
                <a:moveTo>
                  <a:pt x="130" y="554"/>
                </a:moveTo>
                <a:cubicBezTo>
                  <a:pt x="104" y="630"/>
                  <a:pt x="73" y="702"/>
                  <a:pt x="47" y="775"/>
                </a:cubicBezTo>
                <a:cubicBezTo>
                  <a:pt x="99" y="723"/>
                  <a:pt x="151" y="671"/>
                  <a:pt x="203" y="619"/>
                </a:cubicBezTo>
                <a:cubicBezTo>
                  <a:pt x="181" y="598"/>
                  <a:pt x="159" y="574"/>
                  <a:pt x="130" y="554"/>
                </a:cubicBezTo>
                <a:close/>
                <a:moveTo>
                  <a:pt x="213" y="25"/>
                </a:moveTo>
                <a:cubicBezTo>
                  <a:pt x="204" y="86"/>
                  <a:pt x="199" y="147"/>
                  <a:pt x="192" y="207"/>
                </a:cubicBezTo>
                <a:cubicBezTo>
                  <a:pt x="204" y="223"/>
                  <a:pt x="211" y="240"/>
                  <a:pt x="224" y="255"/>
                </a:cubicBezTo>
                <a:cubicBezTo>
                  <a:pt x="235" y="237"/>
                  <a:pt x="245" y="221"/>
                  <a:pt x="255" y="205"/>
                </a:cubicBezTo>
                <a:cubicBezTo>
                  <a:pt x="247" y="145"/>
                  <a:pt x="243" y="85"/>
                  <a:pt x="234" y="25"/>
                </a:cubicBezTo>
                <a:cubicBezTo>
                  <a:pt x="226" y="25"/>
                  <a:pt x="221" y="25"/>
                  <a:pt x="213" y="25"/>
                </a:cubicBezTo>
                <a:close/>
                <a:moveTo>
                  <a:pt x="265" y="85"/>
                </a:moveTo>
                <a:cubicBezTo>
                  <a:pt x="300" y="77"/>
                  <a:pt x="332" y="69"/>
                  <a:pt x="364" y="62"/>
                </a:cubicBezTo>
                <a:cubicBezTo>
                  <a:pt x="364" y="60"/>
                  <a:pt x="364" y="59"/>
                  <a:pt x="363" y="58"/>
                </a:cubicBezTo>
                <a:cubicBezTo>
                  <a:pt x="329" y="55"/>
                  <a:pt x="296" y="46"/>
                  <a:pt x="261" y="44"/>
                </a:cubicBezTo>
                <a:cubicBezTo>
                  <a:pt x="263" y="58"/>
                  <a:pt x="264" y="71"/>
                  <a:pt x="265" y="85"/>
                </a:cubicBezTo>
                <a:close/>
                <a:moveTo>
                  <a:pt x="85" y="58"/>
                </a:moveTo>
                <a:cubicBezTo>
                  <a:pt x="85" y="59"/>
                  <a:pt x="85" y="61"/>
                  <a:pt x="84" y="62"/>
                </a:cubicBezTo>
                <a:cubicBezTo>
                  <a:pt x="116" y="70"/>
                  <a:pt x="148" y="77"/>
                  <a:pt x="181" y="85"/>
                </a:cubicBezTo>
                <a:cubicBezTo>
                  <a:pt x="182" y="70"/>
                  <a:pt x="188" y="58"/>
                  <a:pt x="183" y="43"/>
                </a:cubicBezTo>
                <a:cubicBezTo>
                  <a:pt x="150" y="48"/>
                  <a:pt x="118" y="53"/>
                  <a:pt x="85" y="58"/>
                </a:cubicBezTo>
                <a:close/>
                <a:moveTo>
                  <a:pt x="211" y="279"/>
                </a:moveTo>
                <a:cubicBezTo>
                  <a:pt x="201" y="270"/>
                  <a:pt x="199" y="256"/>
                  <a:pt x="187" y="248"/>
                </a:cubicBezTo>
                <a:cubicBezTo>
                  <a:pt x="183" y="289"/>
                  <a:pt x="178" y="329"/>
                  <a:pt x="174" y="369"/>
                </a:cubicBezTo>
                <a:cubicBezTo>
                  <a:pt x="174" y="369"/>
                  <a:pt x="175" y="369"/>
                  <a:pt x="176" y="369"/>
                </a:cubicBezTo>
                <a:cubicBezTo>
                  <a:pt x="187" y="340"/>
                  <a:pt x="198" y="311"/>
                  <a:pt x="211" y="279"/>
                </a:cubicBezTo>
                <a:close/>
                <a:moveTo>
                  <a:pt x="269" y="363"/>
                </a:moveTo>
                <a:cubicBezTo>
                  <a:pt x="268" y="325"/>
                  <a:pt x="265" y="287"/>
                  <a:pt x="259" y="246"/>
                </a:cubicBezTo>
                <a:cubicBezTo>
                  <a:pt x="250" y="259"/>
                  <a:pt x="242" y="269"/>
                  <a:pt x="238" y="282"/>
                </a:cubicBezTo>
                <a:cubicBezTo>
                  <a:pt x="248" y="308"/>
                  <a:pt x="258" y="336"/>
                  <a:pt x="269" y="363"/>
                </a:cubicBezTo>
                <a:close/>
              </a:path>
            </a:pathLst>
          </a:custGeom>
          <a:solidFill>
            <a:srgbClr val="FF5415"/>
          </a:solidFill>
          <a:ln>
            <a:noFill/>
          </a:ln>
          <a:extLst/>
        </p:spPr>
        <p:txBody>
          <a:bodyPr vert="horz" wrap="square" lIns="68563" tIns="34285" rIns="68563" bIns="34285" numCol="1" anchor="t" anchorCtr="0" compatLnSpc="1">
            <a:prstTxWarp prst="textNoShape">
              <a:avLst/>
            </a:prstTxWarp>
          </a:bodyPr>
          <a:lstStyle/>
          <a:p>
            <a:endParaRPr lang="en-GB" dirty="0">
              <a:latin typeface="Calibri" pitchFamily="34" charset="0"/>
            </a:endParaRPr>
          </a:p>
        </p:txBody>
      </p:sp>
      <p:sp>
        <p:nvSpPr>
          <p:cNvPr id="3" name="Tekstvak 2"/>
          <p:cNvSpPr txBox="1"/>
          <p:nvPr/>
        </p:nvSpPr>
        <p:spPr>
          <a:xfrm>
            <a:off x="146477" y="333283"/>
            <a:ext cx="3548515" cy="707876"/>
          </a:xfrm>
          <a:prstGeom prst="rect">
            <a:avLst/>
          </a:prstGeom>
          <a:noFill/>
        </p:spPr>
        <p:txBody>
          <a:bodyPr wrap="none" lIns="91430" tIns="45715" rIns="91430" bIns="45715" rtlCol="0">
            <a:spAutoFit/>
          </a:bodyPr>
          <a:lstStyle/>
          <a:p>
            <a:r>
              <a:rPr lang="en-GB" sz="2000" b="1" dirty="0"/>
              <a:t>What do we need </a:t>
            </a:r>
            <a:r>
              <a:rPr lang="en-GB" sz="2000" dirty="0"/>
              <a:t>flexibility for?</a:t>
            </a:r>
          </a:p>
          <a:p>
            <a:endParaRPr lang="en-GB" sz="2000" dirty="0"/>
          </a:p>
        </p:txBody>
      </p:sp>
    </p:spTree>
    <p:extLst>
      <p:ext uri="{BB962C8B-B14F-4D97-AF65-F5344CB8AC3E}">
        <p14:creationId xmlns:p14="http://schemas.microsoft.com/office/powerpoint/2010/main" val="375432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1" name="Group 150"/>
          <p:cNvGrpSpPr/>
          <p:nvPr/>
        </p:nvGrpSpPr>
        <p:grpSpPr>
          <a:xfrm>
            <a:off x="64169" y="1823817"/>
            <a:ext cx="1371524" cy="1363876"/>
            <a:chOff x="1439447" y="1882140"/>
            <a:chExt cx="1107804" cy="1107804"/>
          </a:xfrm>
        </p:grpSpPr>
        <p:grpSp>
          <p:nvGrpSpPr>
            <p:cNvPr id="152" name="Group 151"/>
            <p:cNvGrpSpPr/>
            <p:nvPr/>
          </p:nvGrpSpPr>
          <p:grpSpPr>
            <a:xfrm>
              <a:off x="1439447" y="1882140"/>
              <a:ext cx="1107804" cy="1107804"/>
              <a:chOff x="789278" y="2166444"/>
              <a:chExt cx="2571636" cy="2571636"/>
            </a:xfrm>
          </p:grpSpPr>
          <p:sp>
            <p:nvSpPr>
              <p:cNvPr id="154" name="Oval 153"/>
              <p:cNvSpPr/>
              <p:nvPr/>
            </p:nvSpPr>
            <p:spPr>
              <a:xfrm>
                <a:off x="789278" y="2166444"/>
                <a:ext cx="2571636" cy="2571636"/>
              </a:xfrm>
              <a:prstGeom prst="ellipse">
                <a:avLst/>
              </a:prstGeom>
              <a:solidFill>
                <a:schemeClr val="bg1"/>
              </a:solid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155" name="Freeform 154"/>
              <p:cNvSpPr>
                <a:spLocks noEditPoints="1"/>
              </p:cNvSpPr>
              <p:nvPr/>
            </p:nvSpPr>
            <p:spPr bwMode="auto">
              <a:xfrm>
                <a:off x="2067324" y="2865280"/>
                <a:ext cx="904037" cy="859777"/>
              </a:xfrm>
              <a:custGeom>
                <a:avLst/>
                <a:gdLst>
                  <a:gd name="T0" fmla="*/ 734 w 1277"/>
                  <a:gd name="T1" fmla="*/ 57 h 1214"/>
                  <a:gd name="T2" fmla="*/ 751 w 1277"/>
                  <a:gd name="T3" fmla="*/ 60 h 1214"/>
                  <a:gd name="T4" fmla="*/ 785 w 1277"/>
                  <a:gd name="T5" fmla="*/ 73 h 1214"/>
                  <a:gd name="T6" fmla="*/ 800 w 1277"/>
                  <a:gd name="T7" fmla="*/ 76 h 1214"/>
                  <a:gd name="T8" fmla="*/ 826 w 1277"/>
                  <a:gd name="T9" fmla="*/ 76 h 1214"/>
                  <a:gd name="T10" fmla="*/ 847 w 1277"/>
                  <a:gd name="T11" fmla="*/ 68 h 1214"/>
                  <a:gd name="T12" fmla="*/ 858 w 1277"/>
                  <a:gd name="T13" fmla="*/ 60 h 1214"/>
                  <a:gd name="T14" fmla="*/ 870 w 1277"/>
                  <a:gd name="T15" fmla="*/ 50 h 1214"/>
                  <a:gd name="T16" fmla="*/ 870 w 1277"/>
                  <a:gd name="T17" fmla="*/ 50 h 1214"/>
                  <a:gd name="T18" fmla="*/ 873 w 1277"/>
                  <a:gd name="T19" fmla="*/ 48 h 1214"/>
                  <a:gd name="T20" fmla="*/ 882 w 1277"/>
                  <a:gd name="T21" fmla="*/ 39 h 1214"/>
                  <a:gd name="T22" fmla="*/ 908 w 1277"/>
                  <a:gd name="T23" fmla="*/ 18 h 1214"/>
                  <a:gd name="T24" fmla="*/ 956 w 1277"/>
                  <a:gd name="T25" fmla="*/ 1 h 1214"/>
                  <a:gd name="T26" fmla="*/ 971 w 1277"/>
                  <a:gd name="T27" fmla="*/ 5 h 1214"/>
                  <a:gd name="T28" fmla="*/ 1003 w 1277"/>
                  <a:gd name="T29" fmla="*/ 26 h 1214"/>
                  <a:gd name="T30" fmla="*/ 1020 w 1277"/>
                  <a:gd name="T31" fmla="*/ 51 h 1214"/>
                  <a:gd name="T32" fmla="*/ 1019 w 1277"/>
                  <a:gd name="T33" fmla="*/ 57 h 1214"/>
                  <a:gd name="T34" fmla="*/ 989 w 1277"/>
                  <a:gd name="T35" fmla="*/ 45 h 1214"/>
                  <a:gd name="T36" fmla="*/ 961 w 1277"/>
                  <a:gd name="T37" fmla="*/ 35 h 1214"/>
                  <a:gd name="T38" fmla="*/ 951 w 1277"/>
                  <a:gd name="T39" fmla="*/ 32 h 1214"/>
                  <a:gd name="T40" fmla="*/ 914 w 1277"/>
                  <a:gd name="T41" fmla="*/ 29 h 1214"/>
                  <a:gd name="T42" fmla="*/ 892 w 1277"/>
                  <a:gd name="T43" fmla="*/ 48 h 1214"/>
                  <a:gd name="T44" fmla="*/ 887 w 1277"/>
                  <a:gd name="T45" fmla="*/ 58 h 1214"/>
                  <a:gd name="T46" fmla="*/ 886 w 1277"/>
                  <a:gd name="T47" fmla="*/ 60 h 1214"/>
                  <a:gd name="T48" fmla="*/ 886 w 1277"/>
                  <a:gd name="T49" fmla="*/ 61 h 1214"/>
                  <a:gd name="T50" fmla="*/ 885 w 1277"/>
                  <a:gd name="T51" fmla="*/ 62 h 1214"/>
                  <a:gd name="T52" fmla="*/ 867 w 1277"/>
                  <a:gd name="T53" fmla="*/ 91 h 1214"/>
                  <a:gd name="T54" fmla="*/ 835 w 1277"/>
                  <a:gd name="T55" fmla="*/ 112 h 1214"/>
                  <a:gd name="T56" fmla="*/ 784 w 1277"/>
                  <a:gd name="T57" fmla="*/ 108 h 1214"/>
                  <a:gd name="T58" fmla="*/ 752 w 1277"/>
                  <a:gd name="T59" fmla="*/ 86 h 1214"/>
                  <a:gd name="T60" fmla="*/ 1277 w 1277"/>
                  <a:gd name="T61" fmla="*/ 910 h 1214"/>
                  <a:gd name="T62" fmla="*/ 0 w 1277"/>
                  <a:gd name="T63" fmla="*/ 1214 h 1214"/>
                  <a:gd name="T64" fmla="*/ 87 w 1277"/>
                  <a:gd name="T65" fmla="*/ 910 h 1214"/>
                  <a:gd name="T66" fmla="*/ 332 w 1277"/>
                  <a:gd name="T67" fmla="*/ 396 h 1214"/>
                  <a:gd name="T68" fmla="*/ 577 w 1277"/>
                  <a:gd name="T69" fmla="*/ 396 h 1214"/>
                  <a:gd name="T70" fmla="*/ 822 w 1277"/>
                  <a:gd name="T71" fmla="*/ 396 h 1214"/>
                  <a:gd name="T72" fmla="*/ 907 w 1277"/>
                  <a:gd name="T73" fmla="*/ 734 h 1214"/>
                  <a:gd name="T74" fmla="*/ 1093 w 1277"/>
                  <a:gd name="T75" fmla="*/ 136 h 1214"/>
                  <a:gd name="T76" fmla="*/ 1227 w 1277"/>
                  <a:gd name="T77" fmla="*/ 734 h 1214"/>
                  <a:gd name="T78" fmla="*/ 1277 w 1277"/>
                  <a:gd name="T79" fmla="*/ 910 h 1214"/>
                  <a:gd name="T80" fmla="*/ 208 w 1277"/>
                  <a:gd name="T81" fmla="*/ 778 h 1214"/>
                  <a:gd name="T82" fmla="*/ 400 w 1277"/>
                  <a:gd name="T83" fmla="*/ 956 h 1214"/>
                  <a:gd name="T84" fmla="*/ 732 w 1277"/>
                  <a:gd name="T85" fmla="*/ 778 h 1214"/>
                  <a:gd name="T86" fmla="*/ 540 w 1277"/>
                  <a:gd name="T87" fmla="*/ 956 h 1214"/>
                  <a:gd name="T88" fmla="*/ 732 w 1277"/>
                  <a:gd name="T89" fmla="*/ 778 h 1214"/>
                  <a:gd name="T90" fmla="*/ 876 w 1277"/>
                  <a:gd name="T91" fmla="*/ 778 h 1214"/>
                  <a:gd name="T92" fmla="*/ 1069 w 1277"/>
                  <a:gd name="T93" fmla="*/ 956 h 1214"/>
                  <a:gd name="T94" fmla="*/ 1069 w 1277"/>
                  <a:gd name="T95" fmla="*/ 778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7" h="1214">
                    <a:moveTo>
                      <a:pt x="741" y="71"/>
                    </a:moveTo>
                    <a:cubicBezTo>
                      <a:pt x="736" y="63"/>
                      <a:pt x="734" y="57"/>
                      <a:pt x="734" y="57"/>
                    </a:cubicBezTo>
                    <a:cubicBezTo>
                      <a:pt x="737" y="55"/>
                      <a:pt x="737" y="55"/>
                      <a:pt x="737" y="55"/>
                    </a:cubicBezTo>
                    <a:cubicBezTo>
                      <a:pt x="737" y="55"/>
                      <a:pt x="742" y="57"/>
                      <a:pt x="751" y="60"/>
                    </a:cubicBezTo>
                    <a:cubicBezTo>
                      <a:pt x="755" y="62"/>
                      <a:pt x="760" y="64"/>
                      <a:pt x="766" y="66"/>
                    </a:cubicBezTo>
                    <a:cubicBezTo>
                      <a:pt x="772" y="69"/>
                      <a:pt x="778" y="71"/>
                      <a:pt x="785" y="73"/>
                    </a:cubicBezTo>
                    <a:cubicBezTo>
                      <a:pt x="788" y="74"/>
                      <a:pt x="791" y="75"/>
                      <a:pt x="795" y="75"/>
                    </a:cubicBezTo>
                    <a:cubicBezTo>
                      <a:pt x="797" y="75"/>
                      <a:pt x="798" y="76"/>
                      <a:pt x="800" y="76"/>
                    </a:cubicBezTo>
                    <a:cubicBezTo>
                      <a:pt x="802" y="76"/>
                      <a:pt x="803" y="76"/>
                      <a:pt x="805" y="77"/>
                    </a:cubicBezTo>
                    <a:cubicBezTo>
                      <a:pt x="812" y="77"/>
                      <a:pt x="819" y="77"/>
                      <a:pt x="826" y="76"/>
                    </a:cubicBezTo>
                    <a:cubicBezTo>
                      <a:pt x="829" y="75"/>
                      <a:pt x="833" y="75"/>
                      <a:pt x="836" y="73"/>
                    </a:cubicBezTo>
                    <a:cubicBezTo>
                      <a:pt x="839" y="71"/>
                      <a:pt x="844" y="70"/>
                      <a:pt x="847" y="68"/>
                    </a:cubicBezTo>
                    <a:cubicBezTo>
                      <a:pt x="848" y="67"/>
                      <a:pt x="850" y="66"/>
                      <a:pt x="852" y="64"/>
                    </a:cubicBezTo>
                    <a:cubicBezTo>
                      <a:pt x="854" y="63"/>
                      <a:pt x="856" y="63"/>
                      <a:pt x="858" y="60"/>
                    </a:cubicBezTo>
                    <a:cubicBezTo>
                      <a:pt x="870" y="50"/>
                      <a:pt x="870" y="50"/>
                      <a:pt x="870" y="50"/>
                    </a:cubicBezTo>
                    <a:cubicBezTo>
                      <a:pt x="870" y="50"/>
                      <a:pt x="869" y="51"/>
                      <a:pt x="870" y="50"/>
                    </a:cubicBezTo>
                    <a:cubicBezTo>
                      <a:pt x="870" y="50"/>
                      <a:pt x="870" y="50"/>
                      <a:pt x="870" y="50"/>
                    </a:cubicBezTo>
                    <a:cubicBezTo>
                      <a:pt x="870" y="50"/>
                      <a:pt x="870" y="50"/>
                      <a:pt x="870" y="50"/>
                    </a:cubicBezTo>
                    <a:cubicBezTo>
                      <a:pt x="871" y="49"/>
                      <a:pt x="871" y="49"/>
                      <a:pt x="871" y="49"/>
                    </a:cubicBezTo>
                    <a:cubicBezTo>
                      <a:pt x="873" y="48"/>
                      <a:pt x="873" y="48"/>
                      <a:pt x="873" y="48"/>
                    </a:cubicBezTo>
                    <a:cubicBezTo>
                      <a:pt x="876" y="45"/>
                      <a:pt x="876" y="45"/>
                      <a:pt x="876" y="45"/>
                    </a:cubicBezTo>
                    <a:cubicBezTo>
                      <a:pt x="882" y="39"/>
                      <a:pt x="882" y="39"/>
                      <a:pt x="882" y="39"/>
                    </a:cubicBezTo>
                    <a:cubicBezTo>
                      <a:pt x="886" y="35"/>
                      <a:pt x="891" y="32"/>
                      <a:pt x="895" y="28"/>
                    </a:cubicBezTo>
                    <a:cubicBezTo>
                      <a:pt x="899" y="24"/>
                      <a:pt x="904" y="22"/>
                      <a:pt x="908" y="18"/>
                    </a:cubicBezTo>
                    <a:cubicBezTo>
                      <a:pt x="912" y="14"/>
                      <a:pt x="917" y="12"/>
                      <a:pt x="922" y="8"/>
                    </a:cubicBezTo>
                    <a:cubicBezTo>
                      <a:pt x="933" y="4"/>
                      <a:pt x="945" y="0"/>
                      <a:pt x="956" y="1"/>
                    </a:cubicBezTo>
                    <a:cubicBezTo>
                      <a:pt x="959" y="2"/>
                      <a:pt x="961" y="2"/>
                      <a:pt x="964" y="3"/>
                    </a:cubicBezTo>
                    <a:cubicBezTo>
                      <a:pt x="966" y="3"/>
                      <a:pt x="969" y="4"/>
                      <a:pt x="971" y="5"/>
                    </a:cubicBezTo>
                    <a:cubicBezTo>
                      <a:pt x="976" y="7"/>
                      <a:pt x="980" y="9"/>
                      <a:pt x="984" y="11"/>
                    </a:cubicBezTo>
                    <a:cubicBezTo>
                      <a:pt x="992" y="16"/>
                      <a:pt x="998" y="21"/>
                      <a:pt x="1003" y="26"/>
                    </a:cubicBezTo>
                    <a:cubicBezTo>
                      <a:pt x="1008" y="31"/>
                      <a:pt x="1012" y="36"/>
                      <a:pt x="1014" y="40"/>
                    </a:cubicBezTo>
                    <a:cubicBezTo>
                      <a:pt x="1017" y="44"/>
                      <a:pt x="1019" y="48"/>
                      <a:pt x="1020" y="51"/>
                    </a:cubicBezTo>
                    <a:cubicBezTo>
                      <a:pt x="1021" y="53"/>
                      <a:pt x="1021" y="55"/>
                      <a:pt x="1021" y="55"/>
                    </a:cubicBezTo>
                    <a:cubicBezTo>
                      <a:pt x="1019" y="57"/>
                      <a:pt x="1019" y="57"/>
                      <a:pt x="1019" y="57"/>
                    </a:cubicBezTo>
                    <a:cubicBezTo>
                      <a:pt x="1019" y="57"/>
                      <a:pt x="1013" y="55"/>
                      <a:pt x="1004" y="52"/>
                    </a:cubicBezTo>
                    <a:cubicBezTo>
                      <a:pt x="1000" y="50"/>
                      <a:pt x="995" y="48"/>
                      <a:pt x="989" y="45"/>
                    </a:cubicBezTo>
                    <a:cubicBezTo>
                      <a:pt x="984" y="43"/>
                      <a:pt x="977" y="41"/>
                      <a:pt x="971" y="38"/>
                    </a:cubicBezTo>
                    <a:cubicBezTo>
                      <a:pt x="968" y="37"/>
                      <a:pt x="964" y="36"/>
                      <a:pt x="961" y="35"/>
                    </a:cubicBezTo>
                    <a:cubicBezTo>
                      <a:pt x="959" y="35"/>
                      <a:pt x="957" y="34"/>
                      <a:pt x="956" y="33"/>
                    </a:cubicBezTo>
                    <a:cubicBezTo>
                      <a:pt x="954" y="33"/>
                      <a:pt x="952" y="33"/>
                      <a:pt x="951" y="32"/>
                    </a:cubicBezTo>
                    <a:cubicBezTo>
                      <a:pt x="944" y="30"/>
                      <a:pt x="936" y="28"/>
                      <a:pt x="927" y="27"/>
                    </a:cubicBezTo>
                    <a:cubicBezTo>
                      <a:pt x="923" y="27"/>
                      <a:pt x="918" y="27"/>
                      <a:pt x="914" y="29"/>
                    </a:cubicBezTo>
                    <a:cubicBezTo>
                      <a:pt x="910" y="31"/>
                      <a:pt x="905" y="33"/>
                      <a:pt x="902" y="36"/>
                    </a:cubicBezTo>
                    <a:cubicBezTo>
                      <a:pt x="898" y="40"/>
                      <a:pt x="895" y="43"/>
                      <a:pt x="892" y="48"/>
                    </a:cubicBezTo>
                    <a:cubicBezTo>
                      <a:pt x="889" y="54"/>
                      <a:pt x="889" y="54"/>
                      <a:pt x="889" y="54"/>
                    </a:cubicBezTo>
                    <a:cubicBezTo>
                      <a:pt x="887" y="58"/>
                      <a:pt x="887" y="58"/>
                      <a:pt x="887" y="58"/>
                    </a:cubicBezTo>
                    <a:cubicBezTo>
                      <a:pt x="886" y="60"/>
                      <a:pt x="886" y="60"/>
                      <a:pt x="886" y="60"/>
                    </a:cubicBezTo>
                    <a:cubicBezTo>
                      <a:pt x="886" y="60"/>
                      <a:pt x="886" y="60"/>
                      <a:pt x="886" y="60"/>
                    </a:cubicBezTo>
                    <a:cubicBezTo>
                      <a:pt x="886" y="61"/>
                      <a:pt x="886" y="61"/>
                      <a:pt x="886" y="61"/>
                    </a:cubicBezTo>
                    <a:cubicBezTo>
                      <a:pt x="886" y="61"/>
                      <a:pt x="886" y="61"/>
                      <a:pt x="886" y="61"/>
                    </a:cubicBezTo>
                    <a:cubicBezTo>
                      <a:pt x="886" y="61"/>
                      <a:pt x="886" y="61"/>
                      <a:pt x="886" y="61"/>
                    </a:cubicBezTo>
                    <a:cubicBezTo>
                      <a:pt x="886" y="61"/>
                      <a:pt x="885" y="62"/>
                      <a:pt x="885" y="62"/>
                    </a:cubicBezTo>
                    <a:cubicBezTo>
                      <a:pt x="879" y="77"/>
                      <a:pt x="879" y="77"/>
                      <a:pt x="879" y="77"/>
                    </a:cubicBezTo>
                    <a:cubicBezTo>
                      <a:pt x="876" y="81"/>
                      <a:pt x="871" y="87"/>
                      <a:pt x="867" y="91"/>
                    </a:cubicBezTo>
                    <a:cubicBezTo>
                      <a:pt x="863" y="97"/>
                      <a:pt x="858" y="100"/>
                      <a:pt x="853" y="104"/>
                    </a:cubicBezTo>
                    <a:cubicBezTo>
                      <a:pt x="847" y="107"/>
                      <a:pt x="841" y="109"/>
                      <a:pt x="835" y="112"/>
                    </a:cubicBezTo>
                    <a:cubicBezTo>
                      <a:pt x="823" y="116"/>
                      <a:pt x="810" y="116"/>
                      <a:pt x="799" y="113"/>
                    </a:cubicBezTo>
                    <a:cubicBezTo>
                      <a:pt x="793" y="112"/>
                      <a:pt x="788" y="111"/>
                      <a:pt x="784" y="108"/>
                    </a:cubicBezTo>
                    <a:cubicBezTo>
                      <a:pt x="779" y="106"/>
                      <a:pt x="775" y="104"/>
                      <a:pt x="771" y="101"/>
                    </a:cubicBezTo>
                    <a:cubicBezTo>
                      <a:pt x="763" y="96"/>
                      <a:pt x="757" y="91"/>
                      <a:pt x="752" y="86"/>
                    </a:cubicBezTo>
                    <a:cubicBezTo>
                      <a:pt x="748" y="81"/>
                      <a:pt x="744" y="76"/>
                      <a:pt x="741" y="71"/>
                    </a:cubicBezTo>
                    <a:close/>
                    <a:moveTo>
                      <a:pt x="1277" y="910"/>
                    </a:moveTo>
                    <a:cubicBezTo>
                      <a:pt x="1277" y="1214"/>
                      <a:pt x="1277" y="1214"/>
                      <a:pt x="1277" y="1214"/>
                    </a:cubicBezTo>
                    <a:cubicBezTo>
                      <a:pt x="0" y="1214"/>
                      <a:pt x="0" y="1214"/>
                      <a:pt x="0" y="1214"/>
                    </a:cubicBezTo>
                    <a:cubicBezTo>
                      <a:pt x="0" y="910"/>
                      <a:pt x="0" y="910"/>
                      <a:pt x="0" y="910"/>
                    </a:cubicBezTo>
                    <a:cubicBezTo>
                      <a:pt x="87" y="910"/>
                      <a:pt x="87" y="910"/>
                      <a:pt x="87" y="910"/>
                    </a:cubicBezTo>
                    <a:cubicBezTo>
                      <a:pt x="87" y="568"/>
                      <a:pt x="87" y="568"/>
                      <a:pt x="87" y="568"/>
                    </a:cubicBezTo>
                    <a:cubicBezTo>
                      <a:pt x="332" y="396"/>
                      <a:pt x="332" y="396"/>
                      <a:pt x="332" y="396"/>
                    </a:cubicBezTo>
                    <a:cubicBezTo>
                      <a:pt x="332" y="568"/>
                      <a:pt x="332" y="568"/>
                      <a:pt x="332" y="568"/>
                    </a:cubicBezTo>
                    <a:cubicBezTo>
                      <a:pt x="577" y="396"/>
                      <a:pt x="577" y="396"/>
                      <a:pt x="577" y="396"/>
                    </a:cubicBezTo>
                    <a:cubicBezTo>
                      <a:pt x="577" y="568"/>
                      <a:pt x="577" y="568"/>
                      <a:pt x="577" y="568"/>
                    </a:cubicBezTo>
                    <a:cubicBezTo>
                      <a:pt x="822" y="396"/>
                      <a:pt x="822" y="396"/>
                      <a:pt x="822" y="396"/>
                    </a:cubicBezTo>
                    <a:cubicBezTo>
                      <a:pt x="822" y="734"/>
                      <a:pt x="822" y="734"/>
                      <a:pt x="822" y="734"/>
                    </a:cubicBezTo>
                    <a:cubicBezTo>
                      <a:pt x="907" y="734"/>
                      <a:pt x="907" y="734"/>
                      <a:pt x="907" y="734"/>
                    </a:cubicBezTo>
                    <a:cubicBezTo>
                      <a:pt x="953" y="136"/>
                      <a:pt x="953" y="136"/>
                      <a:pt x="953" y="136"/>
                    </a:cubicBezTo>
                    <a:cubicBezTo>
                      <a:pt x="1093" y="136"/>
                      <a:pt x="1093" y="136"/>
                      <a:pt x="1093" y="136"/>
                    </a:cubicBezTo>
                    <a:cubicBezTo>
                      <a:pt x="1133" y="734"/>
                      <a:pt x="1133" y="734"/>
                      <a:pt x="1133" y="734"/>
                    </a:cubicBezTo>
                    <a:cubicBezTo>
                      <a:pt x="1227" y="734"/>
                      <a:pt x="1227" y="734"/>
                      <a:pt x="1227" y="734"/>
                    </a:cubicBezTo>
                    <a:cubicBezTo>
                      <a:pt x="1227" y="910"/>
                      <a:pt x="1227" y="910"/>
                      <a:pt x="1227" y="910"/>
                    </a:cubicBezTo>
                    <a:lnTo>
                      <a:pt x="1277" y="910"/>
                    </a:lnTo>
                    <a:close/>
                    <a:moveTo>
                      <a:pt x="400" y="778"/>
                    </a:moveTo>
                    <a:cubicBezTo>
                      <a:pt x="208" y="778"/>
                      <a:pt x="208" y="778"/>
                      <a:pt x="208" y="778"/>
                    </a:cubicBezTo>
                    <a:cubicBezTo>
                      <a:pt x="208" y="956"/>
                      <a:pt x="208" y="956"/>
                      <a:pt x="208" y="956"/>
                    </a:cubicBezTo>
                    <a:cubicBezTo>
                      <a:pt x="400" y="956"/>
                      <a:pt x="400" y="956"/>
                      <a:pt x="400" y="956"/>
                    </a:cubicBezTo>
                    <a:lnTo>
                      <a:pt x="400" y="778"/>
                    </a:lnTo>
                    <a:close/>
                    <a:moveTo>
                      <a:pt x="732" y="778"/>
                    </a:moveTo>
                    <a:cubicBezTo>
                      <a:pt x="540" y="778"/>
                      <a:pt x="540" y="778"/>
                      <a:pt x="540" y="778"/>
                    </a:cubicBezTo>
                    <a:cubicBezTo>
                      <a:pt x="540" y="956"/>
                      <a:pt x="540" y="956"/>
                      <a:pt x="540" y="956"/>
                    </a:cubicBezTo>
                    <a:cubicBezTo>
                      <a:pt x="732" y="956"/>
                      <a:pt x="732" y="956"/>
                      <a:pt x="732" y="956"/>
                    </a:cubicBezTo>
                    <a:lnTo>
                      <a:pt x="732" y="778"/>
                    </a:lnTo>
                    <a:close/>
                    <a:moveTo>
                      <a:pt x="1069" y="778"/>
                    </a:moveTo>
                    <a:cubicBezTo>
                      <a:pt x="876" y="778"/>
                      <a:pt x="876" y="778"/>
                      <a:pt x="876" y="778"/>
                    </a:cubicBezTo>
                    <a:cubicBezTo>
                      <a:pt x="876" y="956"/>
                      <a:pt x="876" y="956"/>
                      <a:pt x="876" y="956"/>
                    </a:cubicBezTo>
                    <a:cubicBezTo>
                      <a:pt x="1069" y="956"/>
                      <a:pt x="1069" y="956"/>
                      <a:pt x="1069" y="956"/>
                    </a:cubicBezTo>
                    <a:lnTo>
                      <a:pt x="1069" y="778"/>
                    </a:lnTo>
                    <a:close/>
                    <a:moveTo>
                      <a:pt x="1069" y="778"/>
                    </a:moveTo>
                    <a:cubicBezTo>
                      <a:pt x="1069" y="778"/>
                      <a:pt x="1069" y="778"/>
                      <a:pt x="1069" y="778"/>
                    </a:cubicBezTo>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56" name="Freeform 17"/>
              <p:cNvSpPr>
                <a:spLocks/>
              </p:cNvSpPr>
              <p:nvPr/>
            </p:nvSpPr>
            <p:spPr bwMode="auto">
              <a:xfrm flipH="1">
                <a:off x="1208949" y="3167301"/>
                <a:ext cx="632152" cy="579206"/>
              </a:xfrm>
              <a:custGeom>
                <a:avLst/>
                <a:gdLst>
                  <a:gd name="T0" fmla="*/ 166 w 167"/>
                  <a:gd name="T1" fmla="*/ 58 h 153"/>
                  <a:gd name="T2" fmla="*/ 147 w 167"/>
                  <a:gd name="T3" fmla="*/ 44 h 153"/>
                  <a:gd name="T4" fmla="*/ 147 w 167"/>
                  <a:gd name="T5" fmla="*/ 3 h 153"/>
                  <a:gd name="T6" fmla="*/ 144 w 167"/>
                  <a:gd name="T7" fmla="*/ 0 h 153"/>
                  <a:gd name="T8" fmla="*/ 125 w 167"/>
                  <a:gd name="T9" fmla="*/ 0 h 153"/>
                  <a:gd name="T10" fmla="*/ 123 w 167"/>
                  <a:gd name="T11" fmla="*/ 3 h 153"/>
                  <a:gd name="T12" fmla="*/ 123 w 167"/>
                  <a:gd name="T13" fmla="*/ 27 h 153"/>
                  <a:gd name="T14" fmla="*/ 85 w 167"/>
                  <a:gd name="T15" fmla="*/ 1 h 153"/>
                  <a:gd name="T16" fmla="*/ 82 w 167"/>
                  <a:gd name="T17" fmla="*/ 1 h 153"/>
                  <a:gd name="T18" fmla="*/ 1 w 167"/>
                  <a:gd name="T19" fmla="*/ 58 h 153"/>
                  <a:gd name="T20" fmla="*/ 0 w 167"/>
                  <a:gd name="T21" fmla="*/ 59 h 153"/>
                  <a:gd name="T22" fmla="*/ 1 w 167"/>
                  <a:gd name="T23" fmla="*/ 61 h 153"/>
                  <a:gd name="T24" fmla="*/ 12 w 167"/>
                  <a:gd name="T25" fmla="*/ 77 h 153"/>
                  <a:gd name="T26" fmla="*/ 14 w 167"/>
                  <a:gd name="T27" fmla="*/ 78 h 153"/>
                  <a:gd name="T28" fmla="*/ 15 w 167"/>
                  <a:gd name="T29" fmla="*/ 77 h 153"/>
                  <a:gd name="T30" fmla="*/ 20 w 167"/>
                  <a:gd name="T31" fmla="*/ 74 h 153"/>
                  <a:gd name="T32" fmla="*/ 20 w 167"/>
                  <a:gd name="T33" fmla="*/ 151 h 153"/>
                  <a:gd name="T34" fmla="*/ 23 w 167"/>
                  <a:gd name="T35" fmla="*/ 153 h 153"/>
                  <a:gd name="T36" fmla="*/ 65 w 167"/>
                  <a:gd name="T37" fmla="*/ 153 h 153"/>
                  <a:gd name="T38" fmla="*/ 68 w 167"/>
                  <a:gd name="T39" fmla="*/ 151 h 153"/>
                  <a:gd name="T40" fmla="*/ 68 w 167"/>
                  <a:gd name="T41" fmla="*/ 93 h 153"/>
                  <a:gd name="T42" fmla="*/ 100 w 167"/>
                  <a:gd name="T43" fmla="*/ 93 h 153"/>
                  <a:gd name="T44" fmla="*/ 100 w 167"/>
                  <a:gd name="T45" fmla="*/ 151 h 153"/>
                  <a:gd name="T46" fmla="*/ 102 w 167"/>
                  <a:gd name="T47" fmla="*/ 153 h 153"/>
                  <a:gd name="T48" fmla="*/ 144 w 167"/>
                  <a:gd name="T49" fmla="*/ 153 h 153"/>
                  <a:gd name="T50" fmla="*/ 147 w 167"/>
                  <a:gd name="T51" fmla="*/ 151 h 153"/>
                  <a:gd name="T52" fmla="*/ 147 w 167"/>
                  <a:gd name="T53" fmla="*/ 74 h 153"/>
                  <a:gd name="T54" fmla="*/ 152 w 167"/>
                  <a:gd name="T55" fmla="*/ 77 h 153"/>
                  <a:gd name="T56" fmla="*/ 155 w 167"/>
                  <a:gd name="T57" fmla="*/ 77 h 153"/>
                  <a:gd name="T58" fmla="*/ 166 w 167"/>
                  <a:gd name="T59" fmla="*/ 61 h 153"/>
                  <a:gd name="T60" fmla="*/ 167 w 167"/>
                  <a:gd name="T61" fmla="*/ 59 h 153"/>
                  <a:gd name="T62" fmla="*/ 166 w 167"/>
                  <a:gd name="T63" fmla="*/ 5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53">
                    <a:moveTo>
                      <a:pt x="166" y="58"/>
                    </a:moveTo>
                    <a:cubicBezTo>
                      <a:pt x="147" y="44"/>
                      <a:pt x="147" y="44"/>
                      <a:pt x="147" y="44"/>
                    </a:cubicBezTo>
                    <a:cubicBezTo>
                      <a:pt x="147" y="3"/>
                      <a:pt x="147" y="3"/>
                      <a:pt x="147" y="3"/>
                    </a:cubicBezTo>
                    <a:cubicBezTo>
                      <a:pt x="147" y="1"/>
                      <a:pt x="146" y="0"/>
                      <a:pt x="144" y="0"/>
                    </a:cubicBezTo>
                    <a:cubicBezTo>
                      <a:pt x="125" y="0"/>
                      <a:pt x="125" y="0"/>
                      <a:pt x="125" y="0"/>
                    </a:cubicBezTo>
                    <a:cubicBezTo>
                      <a:pt x="124" y="0"/>
                      <a:pt x="123" y="1"/>
                      <a:pt x="123" y="3"/>
                    </a:cubicBezTo>
                    <a:cubicBezTo>
                      <a:pt x="123" y="27"/>
                      <a:pt x="123" y="27"/>
                      <a:pt x="123" y="27"/>
                    </a:cubicBezTo>
                    <a:cubicBezTo>
                      <a:pt x="85" y="1"/>
                      <a:pt x="85" y="1"/>
                      <a:pt x="85" y="1"/>
                    </a:cubicBezTo>
                    <a:cubicBezTo>
                      <a:pt x="84" y="0"/>
                      <a:pt x="83" y="0"/>
                      <a:pt x="82" y="1"/>
                    </a:cubicBezTo>
                    <a:cubicBezTo>
                      <a:pt x="1" y="58"/>
                      <a:pt x="1" y="58"/>
                      <a:pt x="1" y="58"/>
                    </a:cubicBezTo>
                    <a:cubicBezTo>
                      <a:pt x="1" y="58"/>
                      <a:pt x="1" y="59"/>
                      <a:pt x="0" y="59"/>
                    </a:cubicBezTo>
                    <a:cubicBezTo>
                      <a:pt x="0" y="60"/>
                      <a:pt x="0" y="60"/>
                      <a:pt x="1" y="61"/>
                    </a:cubicBezTo>
                    <a:cubicBezTo>
                      <a:pt x="12" y="77"/>
                      <a:pt x="12" y="77"/>
                      <a:pt x="12" y="77"/>
                    </a:cubicBezTo>
                    <a:cubicBezTo>
                      <a:pt x="12" y="77"/>
                      <a:pt x="13" y="78"/>
                      <a:pt x="14" y="78"/>
                    </a:cubicBezTo>
                    <a:cubicBezTo>
                      <a:pt x="14" y="78"/>
                      <a:pt x="15" y="78"/>
                      <a:pt x="15" y="77"/>
                    </a:cubicBezTo>
                    <a:cubicBezTo>
                      <a:pt x="20" y="74"/>
                      <a:pt x="20" y="74"/>
                      <a:pt x="20" y="74"/>
                    </a:cubicBezTo>
                    <a:cubicBezTo>
                      <a:pt x="20" y="151"/>
                      <a:pt x="20" y="151"/>
                      <a:pt x="20" y="151"/>
                    </a:cubicBezTo>
                    <a:cubicBezTo>
                      <a:pt x="20" y="152"/>
                      <a:pt x="21" y="153"/>
                      <a:pt x="23" y="153"/>
                    </a:cubicBezTo>
                    <a:cubicBezTo>
                      <a:pt x="65" y="153"/>
                      <a:pt x="65" y="153"/>
                      <a:pt x="65" y="153"/>
                    </a:cubicBezTo>
                    <a:cubicBezTo>
                      <a:pt x="66" y="153"/>
                      <a:pt x="68" y="152"/>
                      <a:pt x="68" y="151"/>
                    </a:cubicBezTo>
                    <a:cubicBezTo>
                      <a:pt x="68" y="93"/>
                      <a:pt x="68" y="93"/>
                      <a:pt x="68" y="93"/>
                    </a:cubicBezTo>
                    <a:cubicBezTo>
                      <a:pt x="100" y="93"/>
                      <a:pt x="100" y="93"/>
                      <a:pt x="100" y="93"/>
                    </a:cubicBezTo>
                    <a:cubicBezTo>
                      <a:pt x="100" y="151"/>
                      <a:pt x="100" y="151"/>
                      <a:pt x="100" y="151"/>
                    </a:cubicBezTo>
                    <a:cubicBezTo>
                      <a:pt x="100" y="152"/>
                      <a:pt x="101" y="153"/>
                      <a:pt x="102" y="153"/>
                    </a:cubicBezTo>
                    <a:cubicBezTo>
                      <a:pt x="144" y="153"/>
                      <a:pt x="144" y="153"/>
                      <a:pt x="144" y="153"/>
                    </a:cubicBezTo>
                    <a:cubicBezTo>
                      <a:pt x="146" y="153"/>
                      <a:pt x="147" y="152"/>
                      <a:pt x="147" y="151"/>
                    </a:cubicBezTo>
                    <a:cubicBezTo>
                      <a:pt x="147" y="74"/>
                      <a:pt x="147" y="74"/>
                      <a:pt x="147" y="74"/>
                    </a:cubicBezTo>
                    <a:cubicBezTo>
                      <a:pt x="152" y="77"/>
                      <a:pt x="152" y="77"/>
                      <a:pt x="152" y="77"/>
                    </a:cubicBezTo>
                    <a:cubicBezTo>
                      <a:pt x="153" y="78"/>
                      <a:pt x="155" y="78"/>
                      <a:pt x="155" y="77"/>
                    </a:cubicBezTo>
                    <a:cubicBezTo>
                      <a:pt x="166" y="61"/>
                      <a:pt x="166" y="61"/>
                      <a:pt x="166" y="61"/>
                    </a:cubicBezTo>
                    <a:cubicBezTo>
                      <a:pt x="167" y="60"/>
                      <a:pt x="167" y="60"/>
                      <a:pt x="167" y="59"/>
                    </a:cubicBezTo>
                    <a:cubicBezTo>
                      <a:pt x="167" y="59"/>
                      <a:pt x="166" y="58"/>
                      <a:pt x="166" y="58"/>
                    </a:cubicBezTo>
                    <a:close/>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nvGrpSpPr>
              <p:cNvPr id="158" name="Group 157"/>
              <p:cNvGrpSpPr/>
              <p:nvPr/>
            </p:nvGrpSpPr>
            <p:grpSpPr>
              <a:xfrm>
                <a:off x="1617613" y="2523372"/>
                <a:ext cx="590096" cy="1470098"/>
                <a:chOff x="1525294" y="104182"/>
                <a:chExt cx="681830" cy="1698634"/>
              </a:xfrm>
              <a:solidFill>
                <a:schemeClr val="accent2"/>
              </a:solidFill>
            </p:grpSpPr>
            <p:sp>
              <p:nvSpPr>
                <p:cNvPr id="161" name="Freeform 3735"/>
                <p:cNvSpPr>
                  <a:spLocks/>
                </p:cNvSpPr>
                <p:nvPr/>
              </p:nvSpPr>
              <p:spPr bwMode="auto">
                <a:xfrm>
                  <a:off x="1525294" y="414342"/>
                  <a:ext cx="681830" cy="1388474"/>
                </a:xfrm>
                <a:custGeom>
                  <a:avLst/>
                  <a:gdLst>
                    <a:gd name="T0" fmla="*/ 52 w 221"/>
                    <a:gd name="T1" fmla="*/ 425 h 450"/>
                    <a:gd name="T2" fmla="*/ 77 w 221"/>
                    <a:gd name="T3" fmla="*/ 450 h 450"/>
                    <a:gd name="T4" fmla="*/ 102 w 221"/>
                    <a:gd name="T5" fmla="*/ 425 h 450"/>
                    <a:gd name="T6" fmla="*/ 102 w 221"/>
                    <a:gd name="T7" fmla="*/ 214 h 450"/>
                    <a:gd name="T8" fmla="*/ 119 w 221"/>
                    <a:gd name="T9" fmla="*/ 214 h 450"/>
                    <a:gd name="T10" fmla="*/ 119 w 221"/>
                    <a:gd name="T11" fmla="*/ 425 h 450"/>
                    <a:gd name="T12" fmla="*/ 144 w 221"/>
                    <a:gd name="T13" fmla="*/ 450 h 450"/>
                    <a:gd name="T14" fmla="*/ 169 w 221"/>
                    <a:gd name="T15" fmla="*/ 425 h 450"/>
                    <a:gd name="T16" fmla="*/ 169 w 221"/>
                    <a:gd name="T17" fmla="*/ 62 h 450"/>
                    <a:gd name="T18" fmla="*/ 186 w 221"/>
                    <a:gd name="T19" fmla="*/ 62 h 450"/>
                    <a:gd name="T20" fmla="*/ 186 w 221"/>
                    <a:gd name="T21" fmla="*/ 196 h 450"/>
                    <a:gd name="T22" fmla="*/ 221 w 221"/>
                    <a:gd name="T23" fmla="*/ 196 h 450"/>
                    <a:gd name="T24" fmla="*/ 221 w 221"/>
                    <a:gd name="T25" fmla="*/ 59 h 450"/>
                    <a:gd name="T26" fmla="*/ 163 w 221"/>
                    <a:gd name="T27" fmla="*/ 0 h 450"/>
                    <a:gd name="T28" fmla="*/ 57 w 221"/>
                    <a:gd name="T29" fmla="*/ 0 h 450"/>
                    <a:gd name="T30" fmla="*/ 0 w 221"/>
                    <a:gd name="T31" fmla="*/ 58 h 450"/>
                    <a:gd name="T32" fmla="*/ 0 w 221"/>
                    <a:gd name="T33" fmla="*/ 196 h 450"/>
                    <a:gd name="T34" fmla="*/ 35 w 221"/>
                    <a:gd name="T35" fmla="*/ 196 h 450"/>
                    <a:gd name="T36" fmla="*/ 35 w 221"/>
                    <a:gd name="T37" fmla="*/ 62 h 450"/>
                    <a:gd name="T38" fmla="*/ 52 w 221"/>
                    <a:gd name="T39" fmla="*/ 62 h 450"/>
                    <a:gd name="T40" fmla="*/ 52 w 221"/>
                    <a:gd name="T41" fmla="*/ 42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1" h="450">
                      <a:moveTo>
                        <a:pt x="52" y="425"/>
                      </a:moveTo>
                      <a:cubicBezTo>
                        <a:pt x="52" y="439"/>
                        <a:pt x="63" y="450"/>
                        <a:pt x="77" y="450"/>
                      </a:cubicBezTo>
                      <a:cubicBezTo>
                        <a:pt x="91" y="450"/>
                        <a:pt x="102" y="439"/>
                        <a:pt x="102" y="425"/>
                      </a:cubicBezTo>
                      <a:cubicBezTo>
                        <a:pt x="102" y="214"/>
                        <a:pt x="102" y="214"/>
                        <a:pt x="102" y="214"/>
                      </a:cubicBezTo>
                      <a:cubicBezTo>
                        <a:pt x="119" y="214"/>
                        <a:pt x="119" y="214"/>
                        <a:pt x="119" y="214"/>
                      </a:cubicBezTo>
                      <a:cubicBezTo>
                        <a:pt x="119" y="425"/>
                        <a:pt x="119" y="425"/>
                        <a:pt x="119" y="425"/>
                      </a:cubicBezTo>
                      <a:cubicBezTo>
                        <a:pt x="119" y="439"/>
                        <a:pt x="130" y="450"/>
                        <a:pt x="144" y="450"/>
                      </a:cubicBezTo>
                      <a:cubicBezTo>
                        <a:pt x="158" y="450"/>
                        <a:pt x="169" y="439"/>
                        <a:pt x="169" y="425"/>
                      </a:cubicBezTo>
                      <a:cubicBezTo>
                        <a:pt x="169" y="62"/>
                        <a:pt x="169" y="62"/>
                        <a:pt x="169" y="62"/>
                      </a:cubicBezTo>
                      <a:cubicBezTo>
                        <a:pt x="186" y="62"/>
                        <a:pt x="186" y="62"/>
                        <a:pt x="186" y="62"/>
                      </a:cubicBezTo>
                      <a:cubicBezTo>
                        <a:pt x="186" y="196"/>
                        <a:pt x="186" y="196"/>
                        <a:pt x="186" y="196"/>
                      </a:cubicBezTo>
                      <a:cubicBezTo>
                        <a:pt x="186" y="222"/>
                        <a:pt x="221" y="222"/>
                        <a:pt x="221" y="196"/>
                      </a:cubicBezTo>
                      <a:cubicBezTo>
                        <a:pt x="221" y="59"/>
                        <a:pt x="221" y="59"/>
                        <a:pt x="221" y="59"/>
                      </a:cubicBezTo>
                      <a:cubicBezTo>
                        <a:pt x="221" y="29"/>
                        <a:pt x="198" y="0"/>
                        <a:pt x="163" y="0"/>
                      </a:cubicBezTo>
                      <a:cubicBezTo>
                        <a:pt x="57" y="0"/>
                        <a:pt x="57" y="0"/>
                        <a:pt x="57" y="0"/>
                      </a:cubicBezTo>
                      <a:cubicBezTo>
                        <a:pt x="25" y="0"/>
                        <a:pt x="0" y="26"/>
                        <a:pt x="0" y="58"/>
                      </a:cubicBezTo>
                      <a:cubicBezTo>
                        <a:pt x="0" y="196"/>
                        <a:pt x="0" y="196"/>
                        <a:pt x="0" y="196"/>
                      </a:cubicBezTo>
                      <a:cubicBezTo>
                        <a:pt x="0" y="222"/>
                        <a:pt x="35" y="222"/>
                        <a:pt x="35" y="196"/>
                      </a:cubicBezTo>
                      <a:cubicBezTo>
                        <a:pt x="35" y="62"/>
                        <a:pt x="35" y="62"/>
                        <a:pt x="35" y="62"/>
                      </a:cubicBezTo>
                      <a:cubicBezTo>
                        <a:pt x="52" y="62"/>
                        <a:pt x="52" y="62"/>
                        <a:pt x="52" y="62"/>
                      </a:cubicBezTo>
                      <a:lnTo>
                        <a:pt x="52" y="425"/>
                      </a:lnTo>
                      <a:close/>
                    </a:path>
                  </a:pathLst>
                </a:cu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171" name="Oval 3736"/>
                <p:cNvSpPr>
                  <a:spLocks noChangeArrowheads="1"/>
                </p:cNvSpPr>
                <p:nvPr/>
              </p:nvSpPr>
              <p:spPr bwMode="auto">
                <a:xfrm>
                  <a:off x="1732064" y="104182"/>
                  <a:ext cx="274298" cy="276911"/>
                </a:xfrm>
                <a:prstGeom prst="ellipse">
                  <a:avLst/>
                </a:pr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grpSp>
        <p:sp>
          <p:nvSpPr>
            <p:cNvPr id="153" name="TextBox 152"/>
            <p:cNvSpPr txBox="1"/>
            <p:nvPr/>
          </p:nvSpPr>
          <p:spPr>
            <a:xfrm>
              <a:off x="1580183" y="2622992"/>
              <a:ext cx="680429" cy="237491"/>
            </a:xfrm>
            <a:prstGeom prst="rect">
              <a:avLst/>
            </a:prstGeom>
            <a:noFill/>
          </p:spPr>
          <p:txBody>
            <a:bodyPr wrap="none" rtlCol="0">
              <a:spAutoFit/>
            </a:bodyPr>
            <a:lstStyle/>
            <a:p>
              <a:r>
                <a:rPr lang="en-US" sz="1300" dirty="0"/>
                <a:t>Prosumer</a:t>
              </a:r>
            </a:p>
          </p:txBody>
        </p:sp>
      </p:grpSp>
      <p:grpSp>
        <p:nvGrpSpPr>
          <p:cNvPr id="186" name="Group 185"/>
          <p:cNvGrpSpPr/>
          <p:nvPr/>
        </p:nvGrpSpPr>
        <p:grpSpPr>
          <a:xfrm>
            <a:off x="4632307" y="1944152"/>
            <a:ext cx="1106423" cy="1106423"/>
            <a:chOff x="1737897" y="2842877"/>
            <a:chExt cx="1106423" cy="1106423"/>
          </a:xfrm>
        </p:grpSpPr>
        <p:sp>
          <p:nvSpPr>
            <p:cNvPr id="236" name="Oval 235"/>
            <p:cNvSpPr/>
            <p:nvPr/>
          </p:nvSpPr>
          <p:spPr>
            <a:xfrm>
              <a:off x="1737897" y="2842877"/>
              <a:ext cx="1106423" cy="1106423"/>
            </a:xfrm>
            <a:prstGeom prst="ellipse">
              <a:avLst/>
            </a:prstGeom>
            <a:solidFill>
              <a:schemeClr val="bg1"/>
            </a:solid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nvGrpSpPr>
            <p:cNvPr id="237" name="Group 59"/>
            <p:cNvGrpSpPr>
              <a:grpSpLocks noChangeAspect="1"/>
            </p:cNvGrpSpPr>
            <p:nvPr/>
          </p:nvGrpSpPr>
          <p:grpSpPr bwMode="auto">
            <a:xfrm>
              <a:off x="1863272" y="3142651"/>
              <a:ext cx="855672" cy="407711"/>
              <a:chOff x="2426" y="1865"/>
              <a:chExt cx="659" cy="314"/>
            </a:xfrm>
            <a:solidFill>
              <a:schemeClr val="accent2"/>
            </a:solidFill>
          </p:grpSpPr>
          <p:sp>
            <p:nvSpPr>
              <p:cNvPr id="239" name="Freeform 60"/>
              <p:cNvSpPr>
                <a:spLocks noEditPoints="1"/>
              </p:cNvSpPr>
              <p:nvPr/>
            </p:nvSpPr>
            <p:spPr bwMode="auto">
              <a:xfrm>
                <a:off x="2542" y="1865"/>
                <a:ext cx="428" cy="314"/>
              </a:xfrm>
              <a:custGeom>
                <a:avLst/>
                <a:gdLst>
                  <a:gd name="T0" fmla="*/ 181 w 181"/>
                  <a:gd name="T1" fmla="*/ 25 h 133"/>
                  <a:gd name="T2" fmla="*/ 117 w 181"/>
                  <a:gd name="T3" fmla="*/ 4 h 133"/>
                  <a:gd name="T4" fmla="*/ 59 w 181"/>
                  <a:gd name="T5" fmla="*/ 0 h 133"/>
                  <a:gd name="T6" fmla="*/ 0 w 181"/>
                  <a:gd name="T7" fmla="*/ 22 h 133"/>
                  <a:gd name="T8" fmla="*/ 12 w 181"/>
                  <a:gd name="T9" fmla="*/ 91 h 133"/>
                  <a:gd name="T10" fmla="*/ 20 w 181"/>
                  <a:gd name="T11" fmla="*/ 109 h 133"/>
                  <a:gd name="T12" fmla="*/ 32 w 181"/>
                  <a:gd name="T13" fmla="*/ 113 h 133"/>
                  <a:gd name="T14" fmla="*/ 48 w 181"/>
                  <a:gd name="T15" fmla="*/ 119 h 133"/>
                  <a:gd name="T16" fmla="*/ 61 w 181"/>
                  <a:gd name="T17" fmla="*/ 130 h 133"/>
                  <a:gd name="T18" fmla="*/ 79 w 181"/>
                  <a:gd name="T19" fmla="*/ 130 h 133"/>
                  <a:gd name="T20" fmla="*/ 91 w 181"/>
                  <a:gd name="T21" fmla="*/ 133 h 133"/>
                  <a:gd name="T22" fmla="*/ 100 w 181"/>
                  <a:gd name="T23" fmla="*/ 127 h 133"/>
                  <a:gd name="T24" fmla="*/ 116 w 181"/>
                  <a:gd name="T25" fmla="*/ 128 h 133"/>
                  <a:gd name="T26" fmla="*/ 122 w 181"/>
                  <a:gd name="T27" fmla="*/ 122 h 133"/>
                  <a:gd name="T28" fmla="*/ 142 w 181"/>
                  <a:gd name="T29" fmla="*/ 117 h 133"/>
                  <a:gd name="T30" fmla="*/ 144 w 181"/>
                  <a:gd name="T31" fmla="*/ 115 h 133"/>
                  <a:gd name="T32" fmla="*/ 155 w 181"/>
                  <a:gd name="T33" fmla="*/ 116 h 133"/>
                  <a:gd name="T34" fmla="*/ 164 w 181"/>
                  <a:gd name="T35" fmla="*/ 101 h 133"/>
                  <a:gd name="T36" fmla="*/ 158 w 181"/>
                  <a:gd name="T37" fmla="*/ 108 h 133"/>
                  <a:gd name="T38" fmla="*/ 153 w 181"/>
                  <a:gd name="T39" fmla="*/ 112 h 133"/>
                  <a:gd name="T40" fmla="*/ 142 w 181"/>
                  <a:gd name="T41" fmla="*/ 108 h 133"/>
                  <a:gd name="T42" fmla="*/ 118 w 181"/>
                  <a:gd name="T43" fmla="*/ 81 h 133"/>
                  <a:gd name="T44" fmla="*/ 138 w 181"/>
                  <a:gd name="T45" fmla="*/ 110 h 133"/>
                  <a:gd name="T46" fmla="*/ 133 w 181"/>
                  <a:gd name="T47" fmla="*/ 118 h 133"/>
                  <a:gd name="T48" fmla="*/ 122 w 181"/>
                  <a:gd name="T49" fmla="*/ 115 h 133"/>
                  <a:gd name="T50" fmla="*/ 98 w 181"/>
                  <a:gd name="T51" fmla="*/ 88 h 133"/>
                  <a:gd name="T52" fmla="*/ 117 w 181"/>
                  <a:gd name="T53" fmla="*/ 117 h 133"/>
                  <a:gd name="T54" fmla="*/ 114 w 181"/>
                  <a:gd name="T55" fmla="*/ 123 h 133"/>
                  <a:gd name="T56" fmla="*/ 109 w 181"/>
                  <a:gd name="T57" fmla="*/ 125 h 133"/>
                  <a:gd name="T58" fmla="*/ 97 w 181"/>
                  <a:gd name="T59" fmla="*/ 118 h 133"/>
                  <a:gd name="T60" fmla="*/ 75 w 181"/>
                  <a:gd name="T61" fmla="*/ 95 h 133"/>
                  <a:gd name="T62" fmla="*/ 94 w 181"/>
                  <a:gd name="T63" fmla="*/ 127 h 133"/>
                  <a:gd name="T64" fmla="*/ 91 w 181"/>
                  <a:gd name="T65" fmla="*/ 128 h 133"/>
                  <a:gd name="T66" fmla="*/ 29 w 181"/>
                  <a:gd name="T67" fmla="*/ 88 h 133"/>
                  <a:gd name="T68" fmla="*/ 6 w 181"/>
                  <a:gd name="T69" fmla="*/ 86 h 133"/>
                  <a:gd name="T70" fmla="*/ 24 w 181"/>
                  <a:gd name="T71" fmla="*/ 28 h 133"/>
                  <a:gd name="T72" fmla="*/ 72 w 181"/>
                  <a:gd name="T73" fmla="*/ 8 h 133"/>
                  <a:gd name="T74" fmla="*/ 61 w 181"/>
                  <a:gd name="T75" fmla="*/ 40 h 133"/>
                  <a:gd name="T76" fmla="*/ 102 w 181"/>
                  <a:gd name="T77" fmla="*/ 32 h 133"/>
                  <a:gd name="T78" fmla="*/ 157 w 181"/>
                  <a:gd name="T79" fmla="*/ 94 h 133"/>
                  <a:gd name="T80" fmla="*/ 158 w 181"/>
                  <a:gd name="T81" fmla="*/ 10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33">
                    <a:moveTo>
                      <a:pt x="181" y="91"/>
                    </a:moveTo>
                    <a:cubicBezTo>
                      <a:pt x="181" y="25"/>
                      <a:pt x="181" y="25"/>
                      <a:pt x="181" y="25"/>
                    </a:cubicBezTo>
                    <a:cubicBezTo>
                      <a:pt x="159" y="25"/>
                      <a:pt x="159" y="25"/>
                      <a:pt x="159" y="25"/>
                    </a:cubicBezTo>
                    <a:cubicBezTo>
                      <a:pt x="117" y="4"/>
                      <a:pt x="117" y="4"/>
                      <a:pt x="117" y="4"/>
                    </a:cubicBezTo>
                    <a:cubicBezTo>
                      <a:pt x="81" y="4"/>
                      <a:pt x="81" y="4"/>
                      <a:pt x="81" y="4"/>
                    </a:cubicBezTo>
                    <a:cubicBezTo>
                      <a:pt x="59" y="0"/>
                      <a:pt x="59" y="0"/>
                      <a:pt x="59" y="0"/>
                    </a:cubicBezTo>
                    <a:cubicBezTo>
                      <a:pt x="23" y="23"/>
                      <a:pt x="23" y="23"/>
                      <a:pt x="23" y="23"/>
                    </a:cubicBezTo>
                    <a:cubicBezTo>
                      <a:pt x="0" y="22"/>
                      <a:pt x="0" y="22"/>
                      <a:pt x="0" y="22"/>
                    </a:cubicBezTo>
                    <a:cubicBezTo>
                      <a:pt x="1" y="90"/>
                      <a:pt x="1" y="90"/>
                      <a:pt x="1" y="90"/>
                    </a:cubicBezTo>
                    <a:cubicBezTo>
                      <a:pt x="12" y="91"/>
                      <a:pt x="12" y="91"/>
                      <a:pt x="12" y="91"/>
                    </a:cubicBezTo>
                    <a:cubicBezTo>
                      <a:pt x="12" y="94"/>
                      <a:pt x="11" y="100"/>
                      <a:pt x="12" y="102"/>
                    </a:cubicBezTo>
                    <a:cubicBezTo>
                      <a:pt x="13" y="104"/>
                      <a:pt x="18" y="109"/>
                      <a:pt x="20" y="109"/>
                    </a:cubicBezTo>
                    <a:cubicBezTo>
                      <a:pt x="23" y="109"/>
                      <a:pt x="31" y="104"/>
                      <a:pt x="31" y="104"/>
                    </a:cubicBezTo>
                    <a:cubicBezTo>
                      <a:pt x="31" y="104"/>
                      <a:pt x="32" y="111"/>
                      <a:pt x="32" y="113"/>
                    </a:cubicBezTo>
                    <a:cubicBezTo>
                      <a:pt x="31" y="115"/>
                      <a:pt x="35" y="120"/>
                      <a:pt x="38" y="120"/>
                    </a:cubicBezTo>
                    <a:cubicBezTo>
                      <a:pt x="41" y="120"/>
                      <a:pt x="48" y="119"/>
                      <a:pt x="48" y="119"/>
                    </a:cubicBezTo>
                    <a:cubicBezTo>
                      <a:pt x="48" y="119"/>
                      <a:pt x="49" y="125"/>
                      <a:pt x="52" y="127"/>
                    </a:cubicBezTo>
                    <a:cubicBezTo>
                      <a:pt x="54" y="129"/>
                      <a:pt x="60" y="130"/>
                      <a:pt x="61" y="130"/>
                    </a:cubicBezTo>
                    <a:cubicBezTo>
                      <a:pt x="63" y="129"/>
                      <a:pt x="68" y="127"/>
                      <a:pt x="72" y="125"/>
                    </a:cubicBezTo>
                    <a:cubicBezTo>
                      <a:pt x="76" y="128"/>
                      <a:pt x="79" y="130"/>
                      <a:pt x="79" y="130"/>
                    </a:cubicBezTo>
                    <a:cubicBezTo>
                      <a:pt x="80" y="131"/>
                      <a:pt x="86" y="133"/>
                      <a:pt x="91" y="133"/>
                    </a:cubicBezTo>
                    <a:cubicBezTo>
                      <a:pt x="91" y="133"/>
                      <a:pt x="91" y="133"/>
                      <a:pt x="91" y="133"/>
                    </a:cubicBezTo>
                    <a:cubicBezTo>
                      <a:pt x="94" y="133"/>
                      <a:pt x="97" y="132"/>
                      <a:pt x="98" y="130"/>
                    </a:cubicBezTo>
                    <a:cubicBezTo>
                      <a:pt x="99" y="129"/>
                      <a:pt x="99" y="128"/>
                      <a:pt x="100" y="127"/>
                    </a:cubicBezTo>
                    <a:cubicBezTo>
                      <a:pt x="102" y="129"/>
                      <a:pt x="106" y="130"/>
                      <a:pt x="109" y="130"/>
                    </a:cubicBezTo>
                    <a:cubicBezTo>
                      <a:pt x="112" y="130"/>
                      <a:pt x="114" y="129"/>
                      <a:pt x="116" y="128"/>
                    </a:cubicBezTo>
                    <a:cubicBezTo>
                      <a:pt x="118" y="127"/>
                      <a:pt x="121" y="125"/>
                      <a:pt x="122" y="122"/>
                    </a:cubicBezTo>
                    <a:cubicBezTo>
                      <a:pt x="122" y="122"/>
                      <a:pt x="122" y="122"/>
                      <a:pt x="122" y="122"/>
                    </a:cubicBezTo>
                    <a:cubicBezTo>
                      <a:pt x="125" y="123"/>
                      <a:pt x="130" y="125"/>
                      <a:pt x="135" y="122"/>
                    </a:cubicBezTo>
                    <a:cubicBezTo>
                      <a:pt x="137" y="122"/>
                      <a:pt x="141" y="120"/>
                      <a:pt x="142" y="117"/>
                    </a:cubicBezTo>
                    <a:cubicBezTo>
                      <a:pt x="143" y="117"/>
                      <a:pt x="143" y="115"/>
                      <a:pt x="143" y="114"/>
                    </a:cubicBezTo>
                    <a:cubicBezTo>
                      <a:pt x="144" y="115"/>
                      <a:pt x="144" y="115"/>
                      <a:pt x="144" y="115"/>
                    </a:cubicBezTo>
                    <a:cubicBezTo>
                      <a:pt x="145" y="116"/>
                      <a:pt x="145" y="116"/>
                      <a:pt x="145" y="116"/>
                    </a:cubicBezTo>
                    <a:cubicBezTo>
                      <a:pt x="145" y="116"/>
                      <a:pt x="152" y="117"/>
                      <a:pt x="155" y="116"/>
                    </a:cubicBezTo>
                    <a:cubicBezTo>
                      <a:pt x="159" y="116"/>
                      <a:pt x="162" y="112"/>
                      <a:pt x="163" y="110"/>
                    </a:cubicBezTo>
                    <a:cubicBezTo>
                      <a:pt x="163" y="109"/>
                      <a:pt x="164" y="106"/>
                      <a:pt x="164" y="101"/>
                    </a:cubicBezTo>
                    <a:lnTo>
                      <a:pt x="181" y="91"/>
                    </a:lnTo>
                    <a:close/>
                    <a:moveTo>
                      <a:pt x="158" y="108"/>
                    </a:moveTo>
                    <a:cubicBezTo>
                      <a:pt x="158" y="109"/>
                      <a:pt x="156" y="111"/>
                      <a:pt x="154" y="112"/>
                    </a:cubicBezTo>
                    <a:cubicBezTo>
                      <a:pt x="154" y="112"/>
                      <a:pt x="153" y="112"/>
                      <a:pt x="153" y="112"/>
                    </a:cubicBezTo>
                    <a:cubicBezTo>
                      <a:pt x="151" y="112"/>
                      <a:pt x="148" y="111"/>
                      <a:pt x="147" y="111"/>
                    </a:cubicBezTo>
                    <a:cubicBezTo>
                      <a:pt x="142" y="108"/>
                      <a:pt x="142" y="108"/>
                      <a:pt x="142" y="108"/>
                    </a:cubicBezTo>
                    <a:cubicBezTo>
                      <a:pt x="122" y="78"/>
                      <a:pt x="122" y="78"/>
                      <a:pt x="122" y="78"/>
                    </a:cubicBezTo>
                    <a:cubicBezTo>
                      <a:pt x="118" y="81"/>
                      <a:pt x="118" y="81"/>
                      <a:pt x="118" y="81"/>
                    </a:cubicBezTo>
                    <a:cubicBezTo>
                      <a:pt x="138" y="111"/>
                      <a:pt x="138" y="111"/>
                      <a:pt x="138" y="111"/>
                    </a:cubicBezTo>
                    <a:cubicBezTo>
                      <a:pt x="138" y="110"/>
                      <a:pt x="138" y="110"/>
                      <a:pt x="138" y="110"/>
                    </a:cubicBezTo>
                    <a:cubicBezTo>
                      <a:pt x="138" y="112"/>
                      <a:pt x="138" y="114"/>
                      <a:pt x="138" y="115"/>
                    </a:cubicBezTo>
                    <a:cubicBezTo>
                      <a:pt x="138" y="116"/>
                      <a:pt x="135" y="117"/>
                      <a:pt x="133" y="118"/>
                    </a:cubicBezTo>
                    <a:cubicBezTo>
                      <a:pt x="132" y="118"/>
                      <a:pt x="131" y="119"/>
                      <a:pt x="130" y="119"/>
                    </a:cubicBezTo>
                    <a:cubicBezTo>
                      <a:pt x="126" y="119"/>
                      <a:pt x="123" y="116"/>
                      <a:pt x="122" y="115"/>
                    </a:cubicBezTo>
                    <a:cubicBezTo>
                      <a:pt x="102" y="85"/>
                      <a:pt x="102" y="85"/>
                      <a:pt x="102" y="85"/>
                    </a:cubicBezTo>
                    <a:cubicBezTo>
                      <a:pt x="98" y="88"/>
                      <a:pt x="98" y="88"/>
                      <a:pt x="98" y="88"/>
                    </a:cubicBezTo>
                    <a:cubicBezTo>
                      <a:pt x="117" y="117"/>
                      <a:pt x="117" y="117"/>
                      <a:pt x="117" y="117"/>
                    </a:cubicBezTo>
                    <a:cubicBezTo>
                      <a:pt x="117" y="117"/>
                      <a:pt x="117" y="117"/>
                      <a:pt x="117" y="117"/>
                    </a:cubicBezTo>
                    <a:cubicBezTo>
                      <a:pt x="118" y="118"/>
                      <a:pt x="118" y="119"/>
                      <a:pt x="117" y="120"/>
                    </a:cubicBezTo>
                    <a:cubicBezTo>
                      <a:pt x="117" y="122"/>
                      <a:pt x="115" y="123"/>
                      <a:pt x="114" y="123"/>
                    </a:cubicBezTo>
                    <a:cubicBezTo>
                      <a:pt x="114" y="124"/>
                      <a:pt x="114" y="124"/>
                      <a:pt x="114" y="124"/>
                    </a:cubicBezTo>
                    <a:cubicBezTo>
                      <a:pt x="112" y="125"/>
                      <a:pt x="111" y="125"/>
                      <a:pt x="109" y="125"/>
                    </a:cubicBezTo>
                    <a:cubicBezTo>
                      <a:pt x="104" y="125"/>
                      <a:pt x="98" y="120"/>
                      <a:pt x="98" y="120"/>
                    </a:cubicBezTo>
                    <a:cubicBezTo>
                      <a:pt x="97" y="118"/>
                      <a:pt x="97" y="118"/>
                      <a:pt x="97" y="118"/>
                    </a:cubicBezTo>
                    <a:cubicBezTo>
                      <a:pt x="79" y="92"/>
                      <a:pt x="79" y="92"/>
                      <a:pt x="79" y="92"/>
                    </a:cubicBezTo>
                    <a:cubicBezTo>
                      <a:pt x="75" y="95"/>
                      <a:pt x="75" y="95"/>
                      <a:pt x="75" y="95"/>
                    </a:cubicBezTo>
                    <a:cubicBezTo>
                      <a:pt x="95" y="124"/>
                      <a:pt x="95" y="124"/>
                      <a:pt x="95" y="124"/>
                    </a:cubicBezTo>
                    <a:cubicBezTo>
                      <a:pt x="95" y="125"/>
                      <a:pt x="95" y="127"/>
                      <a:pt x="94" y="127"/>
                    </a:cubicBezTo>
                    <a:cubicBezTo>
                      <a:pt x="94" y="128"/>
                      <a:pt x="92" y="128"/>
                      <a:pt x="91" y="128"/>
                    </a:cubicBezTo>
                    <a:cubicBezTo>
                      <a:pt x="91" y="128"/>
                      <a:pt x="91" y="128"/>
                      <a:pt x="91" y="128"/>
                    </a:cubicBezTo>
                    <a:cubicBezTo>
                      <a:pt x="87" y="128"/>
                      <a:pt x="82" y="126"/>
                      <a:pt x="81" y="126"/>
                    </a:cubicBezTo>
                    <a:cubicBezTo>
                      <a:pt x="80" y="125"/>
                      <a:pt x="49" y="103"/>
                      <a:pt x="29" y="88"/>
                    </a:cubicBezTo>
                    <a:cubicBezTo>
                      <a:pt x="29" y="88"/>
                      <a:pt x="29" y="88"/>
                      <a:pt x="29" y="88"/>
                    </a:cubicBezTo>
                    <a:cubicBezTo>
                      <a:pt x="6" y="86"/>
                      <a:pt x="6" y="86"/>
                      <a:pt x="6" y="86"/>
                    </a:cubicBezTo>
                    <a:cubicBezTo>
                      <a:pt x="5" y="27"/>
                      <a:pt x="5" y="27"/>
                      <a:pt x="5" y="27"/>
                    </a:cubicBezTo>
                    <a:cubicBezTo>
                      <a:pt x="24" y="28"/>
                      <a:pt x="24" y="28"/>
                      <a:pt x="24" y="28"/>
                    </a:cubicBezTo>
                    <a:cubicBezTo>
                      <a:pt x="60" y="6"/>
                      <a:pt x="60" y="6"/>
                      <a:pt x="60" y="6"/>
                    </a:cubicBezTo>
                    <a:cubicBezTo>
                      <a:pt x="72" y="8"/>
                      <a:pt x="72" y="8"/>
                      <a:pt x="72" y="8"/>
                    </a:cubicBezTo>
                    <a:cubicBezTo>
                      <a:pt x="41" y="33"/>
                      <a:pt x="41" y="33"/>
                      <a:pt x="41" y="33"/>
                    </a:cubicBezTo>
                    <a:cubicBezTo>
                      <a:pt x="41" y="33"/>
                      <a:pt x="43" y="46"/>
                      <a:pt x="61" y="40"/>
                    </a:cubicBezTo>
                    <a:cubicBezTo>
                      <a:pt x="80" y="32"/>
                      <a:pt x="80" y="32"/>
                      <a:pt x="80" y="32"/>
                    </a:cubicBezTo>
                    <a:cubicBezTo>
                      <a:pt x="102" y="32"/>
                      <a:pt x="102" y="32"/>
                      <a:pt x="102" y="32"/>
                    </a:cubicBezTo>
                    <a:cubicBezTo>
                      <a:pt x="114" y="39"/>
                      <a:pt x="114" y="39"/>
                      <a:pt x="114" y="39"/>
                    </a:cubicBezTo>
                    <a:cubicBezTo>
                      <a:pt x="157" y="94"/>
                      <a:pt x="157" y="94"/>
                      <a:pt x="157" y="94"/>
                    </a:cubicBezTo>
                    <a:cubicBezTo>
                      <a:pt x="159" y="100"/>
                      <a:pt x="159" y="100"/>
                      <a:pt x="159" y="100"/>
                    </a:cubicBezTo>
                    <a:cubicBezTo>
                      <a:pt x="159" y="103"/>
                      <a:pt x="159" y="107"/>
                      <a:pt x="15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40" name="Freeform 61"/>
              <p:cNvSpPr>
                <a:spLocks noEditPoints="1"/>
              </p:cNvSpPr>
              <p:nvPr/>
            </p:nvSpPr>
            <p:spPr bwMode="auto">
              <a:xfrm>
                <a:off x="2426" y="1907"/>
                <a:ext cx="92" cy="185"/>
              </a:xfrm>
              <a:custGeom>
                <a:avLst/>
                <a:gdLst>
                  <a:gd name="T0" fmla="*/ 0 w 39"/>
                  <a:gd name="T1" fmla="*/ 78 h 78"/>
                  <a:gd name="T2" fmla="*/ 39 w 39"/>
                  <a:gd name="T3" fmla="*/ 78 h 78"/>
                  <a:gd name="T4" fmla="*/ 39 w 39"/>
                  <a:gd name="T5" fmla="*/ 0 h 78"/>
                  <a:gd name="T6" fmla="*/ 0 w 39"/>
                  <a:gd name="T7" fmla="*/ 0 h 78"/>
                  <a:gd name="T8" fmla="*/ 0 w 39"/>
                  <a:gd name="T9" fmla="*/ 78 h 78"/>
                  <a:gd name="T10" fmla="*/ 19 w 39"/>
                  <a:gd name="T11" fmla="*/ 52 h 78"/>
                  <a:gd name="T12" fmla="*/ 27 w 39"/>
                  <a:gd name="T13" fmla="*/ 58 h 78"/>
                  <a:gd name="T14" fmla="*/ 19 w 39"/>
                  <a:gd name="T15" fmla="*/ 65 h 78"/>
                  <a:gd name="T16" fmla="*/ 12 w 39"/>
                  <a:gd name="T17" fmla="*/ 58 h 78"/>
                  <a:gd name="T18" fmla="*/ 19 w 39"/>
                  <a:gd name="T19"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78">
                    <a:moveTo>
                      <a:pt x="0" y="78"/>
                    </a:moveTo>
                    <a:cubicBezTo>
                      <a:pt x="39" y="78"/>
                      <a:pt x="39" y="78"/>
                      <a:pt x="39" y="78"/>
                    </a:cubicBezTo>
                    <a:cubicBezTo>
                      <a:pt x="39" y="0"/>
                      <a:pt x="39" y="0"/>
                      <a:pt x="39" y="0"/>
                    </a:cubicBezTo>
                    <a:cubicBezTo>
                      <a:pt x="0" y="0"/>
                      <a:pt x="0" y="0"/>
                      <a:pt x="0" y="0"/>
                    </a:cubicBezTo>
                    <a:lnTo>
                      <a:pt x="0" y="78"/>
                    </a:lnTo>
                    <a:close/>
                    <a:moveTo>
                      <a:pt x="19" y="52"/>
                    </a:moveTo>
                    <a:cubicBezTo>
                      <a:pt x="24" y="52"/>
                      <a:pt x="27" y="55"/>
                      <a:pt x="27" y="58"/>
                    </a:cubicBezTo>
                    <a:cubicBezTo>
                      <a:pt x="27" y="62"/>
                      <a:pt x="24" y="65"/>
                      <a:pt x="19" y="65"/>
                    </a:cubicBezTo>
                    <a:cubicBezTo>
                      <a:pt x="15" y="65"/>
                      <a:pt x="12" y="62"/>
                      <a:pt x="12" y="58"/>
                    </a:cubicBezTo>
                    <a:cubicBezTo>
                      <a:pt x="12" y="55"/>
                      <a:pt x="15"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41" name="Freeform 62"/>
              <p:cNvSpPr>
                <a:spLocks noEditPoints="1"/>
              </p:cNvSpPr>
              <p:nvPr/>
            </p:nvSpPr>
            <p:spPr bwMode="auto">
              <a:xfrm>
                <a:off x="2993" y="1907"/>
                <a:ext cx="92" cy="185"/>
              </a:xfrm>
              <a:custGeom>
                <a:avLst/>
                <a:gdLst>
                  <a:gd name="T0" fmla="*/ 39 w 39"/>
                  <a:gd name="T1" fmla="*/ 0 h 78"/>
                  <a:gd name="T2" fmla="*/ 0 w 39"/>
                  <a:gd name="T3" fmla="*/ 0 h 78"/>
                  <a:gd name="T4" fmla="*/ 0 w 39"/>
                  <a:gd name="T5" fmla="*/ 78 h 78"/>
                  <a:gd name="T6" fmla="*/ 39 w 39"/>
                  <a:gd name="T7" fmla="*/ 78 h 78"/>
                  <a:gd name="T8" fmla="*/ 39 w 39"/>
                  <a:gd name="T9" fmla="*/ 0 h 78"/>
                  <a:gd name="T10" fmla="*/ 27 w 39"/>
                  <a:gd name="T11" fmla="*/ 58 h 78"/>
                  <a:gd name="T12" fmla="*/ 19 w 39"/>
                  <a:gd name="T13" fmla="*/ 65 h 78"/>
                  <a:gd name="T14" fmla="*/ 12 w 39"/>
                  <a:gd name="T15" fmla="*/ 58 h 78"/>
                  <a:gd name="T16" fmla="*/ 19 w 39"/>
                  <a:gd name="T17" fmla="*/ 52 h 78"/>
                  <a:gd name="T18" fmla="*/ 27 w 39"/>
                  <a:gd name="T19"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78">
                    <a:moveTo>
                      <a:pt x="39" y="0"/>
                    </a:moveTo>
                    <a:cubicBezTo>
                      <a:pt x="0" y="0"/>
                      <a:pt x="0" y="0"/>
                      <a:pt x="0" y="0"/>
                    </a:cubicBezTo>
                    <a:cubicBezTo>
                      <a:pt x="0" y="78"/>
                      <a:pt x="0" y="78"/>
                      <a:pt x="0" y="78"/>
                    </a:cubicBezTo>
                    <a:cubicBezTo>
                      <a:pt x="39" y="78"/>
                      <a:pt x="39" y="78"/>
                      <a:pt x="39" y="78"/>
                    </a:cubicBezTo>
                    <a:lnTo>
                      <a:pt x="39" y="0"/>
                    </a:lnTo>
                    <a:close/>
                    <a:moveTo>
                      <a:pt x="27" y="58"/>
                    </a:moveTo>
                    <a:cubicBezTo>
                      <a:pt x="27" y="62"/>
                      <a:pt x="23" y="65"/>
                      <a:pt x="19" y="65"/>
                    </a:cubicBezTo>
                    <a:cubicBezTo>
                      <a:pt x="15" y="65"/>
                      <a:pt x="12" y="62"/>
                      <a:pt x="12" y="58"/>
                    </a:cubicBezTo>
                    <a:cubicBezTo>
                      <a:pt x="12" y="55"/>
                      <a:pt x="15" y="52"/>
                      <a:pt x="19" y="52"/>
                    </a:cubicBezTo>
                    <a:cubicBezTo>
                      <a:pt x="23" y="52"/>
                      <a:pt x="27" y="55"/>
                      <a:pt x="2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sp>
          <p:nvSpPr>
            <p:cNvPr id="238" name="TextBox 237"/>
            <p:cNvSpPr txBox="1"/>
            <p:nvPr/>
          </p:nvSpPr>
          <p:spPr>
            <a:xfrm>
              <a:off x="1788655" y="3533182"/>
              <a:ext cx="1033668" cy="292388"/>
            </a:xfrm>
            <a:prstGeom prst="rect">
              <a:avLst/>
            </a:prstGeom>
            <a:noFill/>
          </p:spPr>
          <p:txBody>
            <a:bodyPr wrap="square" rtlCol="0" anchor="ctr">
              <a:spAutoFit/>
            </a:bodyPr>
            <a:lstStyle/>
            <a:p>
              <a:pPr algn="ctr"/>
              <a:r>
                <a:rPr lang="nl-NL" sz="1300" dirty="0">
                  <a:latin typeface="Calibri" pitchFamily="34" charset="0"/>
                </a:rPr>
                <a:t>Aggregator</a:t>
              </a:r>
              <a:endParaRPr lang="en-US" sz="1300" dirty="0">
                <a:latin typeface="Calibri" pitchFamily="34" charset="0"/>
              </a:endParaRPr>
            </a:p>
          </p:txBody>
        </p:sp>
      </p:grpSp>
      <p:cxnSp>
        <p:nvCxnSpPr>
          <p:cNvPr id="202" name="Straight Connector 201"/>
          <p:cNvCxnSpPr/>
          <p:nvPr/>
        </p:nvCxnSpPr>
        <p:spPr>
          <a:xfrm flipV="1">
            <a:off x="3537113" y="2495130"/>
            <a:ext cx="1034354" cy="2232"/>
          </a:xfrm>
          <a:prstGeom prst="line">
            <a:avLst/>
          </a:prstGeom>
          <a:ln w="12700">
            <a:solidFill>
              <a:srgbClr val="267DA5"/>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203" name="TextBox 202"/>
          <p:cNvSpPr txBox="1"/>
          <p:nvPr/>
        </p:nvSpPr>
        <p:spPr>
          <a:xfrm>
            <a:off x="3567302" y="2263482"/>
            <a:ext cx="888365" cy="276989"/>
          </a:xfrm>
          <a:prstGeom prst="rect">
            <a:avLst/>
          </a:prstGeom>
          <a:noFill/>
        </p:spPr>
        <p:txBody>
          <a:bodyPr wrap="none" lIns="91430" tIns="45715" rIns="91430" bIns="45715" rtlCol="0">
            <a:spAutoFit/>
          </a:bodyPr>
          <a:lstStyle/>
          <a:p>
            <a:r>
              <a:rPr lang="en-US" sz="1200" dirty="0">
                <a:solidFill>
                  <a:srgbClr val="267DA5"/>
                </a:solidFill>
              </a:rPr>
              <a:t>FLEXIBILITY</a:t>
            </a:r>
          </a:p>
        </p:txBody>
      </p:sp>
      <p:sp>
        <p:nvSpPr>
          <p:cNvPr id="204" name="Arc 203"/>
          <p:cNvSpPr/>
          <p:nvPr/>
        </p:nvSpPr>
        <p:spPr>
          <a:xfrm rot="5155773">
            <a:off x="3819583" y="2412779"/>
            <a:ext cx="427476" cy="427476"/>
          </a:xfrm>
          <a:prstGeom prst="arc">
            <a:avLst>
              <a:gd name="adj1" fmla="val 15622669"/>
              <a:gd name="adj2" fmla="val 6339044"/>
            </a:avLst>
          </a:prstGeom>
          <a:ln w="12700">
            <a:solidFill>
              <a:srgbClr val="267DA5"/>
            </a:solidFill>
            <a:tailEnd type="triangle" w="lg" len="lg"/>
          </a:ln>
          <a:effectLst/>
        </p:spPr>
        <p:style>
          <a:lnRef idx="2">
            <a:schemeClr val="accent1"/>
          </a:lnRef>
          <a:fillRef idx="0">
            <a:schemeClr val="accent1"/>
          </a:fillRef>
          <a:effectRef idx="1">
            <a:schemeClr val="accent1"/>
          </a:effectRef>
          <a:fontRef idx="minor">
            <a:schemeClr val="tx1"/>
          </a:fontRef>
        </p:style>
        <p:txBody>
          <a:bodyPr lIns="91430" tIns="45715" rIns="91430" bIns="45715" rtlCol="0" anchor="ctr"/>
          <a:lstStyle/>
          <a:p>
            <a:pPr algn="ctr"/>
            <a:endParaRPr lang="en-US"/>
          </a:p>
        </p:txBody>
      </p:sp>
      <p:sp>
        <p:nvSpPr>
          <p:cNvPr id="208" name="Freeform 67"/>
          <p:cNvSpPr>
            <a:spLocks/>
          </p:cNvSpPr>
          <p:nvPr/>
        </p:nvSpPr>
        <p:spPr bwMode="auto">
          <a:xfrm>
            <a:off x="3977605" y="2585920"/>
            <a:ext cx="141491" cy="166941"/>
          </a:xfrm>
          <a:custGeom>
            <a:avLst/>
            <a:gdLst>
              <a:gd name="T0" fmla="*/ 0 w 1366"/>
              <a:gd name="T1" fmla="*/ 673 h 1612"/>
              <a:gd name="T2" fmla="*/ 36 w 1366"/>
              <a:gd name="T3" fmla="*/ 505 h 1612"/>
              <a:gd name="T4" fmla="*/ 118 w 1366"/>
              <a:gd name="T5" fmla="*/ 505 h 1612"/>
              <a:gd name="T6" fmla="*/ 270 w 1366"/>
              <a:gd name="T7" fmla="*/ 505 h 1612"/>
              <a:gd name="T8" fmla="*/ 291 w 1366"/>
              <a:gd name="T9" fmla="*/ 491 h 1612"/>
              <a:gd name="T10" fmla="*/ 852 w 1366"/>
              <a:gd name="T11" fmla="*/ 36 h 1612"/>
              <a:gd name="T12" fmla="*/ 1357 w 1366"/>
              <a:gd name="T13" fmla="*/ 142 h 1612"/>
              <a:gd name="T14" fmla="*/ 1365 w 1366"/>
              <a:gd name="T15" fmla="*/ 155 h 1612"/>
              <a:gd name="T16" fmla="*/ 1330 w 1366"/>
              <a:gd name="T17" fmla="*/ 319 h 1612"/>
              <a:gd name="T18" fmla="*/ 466 w 1366"/>
              <a:gd name="T19" fmla="*/ 505 h 1612"/>
              <a:gd name="T20" fmla="*/ 1280 w 1366"/>
              <a:gd name="T21" fmla="*/ 505 h 1612"/>
              <a:gd name="T22" fmla="*/ 1254 w 1366"/>
              <a:gd name="T23" fmla="*/ 673 h 1612"/>
              <a:gd name="T24" fmla="*/ 413 w 1366"/>
              <a:gd name="T25" fmla="*/ 673 h 1612"/>
              <a:gd name="T26" fmla="*/ 413 w 1366"/>
              <a:gd name="T27" fmla="*/ 841 h 1612"/>
              <a:gd name="T28" fmla="*/ 1215 w 1366"/>
              <a:gd name="T29" fmla="*/ 841 h 1612"/>
              <a:gd name="T30" fmla="*/ 1181 w 1366"/>
              <a:gd name="T31" fmla="*/ 1009 h 1612"/>
              <a:gd name="T32" fmla="*/ 475 w 1366"/>
              <a:gd name="T33" fmla="*/ 1009 h 1612"/>
              <a:gd name="T34" fmla="*/ 1324 w 1366"/>
              <a:gd name="T35" fmla="*/ 1192 h 1612"/>
              <a:gd name="T36" fmla="*/ 1326 w 1366"/>
              <a:gd name="T37" fmla="*/ 1207 h 1612"/>
              <a:gd name="T38" fmla="*/ 1326 w 1366"/>
              <a:gd name="T39" fmla="*/ 1373 h 1612"/>
              <a:gd name="T40" fmla="*/ 1310 w 1366"/>
              <a:gd name="T41" fmla="*/ 1399 h 1612"/>
              <a:gd name="T42" fmla="*/ 299 w 1366"/>
              <a:gd name="T43" fmla="*/ 1028 h 1612"/>
              <a:gd name="T44" fmla="*/ 270 w 1366"/>
              <a:gd name="T45" fmla="*/ 1009 h 1612"/>
              <a:gd name="T46" fmla="*/ 28 w 1366"/>
              <a:gd name="T47" fmla="*/ 1009 h 1612"/>
              <a:gd name="T48" fmla="*/ 5 w 1366"/>
              <a:gd name="T49" fmla="*/ 1009 h 1612"/>
              <a:gd name="T50" fmla="*/ 39 w 1366"/>
              <a:gd name="T51" fmla="*/ 841 h 1612"/>
              <a:gd name="T52" fmla="*/ 247 w 1366"/>
              <a:gd name="T53" fmla="*/ 841 h 1612"/>
              <a:gd name="T54" fmla="*/ 247 w 1366"/>
              <a:gd name="T55" fmla="*/ 673 h 1612"/>
              <a:gd name="T56" fmla="*/ 0 w 1366"/>
              <a:gd name="T57" fmla="*/ 673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6" h="1612">
                <a:moveTo>
                  <a:pt x="0" y="673"/>
                </a:moveTo>
                <a:cubicBezTo>
                  <a:pt x="12" y="616"/>
                  <a:pt x="24" y="561"/>
                  <a:pt x="36" y="505"/>
                </a:cubicBezTo>
                <a:cubicBezTo>
                  <a:pt x="63" y="505"/>
                  <a:pt x="90" y="505"/>
                  <a:pt x="118" y="505"/>
                </a:cubicBezTo>
                <a:cubicBezTo>
                  <a:pt x="168" y="505"/>
                  <a:pt x="219" y="505"/>
                  <a:pt x="270" y="505"/>
                </a:cubicBezTo>
                <a:cubicBezTo>
                  <a:pt x="281" y="505"/>
                  <a:pt x="286" y="502"/>
                  <a:pt x="291" y="491"/>
                </a:cubicBezTo>
                <a:cubicBezTo>
                  <a:pt x="400" y="244"/>
                  <a:pt x="586" y="88"/>
                  <a:pt x="852" y="36"/>
                </a:cubicBezTo>
                <a:cubicBezTo>
                  <a:pt x="1034" y="0"/>
                  <a:pt x="1202" y="44"/>
                  <a:pt x="1357" y="142"/>
                </a:cubicBezTo>
                <a:cubicBezTo>
                  <a:pt x="1361" y="144"/>
                  <a:pt x="1366" y="151"/>
                  <a:pt x="1365" y="155"/>
                </a:cubicBezTo>
                <a:cubicBezTo>
                  <a:pt x="1354" y="210"/>
                  <a:pt x="1342" y="264"/>
                  <a:pt x="1330" y="319"/>
                </a:cubicBezTo>
                <a:cubicBezTo>
                  <a:pt x="965" y="37"/>
                  <a:pt x="580" y="270"/>
                  <a:pt x="466" y="505"/>
                </a:cubicBezTo>
                <a:cubicBezTo>
                  <a:pt x="736" y="505"/>
                  <a:pt x="1006" y="505"/>
                  <a:pt x="1280" y="505"/>
                </a:cubicBezTo>
                <a:cubicBezTo>
                  <a:pt x="1271" y="562"/>
                  <a:pt x="1262" y="616"/>
                  <a:pt x="1254" y="673"/>
                </a:cubicBezTo>
                <a:cubicBezTo>
                  <a:pt x="974" y="673"/>
                  <a:pt x="695" y="673"/>
                  <a:pt x="413" y="673"/>
                </a:cubicBezTo>
                <a:cubicBezTo>
                  <a:pt x="413" y="729"/>
                  <a:pt x="413" y="784"/>
                  <a:pt x="413" y="841"/>
                </a:cubicBezTo>
                <a:cubicBezTo>
                  <a:pt x="682" y="841"/>
                  <a:pt x="948" y="841"/>
                  <a:pt x="1215" y="841"/>
                </a:cubicBezTo>
                <a:cubicBezTo>
                  <a:pt x="1204" y="898"/>
                  <a:pt x="1193" y="953"/>
                  <a:pt x="1181" y="1009"/>
                </a:cubicBezTo>
                <a:cubicBezTo>
                  <a:pt x="945" y="1009"/>
                  <a:pt x="710" y="1009"/>
                  <a:pt x="475" y="1009"/>
                </a:cubicBezTo>
                <a:cubicBezTo>
                  <a:pt x="583" y="1282"/>
                  <a:pt x="998" y="1453"/>
                  <a:pt x="1324" y="1192"/>
                </a:cubicBezTo>
                <a:cubicBezTo>
                  <a:pt x="1325" y="1198"/>
                  <a:pt x="1326" y="1202"/>
                  <a:pt x="1326" y="1207"/>
                </a:cubicBezTo>
                <a:cubicBezTo>
                  <a:pt x="1326" y="1263"/>
                  <a:pt x="1325" y="1318"/>
                  <a:pt x="1326" y="1373"/>
                </a:cubicBezTo>
                <a:cubicBezTo>
                  <a:pt x="1327" y="1387"/>
                  <a:pt x="1321" y="1393"/>
                  <a:pt x="1310" y="1399"/>
                </a:cubicBezTo>
                <a:cubicBezTo>
                  <a:pt x="898" y="1612"/>
                  <a:pt x="462" y="1404"/>
                  <a:pt x="299" y="1028"/>
                </a:cubicBezTo>
                <a:cubicBezTo>
                  <a:pt x="293" y="1013"/>
                  <a:pt x="286" y="1008"/>
                  <a:pt x="270" y="1009"/>
                </a:cubicBezTo>
                <a:cubicBezTo>
                  <a:pt x="190" y="1009"/>
                  <a:pt x="109" y="1009"/>
                  <a:pt x="28" y="1009"/>
                </a:cubicBezTo>
                <a:cubicBezTo>
                  <a:pt x="21" y="1009"/>
                  <a:pt x="14" y="1009"/>
                  <a:pt x="5" y="1009"/>
                </a:cubicBezTo>
                <a:cubicBezTo>
                  <a:pt x="16" y="952"/>
                  <a:pt x="27" y="898"/>
                  <a:pt x="39" y="841"/>
                </a:cubicBezTo>
                <a:cubicBezTo>
                  <a:pt x="109" y="841"/>
                  <a:pt x="179" y="841"/>
                  <a:pt x="247" y="841"/>
                </a:cubicBezTo>
                <a:cubicBezTo>
                  <a:pt x="247" y="785"/>
                  <a:pt x="247" y="730"/>
                  <a:pt x="247" y="673"/>
                </a:cubicBezTo>
                <a:cubicBezTo>
                  <a:pt x="166" y="673"/>
                  <a:pt x="84" y="673"/>
                  <a:pt x="0" y="673"/>
                </a:cubicBezTo>
                <a:close/>
              </a:path>
            </a:pathLst>
          </a:custGeom>
          <a:solidFill>
            <a:srgbClr val="F1592A"/>
          </a:solidFill>
          <a:ln>
            <a:noFill/>
          </a:ln>
        </p:spPr>
        <p:txBody>
          <a:bodyPr vert="horz" wrap="square" lIns="91430" tIns="45715" rIns="91430" bIns="45715" numCol="1" anchor="t" anchorCtr="0" compatLnSpc="1">
            <a:prstTxWarp prst="textNoShape">
              <a:avLst/>
            </a:prstTxWarp>
          </a:bodyPr>
          <a:lstStyle/>
          <a:p>
            <a:endParaRPr lang="en-US"/>
          </a:p>
        </p:txBody>
      </p:sp>
      <p:sp>
        <p:nvSpPr>
          <p:cNvPr id="243" name="Rechthoek 18"/>
          <p:cNvSpPr/>
          <p:nvPr/>
        </p:nvSpPr>
        <p:spPr>
          <a:xfrm>
            <a:off x="2067152" y="1019263"/>
            <a:ext cx="428084" cy="1429973"/>
          </a:xfrm>
          <a:prstGeom prst="rect">
            <a:avLst/>
          </a:prstGeom>
          <a:solidFill>
            <a:srgbClr val="F1592A"/>
          </a:solidFill>
          <a:ln w="25400">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a:p>
        </p:txBody>
      </p:sp>
      <p:sp>
        <p:nvSpPr>
          <p:cNvPr id="244" name="Rechthoek 18"/>
          <p:cNvSpPr/>
          <p:nvPr/>
        </p:nvSpPr>
        <p:spPr>
          <a:xfrm>
            <a:off x="1523800" y="1019263"/>
            <a:ext cx="1903142" cy="1429973"/>
          </a:xfrm>
          <a:prstGeom prst="rect">
            <a:avLst/>
          </a:prstGeom>
          <a:noFill/>
          <a:ln w="25400">
            <a:solidFill>
              <a:srgbClr val="F1592A"/>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a:p>
        </p:txBody>
      </p:sp>
      <p:sp>
        <p:nvSpPr>
          <p:cNvPr id="246" name="TextBox 99"/>
          <p:cNvSpPr txBox="1"/>
          <p:nvPr/>
        </p:nvSpPr>
        <p:spPr>
          <a:xfrm>
            <a:off x="2484601" y="1072427"/>
            <a:ext cx="875294" cy="400099"/>
          </a:xfrm>
          <a:prstGeom prst="rect">
            <a:avLst/>
          </a:prstGeom>
          <a:noFill/>
        </p:spPr>
        <p:txBody>
          <a:bodyPr wrap="square" lIns="91430" tIns="45715" rIns="91430" bIns="45715" rtlCol="0">
            <a:spAutoFit/>
          </a:bodyPr>
          <a:lstStyle>
            <a:defPPr>
              <a:defRPr lang="nl-NL"/>
            </a:defPPr>
            <a:lvl1pPr>
              <a:lnSpc>
                <a:spcPts val="1200"/>
              </a:lnSpc>
              <a:defRPr sz="1200">
                <a:latin typeface="Calibri" pitchFamily="34" charset="0"/>
              </a:defRPr>
            </a:lvl1pPr>
          </a:lstStyle>
          <a:p>
            <a:r>
              <a:rPr lang="nl-NL" dirty="0"/>
              <a:t>Cooling </a:t>
            </a:r>
          </a:p>
          <a:p>
            <a:r>
              <a:rPr lang="nl-NL" dirty="0"/>
              <a:t>S</a:t>
            </a:r>
            <a:r>
              <a:rPr lang="nl-NL" dirty="0" smtClean="0"/>
              <a:t>ystems</a:t>
            </a:r>
            <a:endParaRPr lang="en-US" dirty="0"/>
          </a:p>
        </p:txBody>
      </p:sp>
      <p:sp>
        <p:nvSpPr>
          <p:cNvPr id="247" name="TextBox 79"/>
          <p:cNvSpPr txBox="1"/>
          <p:nvPr/>
        </p:nvSpPr>
        <p:spPr>
          <a:xfrm>
            <a:off x="2484602" y="1982112"/>
            <a:ext cx="893437" cy="400099"/>
          </a:xfrm>
          <a:prstGeom prst="rect">
            <a:avLst/>
          </a:prstGeom>
          <a:noFill/>
        </p:spPr>
        <p:txBody>
          <a:bodyPr wrap="square" lIns="91430" tIns="45715" rIns="91430" bIns="45715" rtlCol="0">
            <a:spAutoFit/>
          </a:bodyPr>
          <a:lstStyle>
            <a:defPPr>
              <a:defRPr lang="nl-NL"/>
            </a:defPPr>
            <a:lvl1pPr>
              <a:lnSpc>
                <a:spcPts val="1200"/>
              </a:lnSpc>
              <a:defRPr sz="1200">
                <a:latin typeface="Calibri" pitchFamily="34" charset="0"/>
              </a:defRPr>
            </a:lvl1pPr>
          </a:lstStyle>
          <a:p>
            <a:r>
              <a:rPr lang="nl-NL" dirty="0"/>
              <a:t>Production </a:t>
            </a:r>
            <a:r>
              <a:rPr lang="nl-NL" dirty="0" smtClean="0"/>
              <a:t>Process</a:t>
            </a:r>
            <a:endParaRPr lang="nl-NL" dirty="0"/>
          </a:p>
        </p:txBody>
      </p:sp>
      <p:sp>
        <p:nvSpPr>
          <p:cNvPr id="248" name="TextBox 100"/>
          <p:cNvSpPr txBox="1"/>
          <p:nvPr/>
        </p:nvSpPr>
        <p:spPr>
          <a:xfrm>
            <a:off x="2484602" y="1511320"/>
            <a:ext cx="969339" cy="400099"/>
          </a:xfrm>
          <a:prstGeom prst="rect">
            <a:avLst/>
          </a:prstGeom>
          <a:noFill/>
        </p:spPr>
        <p:txBody>
          <a:bodyPr wrap="square" lIns="91430" tIns="45715" rIns="91430" bIns="45715" rtlCol="0">
            <a:spAutoFit/>
          </a:bodyPr>
          <a:lstStyle/>
          <a:p>
            <a:pPr>
              <a:lnSpc>
                <a:spcPts val="1200"/>
              </a:lnSpc>
            </a:pPr>
            <a:r>
              <a:rPr lang="nl-NL" sz="1200" dirty="0">
                <a:latin typeface="Calibri" pitchFamily="34" charset="0"/>
              </a:rPr>
              <a:t>Emergency Generators</a:t>
            </a:r>
          </a:p>
        </p:txBody>
      </p:sp>
      <p:grpSp>
        <p:nvGrpSpPr>
          <p:cNvPr id="249" name="Group 20"/>
          <p:cNvGrpSpPr>
            <a:grpSpLocks noChangeAspect="1"/>
          </p:cNvGrpSpPr>
          <p:nvPr/>
        </p:nvGrpSpPr>
        <p:grpSpPr bwMode="auto">
          <a:xfrm>
            <a:off x="2131204" y="1604900"/>
            <a:ext cx="344982" cy="226143"/>
            <a:chOff x="1014" y="789"/>
            <a:chExt cx="3739" cy="2451"/>
          </a:xfrm>
          <a:solidFill>
            <a:schemeClr val="bg1"/>
          </a:solidFill>
        </p:grpSpPr>
        <p:sp>
          <p:nvSpPr>
            <p:cNvPr id="265" name="Freeform 21"/>
            <p:cNvSpPr>
              <a:spLocks noEditPoints="1"/>
            </p:cNvSpPr>
            <p:nvPr/>
          </p:nvSpPr>
          <p:spPr bwMode="auto">
            <a:xfrm>
              <a:off x="1014" y="789"/>
              <a:ext cx="2713" cy="2451"/>
            </a:xfrm>
            <a:custGeom>
              <a:avLst/>
              <a:gdLst>
                <a:gd name="T0" fmla="*/ 1541 w 1638"/>
                <a:gd name="T1" fmla="*/ 1264 h 1480"/>
                <a:gd name="T2" fmla="*/ 1534 w 1638"/>
                <a:gd name="T3" fmla="*/ 1477 h 1480"/>
                <a:gd name="T4" fmla="*/ 1331 w 1638"/>
                <a:gd name="T5" fmla="*/ 1479 h 1480"/>
                <a:gd name="T6" fmla="*/ 1226 w 1638"/>
                <a:gd name="T7" fmla="*/ 1379 h 1480"/>
                <a:gd name="T8" fmla="*/ 663 w 1638"/>
                <a:gd name="T9" fmla="*/ 1335 h 1480"/>
                <a:gd name="T10" fmla="*/ 628 w 1638"/>
                <a:gd name="T11" fmla="*/ 1420 h 1480"/>
                <a:gd name="T12" fmla="*/ 350 w 1638"/>
                <a:gd name="T13" fmla="*/ 1479 h 1480"/>
                <a:gd name="T14" fmla="*/ 260 w 1638"/>
                <a:gd name="T15" fmla="*/ 1341 h 1480"/>
                <a:gd name="T16" fmla="*/ 41 w 1638"/>
                <a:gd name="T17" fmla="*/ 1142 h 1480"/>
                <a:gd name="T18" fmla="*/ 271 w 1638"/>
                <a:gd name="T19" fmla="*/ 1117 h 1480"/>
                <a:gd name="T20" fmla="*/ 334 w 1638"/>
                <a:gd name="T21" fmla="*/ 1070 h 1480"/>
                <a:gd name="T22" fmla="*/ 258 w 1638"/>
                <a:gd name="T23" fmla="*/ 1023 h 1480"/>
                <a:gd name="T24" fmla="*/ 2 w 1638"/>
                <a:gd name="T25" fmla="*/ 1000 h 1480"/>
                <a:gd name="T26" fmla="*/ 24 w 1638"/>
                <a:gd name="T27" fmla="*/ 924 h 1480"/>
                <a:gd name="T28" fmla="*/ 311 w 1638"/>
                <a:gd name="T29" fmla="*/ 920 h 1480"/>
                <a:gd name="T30" fmla="*/ 310 w 1638"/>
                <a:gd name="T31" fmla="*/ 860 h 1480"/>
                <a:gd name="T32" fmla="*/ 27 w 1638"/>
                <a:gd name="T33" fmla="*/ 856 h 1480"/>
                <a:gd name="T34" fmla="*/ 1 w 1638"/>
                <a:gd name="T35" fmla="*/ 778 h 1480"/>
                <a:gd name="T36" fmla="*/ 271 w 1638"/>
                <a:gd name="T37" fmla="*/ 757 h 1480"/>
                <a:gd name="T38" fmla="*/ 272 w 1638"/>
                <a:gd name="T39" fmla="*/ 663 h 1480"/>
                <a:gd name="T40" fmla="*/ 1 w 1638"/>
                <a:gd name="T41" fmla="*/ 639 h 1480"/>
                <a:gd name="T42" fmla="*/ 22 w 1638"/>
                <a:gd name="T43" fmla="*/ 540 h 1480"/>
                <a:gd name="T44" fmla="*/ 282 w 1638"/>
                <a:gd name="T45" fmla="*/ 541 h 1480"/>
                <a:gd name="T46" fmla="*/ 283 w 1638"/>
                <a:gd name="T47" fmla="*/ 448 h 1480"/>
                <a:gd name="T48" fmla="*/ 23 w 1638"/>
                <a:gd name="T49" fmla="*/ 448 h 1480"/>
                <a:gd name="T50" fmla="*/ 1 w 1638"/>
                <a:gd name="T51" fmla="*/ 370 h 1480"/>
                <a:gd name="T52" fmla="*/ 277 w 1638"/>
                <a:gd name="T53" fmla="*/ 349 h 1480"/>
                <a:gd name="T54" fmla="*/ 334 w 1638"/>
                <a:gd name="T55" fmla="*/ 315 h 1480"/>
                <a:gd name="T56" fmla="*/ 277 w 1638"/>
                <a:gd name="T57" fmla="*/ 279 h 1480"/>
                <a:gd name="T58" fmla="*/ 15 w 1638"/>
                <a:gd name="T59" fmla="*/ 257 h 1480"/>
                <a:gd name="T60" fmla="*/ 473 w 1638"/>
                <a:gd name="T61" fmla="*/ 17 h 1480"/>
                <a:gd name="T62" fmla="*/ 585 w 1638"/>
                <a:gd name="T63" fmla="*/ 61 h 1480"/>
                <a:gd name="T64" fmla="*/ 1630 w 1638"/>
                <a:gd name="T65" fmla="*/ 344 h 1480"/>
                <a:gd name="T66" fmla="*/ 1635 w 1638"/>
                <a:gd name="T67" fmla="*/ 987 h 1480"/>
                <a:gd name="T68" fmla="*/ 1492 w 1638"/>
                <a:gd name="T69" fmla="*/ 1260 h 1480"/>
                <a:gd name="T70" fmla="*/ 994 w 1638"/>
                <a:gd name="T71" fmla="*/ 1223 h 1480"/>
                <a:gd name="T72" fmla="*/ 992 w 1638"/>
                <a:gd name="T73" fmla="*/ 192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38" h="1480">
                  <a:moveTo>
                    <a:pt x="1492" y="1260"/>
                  </a:moveTo>
                  <a:cubicBezTo>
                    <a:pt x="1510" y="1262"/>
                    <a:pt x="1526" y="1260"/>
                    <a:pt x="1541" y="1264"/>
                  </a:cubicBezTo>
                  <a:cubicBezTo>
                    <a:pt x="1584" y="1274"/>
                    <a:pt x="1608" y="1297"/>
                    <a:pt x="1613" y="1341"/>
                  </a:cubicBezTo>
                  <a:cubicBezTo>
                    <a:pt x="1621" y="1405"/>
                    <a:pt x="1600" y="1459"/>
                    <a:pt x="1534" y="1477"/>
                  </a:cubicBezTo>
                  <a:cubicBezTo>
                    <a:pt x="1525" y="1479"/>
                    <a:pt x="1515" y="1479"/>
                    <a:pt x="1505" y="1479"/>
                  </a:cubicBezTo>
                  <a:cubicBezTo>
                    <a:pt x="1447" y="1480"/>
                    <a:pt x="1389" y="1479"/>
                    <a:pt x="1331" y="1479"/>
                  </a:cubicBezTo>
                  <a:cubicBezTo>
                    <a:pt x="1264" y="1479"/>
                    <a:pt x="1240" y="1459"/>
                    <a:pt x="1228" y="1393"/>
                  </a:cubicBezTo>
                  <a:cubicBezTo>
                    <a:pt x="1227" y="1389"/>
                    <a:pt x="1227" y="1384"/>
                    <a:pt x="1226" y="1379"/>
                  </a:cubicBezTo>
                  <a:cubicBezTo>
                    <a:pt x="1223" y="1335"/>
                    <a:pt x="1223" y="1335"/>
                    <a:pt x="1179" y="1335"/>
                  </a:cubicBezTo>
                  <a:cubicBezTo>
                    <a:pt x="1007" y="1335"/>
                    <a:pt x="835" y="1336"/>
                    <a:pt x="663" y="1335"/>
                  </a:cubicBezTo>
                  <a:cubicBezTo>
                    <a:pt x="645" y="1335"/>
                    <a:pt x="635" y="1336"/>
                    <a:pt x="638" y="1359"/>
                  </a:cubicBezTo>
                  <a:cubicBezTo>
                    <a:pt x="641" y="1379"/>
                    <a:pt x="635" y="1400"/>
                    <a:pt x="628" y="1420"/>
                  </a:cubicBezTo>
                  <a:cubicBezTo>
                    <a:pt x="612" y="1458"/>
                    <a:pt x="583" y="1479"/>
                    <a:pt x="542" y="1479"/>
                  </a:cubicBezTo>
                  <a:cubicBezTo>
                    <a:pt x="478" y="1480"/>
                    <a:pt x="414" y="1480"/>
                    <a:pt x="350" y="1479"/>
                  </a:cubicBezTo>
                  <a:cubicBezTo>
                    <a:pt x="307" y="1479"/>
                    <a:pt x="283" y="1460"/>
                    <a:pt x="271" y="1420"/>
                  </a:cubicBezTo>
                  <a:cubicBezTo>
                    <a:pt x="263" y="1394"/>
                    <a:pt x="261" y="1367"/>
                    <a:pt x="260" y="1341"/>
                  </a:cubicBezTo>
                  <a:cubicBezTo>
                    <a:pt x="260" y="1324"/>
                    <a:pt x="252" y="1317"/>
                    <a:pt x="237" y="1311"/>
                  </a:cubicBezTo>
                  <a:cubicBezTo>
                    <a:pt x="149" y="1282"/>
                    <a:pt x="84" y="1224"/>
                    <a:pt x="41" y="1142"/>
                  </a:cubicBezTo>
                  <a:cubicBezTo>
                    <a:pt x="28" y="1118"/>
                    <a:pt x="29" y="1117"/>
                    <a:pt x="55" y="1117"/>
                  </a:cubicBezTo>
                  <a:cubicBezTo>
                    <a:pt x="127" y="1117"/>
                    <a:pt x="199" y="1117"/>
                    <a:pt x="271" y="1117"/>
                  </a:cubicBezTo>
                  <a:cubicBezTo>
                    <a:pt x="278" y="1117"/>
                    <a:pt x="285" y="1117"/>
                    <a:pt x="291" y="1116"/>
                  </a:cubicBezTo>
                  <a:cubicBezTo>
                    <a:pt x="315" y="1113"/>
                    <a:pt x="334" y="1093"/>
                    <a:pt x="334" y="1070"/>
                  </a:cubicBezTo>
                  <a:cubicBezTo>
                    <a:pt x="334" y="1047"/>
                    <a:pt x="315" y="1027"/>
                    <a:pt x="290" y="1024"/>
                  </a:cubicBezTo>
                  <a:cubicBezTo>
                    <a:pt x="280" y="1023"/>
                    <a:pt x="269" y="1023"/>
                    <a:pt x="258" y="1023"/>
                  </a:cubicBezTo>
                  <a:cubicBezTo>
                    <a:pt x="181" y="1023"/>
                    <a:pt x="103" y="1023"/>
                    <a:pt x="26" y="1024"/>
                  </a:cubicBezTo>
                  <a:cubicBezTo>
                    <a:pt x="8" y="1024"/>
                    <a:pt x="1" y="1018"/>
                    <a:pt x="2" y="1000"/>
                  </a:cubicBezTo>
                  <a:cubicBezTo>
                    <a:pt x="3" y="982"/>
                    <a:pt x="3" y="964"/>
                    <a:pt x="1" y="946"/>
                  </a:cubicBezTo>
                  <a:cubicBezTo>
                    <a:pt x="0" y="929"/>
                    <a:pt x="8" y="924"/>
                    <a:pt x="24" y="924"/>
                  </a:cubicBezTo>
                  <a:cubicBezTo>
                    <a:pt x="108" y="925"/>
                    <a:pt x="193" y="925"/>
                    <a:pt x="278" y="925"/>
                  </a:cubicBezTo>
                  <a:cubicBezTo>
                    <a:pt x="289" y="925"/>
                    <a:pt x="300" y="924"/>
                    <a:pt x="311" y="920"/>
                  </a:cubicBezTo>
                  <a:cubicBezTo>
                    <a:pt x="325" y="915"/>
                    <a:pt x="334" y="906"/>
                    <a:pt x="334" y="891"/>
                  </a:cubicBezTo>
                  <a:cubicBezTo>
                    <a:pt x="334" y="874"/>
                    <a:pt x="325" y="865"/>
                    <a:pt x="310" y="860"/>
                  </a:cubicBezTo>
                  <a:cubicBezTo>
                    <a:pt x="300" y="856"/>
                    <a:pt x="288" y="855"/>
                    <a:pt x="277" y="855"/>
                  </a:cubicBezTo>
                  <a:cubicBezTo>
                    <a:pt x="194" y="855"/>
                    <a:pt x="110" y="855"/>
                    <a:pt x="27" y="856"/>
                  </a:cubicBezTo>
                  <a:cubicBezTo>
                    <a:pt x="7" y="856"/>
                    <a:pt x="0" y="850"/>
                    <a:pt x="1" y="830"/>
                  </a:cubicBezTo>
                  <a:cubicBezTo>
                    <a:pt x="3" y="813"/>
                    <a:pt x="2" y="795"/>
                    <a:pt x="1" y="778"/>
                  </a:cubicBezTo>
                  <a:cubicBezTo>
                    <a:pt x="0" y="761"/>
                    <a:pt x="7" y="756"/>
                    <a:pt x="23" y="756"/>
                  </a:cubicBezTo>
                  <a:cubicBezTo>
                    <a:pt x="106" y="757"/>
                    <a:pt x="189" y="757"/>
                    <a:pt x="271" y="757"/>
                  </a:cubicBezTo>
                  <a:cubicBezTo>
                    <a:pt x="311" y="757"/>
                    <a:pt x="334" y="740"/>
                    <a:pt x="334" y="710"/>
                  </a:cubicBezTo>
                  <a:cubicBezTo>
                    <a:pt x="334" y="681"/>
                    <a:pt x="311" y="663"/>
                    <a:pt x="272" y="663"/>
                  </a:cubicBezTo>
                  <a:cubicBezTo>
                    <a:pt x="190" y="663"/>
                    <a:pt x="108" y="663"/>
                    <a:pt x="26" y="664"/>
                  </a:cubicBezTo>
                  <a:cubicBezTo>
                    <a:pt x="7" y="664"/>
                    <a:pt x="0" y="658"/>
                    <a:pt x="1" y="639"/>
                  </a:cubicBezTo>
                  <a:cubicBezTo>
                    <a:pt x="3" y="613"/>
                    <a:pt x="2" y="587"/>
                    <a:pt x="1" y="561"/>
                  </a:cubicBezTo>
                  <a:cubicBezTo>
                    <a:pt x="1" y="545"/>
                    <a:pt x="7" y="540"/>
                    <a:pt x="22" y="540"/>
                  </a:cubicBezTo>
                  <a:cubicBezTo>
                    <a:pt x="102" y="541"/>
                    <a:pt x="182" y="541"/>
                    <a:pt x="262" y="541"/>
                  </a:cubicBezTo>
                  <a:cubicBezTo>
                    <a:pt x="269" y="541"/>
                    <a:pt x="276" y="541"/>
                    <a:pt x="282" y="541"/>
                  </a:cubicBezTo>
                  <a:cubicBezTo>
                    <a:pt x="313" y="540"/>
                    <a:pt x="334" y="520"/>
                    <a:pt x="334" y="493"/>
                  </a:cubicBezTo>
                  <a:cubicBezTo>
                    <a:pt x="333" y="468"/>
                    <a:pt x="312" y="448"/>
                    <a:pt x="283" y="448"/>
                  </a:cubicBezTo>
                  <a:cubicBezTo>
                    <a:pt x="260" y="447"/>
                    <a:pt x="238" y="447"/>
                    <a:pt x="215" y="447"/>
                  </a:cubicBezTo>
                  <a:cubicBezTo>
                    <a:pt x="151" y="447"/>
                    <a:pt x="87" y="447"/>
                    <a:pt x="23" y="448"/>
                  </a:cubicBezTo>
                  <a:cubicBezTo>
                    <a:pt x="6" y="448"/>
                    <a:pt x="0" y="442"/>
                    <a:pt x="1" y="426"/>
                  </a:cubicBezTo>
                  <a:cubicBezTo>
                    <a:pt x="2" y="407"/>
                    <a:pt x="2" y="388"/>
                    <a:pt x="1" y="370"/>
                  </a:cubicBezTo>
                  <a:cubicBezTo>
                    <a:pt x="0" y="353"/>
                    <a:pt x="7" y="348"/>
                    <a:pt x="23" y="348"/>
                  </a:cubicBezTo>
                  <a:cubicBezTo>
                    <a:pt x="108" y="349"/>
                    <a:pt x="193" y="349"/>
                    <a:pt x="277" y="349"/>
                  </a:cubicBezTo>
                  <a:cubicBezTo>
                    <a:pt x="288" y="349"/>
                    <a:pt x="299" y="348"/>
                    <a:pt x="309" y="345"/>
                  </a:cubicBezTo>
                  <a:cubicBezTo>
                    <a:pt x="324" y="341"/>
                    <a:pt x="333" y="331"/>
                    <a:pt x="334" y="315"/>
                  </a:cubicBezTo>
                  <a:cubicBezTo>
                    <a:pt x="334" y="298"/>
                    <a:pt x="325" y="288"/>
                    <a:pt x="309" y="283"/>
                  </a:cubicBezTo>
                  <a:cubicBezTo>
                    <a:pt x="299" y="280"/>
                    <a:pt x="288" y="279"/>
                    <a:pt x="277" y="279"/>
                  </a:cubicBezTo>
                  <a:cubicBezTo>
                    <a:pt x="196" y="279"/>
                    <a:pt x="115" y="279"/>
                    <a:pt x="33" y="279"/>
                  </a:cubicBezTo>
                  <a:cubicBezTo>
                    <a:pt x="11" y="279"/>
                    <a:pt x="10" y="278"/>
                    <a:pt x="15" y="257"/>
                  </a:cubicBezTo>
                  <a:cubicBezTo>
                    <a:pt x="51" y="109"/>
                    <a:pt x="186" y="2"/>
                    <a:pt x="339" y="1"/>
                  </a:cubicBezTo>
                  <a:cubicBezTo>
                    <a:pt x="384" y="0"/>
                    <a:pt x="429" y="2"/>
                    <a:pt x="473" y="17"/>
                  </a:cubicBezTo>
                  <a:cubicBezTo>
                    <a:pt x="491" y="23"/>
                    <a:pt x="510" y="30"/>
                    <a:pt x="525" y="43"/>
                  </a:cubicBezTo>
                  <a:cubicBezTo>
                    <a:pt x="543" y="58"/>
                    <a:pt x="563" y="61"/>
                    <a:pt x="585" y="61"/>
                  </a:cubicBezTo>
                  <a:cubicBezTo>
                    <a:pt x="817" y="60"/>
                    <a:pt x="1049" y="60"/>
                    <a:pt x="1281" y="61"/>
                  </a:cubicBezTo>
                  <a:cubicBezTo>
                    <a:pt x="1455" y="61"/>
                    <a:pt x="1594" y="174"/>
                    <a:pt x="1630" y="344"/>
                  </a:cubicBezTo>
                  <a:cubicBezTo>
                    <a:pt x="1634" y="362"/>
                    <a:pt x="1636" y="379"/>
                    <a:pt x="1636" y="397"/>
                  </a:cubicBezTo>
                  <a:cubicBezTo>
                    <a:pt x="1636" y="594"/>
                    <a:pt x="1638" y="791"/>
                    <a:pt x="1635" y="987"/>
                  </a:cubicBezTo>
                  <a:cubicBezTo>
                    <a:pt x="1634" y="1080"/>
                    <a:pt x="1601" y="1163"/>
                    <a:pt x="1532" y="1229"/>
                  </a:cubicBezTo>
                  <a:cubicBezTo>
                    <a:pt x="1520" y="1239"/>
                    <a:pt x="1507" y="1248"/>
                    <a:pt x="1492" y="1260"/>
                  </a:cubicBezTo>
                  <a:close/>
                  <a:moveTo>
                    <a:pt x="479" y="708"/>
                  </a:moveTo>
                  <a:cubicBezTo>
                    <a:pt x="475" y="973"/>
                    <a:pt x="689" y="1223"/>
                    <a:pt x="994" y="1223"/>
                  </a:cubicBezTo>
                  <a:cubicBezTo>
                    <a:pt x="1296" y="1224"/>
                    <a:pt x="1511" y="977"/>
                    <a:pt x="1510" y="707"/>
                  </a:cubicBezTo>
                  <a:cubicBezTo>
                    <a:pt x="1509" y="422"/>
                    <a:pt x="1278" y="190"/>
                    <a:pt x="992" y="192"/>
                  </a:cubicBezTo>
                  <a:cubicBezTo>
                    <a:pt x="694" y="193"/>
                    <a:pt x="474" y="440"/>
                    <a:pt x="479" y="7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22"/>
            <p:cNvSpPr>
              <a:spLocks/>
            </p:cNvSpPr>
            <p:nvPr/>
          </p:nvSpPr>
          <p:spPr bwMode="auto">
            <a:xfrm>
              <a:off x="3992" y="1509"/>
              <a:ext cx="761" cy="1304"/>
            </a:xfrm>
            <a:custGeom>
              <a:avLst/>
              <a:gdLst>
                <a:gd name="T0" fmla="*/ 13 w 459"/>
                <a:gd name="T1" fmla="*/ 784 h 787"/>
                <a:gd name="T2" fmla="*/ 50 w 459"/>
                <a:gd name="T3" fmla="*/ 705 h 787"/>
                <a:gd name="T4" fmla="*/ 177 w 459"/>
                <a:gd name="T5" fmla="*/ 433 h 787"/>
                <a:gd name="T6" fmla="*/ 155 w 459"/>
                <a:gd name="T7" fmla="*/ 400 h 787"/>
                <a:gd name="T8" fmla="*/ 43 w 459"/>
                <a:gd name="T9" fmla="*/ 400 h 787"/>
                <a:gd name="T10" fmla="*/ 14 w 459"/>
                <a:gd name="T11" fmla="*/ 355 h 787"/>
                <a:gd name="T12" fmla="*/ 154 w 459"/>
                <a:gd name="T13" fmla="*/ 55 h 787"/>
                <a:gd name="T14" fmla="*/ 178 w 459"/>
                <a:gd name="T15" fmla="*/ 34 h 787"/>
                <a:gd name="T16" fmla="*/ 319 w 459"/>
                <a:gd name="T17" fmla="*/ 6 h 787"/>
                <a:gd name="T18" fmla="*/ 336 w 459"/>
                <a:gd name="T19" fmla="*/ 5 h 787"/>
                <a:gd name="T20" fmla="*/ 332 w 459"/>
                <a:gd name="T21" fmla="*/ 22 h 787"/>
                <a:gd name="T22" fmla="*/ 245 w 459"/>
                <a:gd name="T23" fmla="*/ 200 h 787"/>
                <a:gd name="T24" fmla="*/ 238 w 459"/>
                <a:gd name="T25" fmla="*/ 214 h 787"/>
                <a:gd name="T26" fmla="*/ 257 w 459"/>
                <a:gd name="T27" fmla="*/ 243 h 787"/>
                <a:gd name="T28" fmla="*/ 404 w 459"/>
                <a:gd name="T29" fmla="*/ 243 h 787"/>
                <a:gd name="T30" fmla="*/ 424 w 459"/>
                <a:gd name="T31" fmla="*/ 243 h 787"/>
                <a:gd name="T32" fmla="*/ 454 w 459"/>
                <a:gd name="T33" fmla="*/ 256 h 787"/>
                <a:gd name="T34" fmla="*/ 443 w 459"/>
                <a:gd name="T35" fmla="*/ 284 h 787"/>
                <a:gd name="T36" fmla="*/ 322 w 459"/>
                <a:gd name="T37" fmla="*/ 428 h 787"/>
                <a:gd name="T38" fmla="*/ 32 w 459"/>
                <a:gd name="T39" fmla="*/ 771 h 787"/>
                <a:gd name="T40" fmla="*/ 17 w 459"/>
                <a:gd name="T41" fmla="*/ 787 h 787"/>
                <a:gd name="T42" fmla="*/ 13 w 459"/>
                <a:gd name="T43" fmla="*/ 784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9" h="787">
                  <a:moveTo>
                    <a:pt x="13" y="784"/>
                  </a:moveTo>
                  <a:cubicBezTo>
                    <a:pt x="25" y="758"/>
                    <a:pt x="38" y="731"/>
                    <a:pt x="50" y="705"/>
                  </a:cubicBezTo>
                  <a:cubicBezTo>
                    <a:pt x="92" y="614"/>
                    <a:pt x="135" y="524"/>
                    <a:pt x="177" y="433"/>
                  </a:cubicBezTo>
                  <a:cubicBezTo>
                    <a:pt x="190" y="405"/>
                    <a:pt x="187" y="400"/>
                    <a:pt x="155" y="400"/>
                  </a:cubicBezTo>
                  <a:cubicBezTo>
                    <a:pt x="118" y="400"/>
                    <a:pt x="80" y="400"/>
                    <a:pt x="43" y="400"/>
                  </a:cubicBezTo>
                  <a:cubicBezTo>
                    <a:pt x="10" y="399"/>
                    <a:pt x="0" y="384"/>
                    <a:pt x="14" y="355"/>
                  </a:cubicBezTo>
                  <a:cubicBezTo>
                    <a:pt x="60" y="255"/>
                    <a:pt x="107" y="155"/>
                    <a:pt x="154" y="55"/>
                  </a:cubicBezTo>
                  <a:cubicBezTo>
                    <a:pt x="159" y="43"/>
                    <a:pt x="166" y="36"/>
                    <a:pt x="178" y="34"/>
                  </a:cubicBezTo>
                  <a:cubicBezTo>
                    <a:pt x="226" y="25"/>
                    <a:pt x="272" y="15"/>
                    <a:pt x="319" y="6"/>
                  </a:cubicBezTo>
                  <a:cubicBezTo>
                    <a:pt x="325" y="5"/>
                    <a:pt x="332" y="0"/>
                    <a:pt x="336" y="5"/>
                  </a:cubicBezTo>
                  <a:cubicBezTo>
                    <a:pt x="340" y="11"/>
                    <a:pt x="335" y="17"/>
                    <a:pt x="332" y="22"/>
                  </a:cubicBezTo>
                  <a:cubicBezTo>
                    <a:pt x="303" y="81"/>
                    <a:pt x="274" y="140"/>
                    <a:pt x="245" y="200"/>
                  </a:cubicBezTo>
                  <a:cubicBezTo>
                    <a:pt x="243" y="204"/>
                    <a:pt x="241" y="209"/>
                    <a:pt x="238" y="214"/>
                  </a:cubicBezTo>
                  <a:cubicBezTo>
                    <a:pt x="230" y="235"/>
                    <a:pt x="234" y="243"/>
                    <a:pt x="257" y="243"/>
                  </a:cubicBezTo>
                  <a:cubicBezTo>
                    <a:pt x="306" y="243"/>
                    <a:pt x="355" y="243"/>
                    <a:pt x="404" y="243"/>
                  </a:cubicBezTo>
                  <a:cubicBezTo>
                    <a:pt x="411" y="243"/>
                    <a:pt x="418" y="242"/>
                    <a:pt x="424" y="243"/>
                  </a:cubicBezTo>
                  <a:cubicBezTo>
                    <a:pt x="435" y="245"/>
                    <a:pt x="449" y="243"/>
                    <a:pt x="454" y="256"/>
                  </a:cubicBezTo>
                  <a:cubicBezTo>
                    <a:pt x="459" y="267"/>
                    <a:pt x="450" y="276"/>
                    <a:pt x="443" y="284"/>
                  </a:cubicBezTo>
                  <a:cubicBezTo>
                    <a:pt x="403" y="332"/>
                    <a:pt x="363" y="380"/>
                    <a:pt x="322" y="428"/>
                  </a:cubicBezTo>
                  <a:cubicBezTo>
                    <a:pt x="225" y="542"/>
                    <a:pt x="129" y="657"/>
                    <a:pt x="32" y="771"/>
                  </a:cubicBezTo>
                  <a:cubicBezTo>
                    <a:pt x="27" y="776"/>
                    <a:pt x="22" y="782"/>
                    <a:pt x="17" y="787"/>
                  </a:cubicBezTo>
                  <a:cubicBezTo>
                    <a:pt x="16" y="786"/>
                    <a:pt x="15" y="785"/>
                    <a:pt x="13" y="7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4"/>
            <p:cNvSpPr>
              <a:spLocks noEditPoints="1"/>
            </p:cNvSpPr>
            <p:nvPr/>
          </p:nvSpPr>
          <p:spPr bwMode="auto">
            <a:xfrm>
              <a:off x="1902" y="1201"/>
              <a:ext cx="1517" cy="1524"/>
            </a:xfrm>
            <a:custGeom>
              <a:avLst/>
              <a:gdLst>
                <a:gd name="T0" fmla="*/ 458 w 916"/>
                <a:gd name="T1" fmla="*/ 4 h 920"/>
                <a:gd name="T2" fmla="*/ 916 w 916"/>
                <a:gd name="T3" fmla="*/ 460 h 920"/>
                <a:gd name="T4" fmla="*/ 457 w 916"/>
                <a:gd name="T5" fmla="*/ 919 h 920"/>
                <a:gd name="T6" fmla="*/ 0 w 916"/>
                <a:gd name="T7" fmla="*/ 461 h 920"/>
                <a:gd name="T8" fmla="*/ 458 w 916"/>
                <a:gd name="T9" fmla="*/ 4 h 920"/>
                <a:gd name="T10" fmla="*/ 827 w 916"/>
                <a:gd name="T11" fmla="*/ 462 h 920"/>
                <a:gd name="T12" fmla="*/ 458 w 916"/>
                <a:gd name="T13" fmla="*/ 91 h 920"/>
                <a:gd name="T14" fmla="*/ 89 w 916"/>
                <a:gd name="T15" fmla="*/ 458 h 920"/>
                <a:gd name="T16" fmla="*/ 458 w 916"/>
                <a:gd name="T17" fmla="*/ 831 h 920"/>
                <a:gd name="T18" fmla="*/ 827 w 916"/>
                <a:gd name="T19" fmla="*/ 46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6" h="920">
                  <a:moveTo>
                    <a:pt x="458" y="4"/>
                  </a:moveTo>
                  <a:cubicBezTo>
                    <a:pt x="712" y="4"/>
                    <a:pt x="916" y="207"/>
                    <a:pt x="916" y="460"/>
                  </a:cubicBezTo>
                  <a:cubicBezTo>
                    <a:pt x="916" y="715"/>
                    <a:pt x="712" y="917"/>
                    <a:pt x="457" y="919"/>
                  </a:cubicBezTo>
                  <a:cubicBezTo>
                    <a:pt x="223" y="920"/>
                    <a:pt x="0" y="732"/>
                    <a:pt x="0" y="461"/>
                  </a:cubicBezTo>
                  <a:cubicBezTo>
                    <a:pt x="0" y="188"/>
                    <a:pt x="225" y="0"/>
                    <a:pt x="458" y="4"/>
                  </a:cubicBezTo>
                  <a:close/>
                  <a:moveTo>
                    <a:pt x="827" y="462"/>
                  </a:moveTo>
                  <a:cubicBezTo>
                    <a:pt x="832" y="278"/>
                    <a:pt x="683" y="91"/>
                    <a:pt x="458" y="91"/>
                  </a:cubicBezTo>
                  <a:cubicBezTo>
                    <a:pt x="245" y="92"/>
                    <a:pt x="90" y="261"/>
                    <a:pt x="89" y="458"/>
                  </a:cubicBezTo>
                  <a:cubicBezTo>
                    <a:pt x="87" y="660"/>
                    <a:pt x="245" y="831"/>
                    <a:pt x="458" y="831"/>
                  </a:cubicBezTo>
                  <a:cubicBezTo>
                    <a:pt x="685" y="830"/>
                    <a:pt x="831" y="642"/>
                    <a:pt x="827" y="4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5"/>
            <p:cNvSpPr>
              <a:spLocks noEditPoints="1"/>
            </p:cNvSpPr>
            <p:nvPr/>
          </p:nvSpPr>
          <p:spPr bwMode="auto">
            <a:xfrm>
              <a:off x="2150" y="1454"/>
              <a:ext cx="1029" cy="1027"/>
            </a:xfrm>
            <a:custGeom>
              <a:avLst/>
              <a:gdLst>
                <a:gd name="T0" fmla="*/ 336 w 621"/>
                <a:gd name="T1" fmla="*/ 568 h 620"/>
                <a:gd name="T2" fmla="*/ 336 w 621"/>
                <a:gd name="T3" fmla="*/ 566 h 620"/>
                <a:gd name="T4" fmla="*/ 338 w 621"/>
                <a:gd name="T5" fmla="*/ 525 h 620"/>
                <a:gd name="T6" fmla="*/ 378 w 621"/>
                <a:gd name="T7" fmla="*/ 519 h 620"/>
                <a:gd name="T8" fmla="*/ 400 w 621"/>
                <a:gd name="T9" fmla="*/ 479 h 620"/>
                <a:gd name="T10" fmla="*/ 386 w 621"/>
                <a:gd name="T11" fmla="*/ 460 h 620"/>
                <a:gd name="T12" fmla="*/ 235 w 621"/>
                <a:gd name="T13" fmla="*/ 461 h 620"/>
                <a:gd name="T14" fmla="*/ 222 w 621"/>
                <a:gd name="T15" fmla="*/ 476 h 620"/>
                <a:gd name="T16" fmla="*/ 246 w 621"/>
                <a:gd name="T17" fmla="*/ 519 h 620"/>
                <a:gd name="T18" fmla="*/ 285 w 621"/>
                <a:gd name="T19" fmla="*/ 562 h 620"/>
                <a:gd name="T20" fmla="*/ 285 w 621"/>
                <a:gd name="T21" fmla="*/ 580 h 620"/>
                <a:gd name="T22" fmla="*/ 246 w 621"/>
                <a:gd name="T23" fmla="*/ 612 h 620"/>
                <a:gd name="T24" fmla="*/ 3 w 621"/>
                <a:gd name="T25" fmla="*/ 343 h 620"/>
                <a:gd name="T26" fmla="*/ 20 w 621"/>
                <a:gd name="T27" fmla="*/ 323 h 620"/>
                <a:gd name="T28" fmla="*/ 82 w 621"/>
                <a:gd name="T29" fmla="*/ 323 h 620"/>
                <a:gd name="T30" fmla="*/ 98 w 621"/>
                <a:gd name="T31" fmla="*/ 339 h 620"/>
                <a:gd name="T32" fmla="*/ 100 w 621"/>
                <a:gd name="T33" fmla="*/ 363 h 620"/>
                <a:gd name="T34" fmla="*/ 150 w 621"/>
                <a:gd name="T35" fmla="*/ 382 h 620"/>
                <a:gd name="T36" fmla="*/ 182 w 621"/>
                <a:gd name="T37" fmla="*/ 317 h 620"/>
                <a:gd name="T38" fmla="*/ 154 w 621"/>
                <a:gd name="T39" fmla="*/ 219 h 620"/>
                <a:gd name="T40" fmla="*/ 114 w 621"/>
                <a:gd name="T41" fmla="*/ 207 h 620"/>
                <a:gd name="T42" fmla="*/ 98 w 621"/>
                <a:gd name="T43" fmla="*/ 241 h 620"/>
                <a:gd name="T44" fmla="*/ 64 w 621"/>
                <a:gd name="T45" fmla="*/ 273 h 620"/>
                <a:gd name="T46" fmla="*/ 24 w 621"/>
                <a:gd name="T47" fmla="*/ 273 h 620"/>
                <a:gd name="T48" fmla="*/ 5 w 621"/>
                <a:gd name="T49" fmla="*/ 248 h 620"/>
                <a:gd name="T50" fmla="*/ 158 w 621"/>
                <a:gd name="T51" fmla="*/ 39 h 620"/>
                <a:gd name="T52" fmla="*/ 263 w 621"/>
                <a:gd name="T53" fmla="*/ 3 h 620"/>
                <a:gd name="T54" fmla="*/ 285 w 621"/>
                <a:gd name="T55" fmla="*/ 22 h 620"/>
                <a:gd name="T56" fmla="*/ 285 w 621"/>
                <a:gd name="T57" fmla="*/ 82 h 620"/>
                <a:gd name="T58" fmla="*/ 267 w 621"/>
                <a:gd name="T59" fmla="*/ 100 h 620"/>
                <a:gd name="T60" fmla="*/ 245 w 621"/>
                <a:gd name="T61" fmla="*/ 100 h 620"/>
                <a:gd name="T62" fmla="*/ 216 w 621"/>
                <a:gd name="T63" fmla="*/ 115 h 620"/>
                <a:gd name="T64" fmla="*/ 223 w 621"/>
                <a:gd name="T65" fmla="*/ 147 h 620"/>
                <a:gd name="T66" fmla="*/ 259 w 621"/>
                <a:gd name="T67" fmla="*/ 174 h 620"/>
                <a:gd name="T68" fmla="*/ 355 w 621"/>
                <a:gd name="T69" fmla="*/ 175 h 620"/>
                <a:gd name="T70" fmla="*/ 390 w 621"/>
                <a:gd name="T71" fmla="*/ 152 h 620"/>
                <a:gd name="T72" fmla="*/ 399 w 621"/>
                <a:gd name="T73" fmla="*/ 113 h 620"/>
                <a:gd name="T74" fmla="*/ 371 w 621"/>
                <a:gd name="T75" fmla="*/ 98 h 620"/>
                <a:gd name="T76" fmla="*/ 338 w 621"/>
                <a:gd name="T77" fmla="*/ 94 h 620"/>
                <a:gd name="T78" fmla="*/ 336 w 621"/>
                <a:gd name="T79" fmla="*/ 57 h 620"/>
                <a:gd name="T80" fmla="*/ 336 w 621"/>
                <a:gd name="T81" fmla="*/ 25 h 620"/>
                <a:gd name="T82" fmla="*/ 361 w 621"/>
                <a:gd name="T83" fmla="*/ 4 h 620"/>
                <a:gd name="T84" fmla="*/ 612 w 621"/>
                <a:gd name="T85" fmla="*/ 249 h 620"/>
                <a:gd name="T86" fmla="*/ 594 w 621"/>
                <a:gd name="T87" fmla="*/ 273 h 620"/>
                <a:gd name="T88" fmla="*/ 538 w 621"/>
                <a:gd name="T89" fmla="*/ 273 h 620"/>
                <a:gd name="T90" fmla="*/ 516 w 621"/>
                <a:gd name="T91" fmla="*/ 252 h 620"/>
                <a:gd name="T92" fmla="*/ 516 w 621"/>
                <a:gd name="T93" fmla="*/ 232 h 620"/>
                <a:gd name="T94" fmla="*/ 471 w 621"/>
                <a:gd name="T95" fmla="*/ 210 h 620"/>
                <a:gd name="T96" fmla="*/ 446 w 621"/>
                <a:gd name="T97" fmla="*/ 238 h 620"/>
                <a:gd name="T98" fmla="*/ 446 w 621"/>
                <a:gd name="T99" fmla="*/ 354 h 620"/>
                <a:gd name="T100" fmla="*/ 468 w 621"/>
                <a:gd name="T101" fmla="*/ 380 h 620"/>
                <a:gd name="T102" fmla="*/ 518 w 621"/>
                <a:gd name="T103" fmla="*/ 361 h 620"/>
                <a:gd name="T104" fmla="*/ 563 w 621"/>
                <a:gd name="T105" fmla="*/ 324 h 620"/>
                <a:gd name="T106" fmla="*/ 577 w 621"/>
                <a:gd name="T107" fmla="*/ 324 h 620"/>
                <a:gd name="T108" fmla="*/ 613 w 621"/>
                <a:gd name="T109" fmla="*/ 368 h 620"/>
                <a:gd name="T110" fmla="*/ 362 w 621"/>
                <a:gd name="T111" fmla="*/ 614 h 620"/>
                <a:gd name="T112" fmla="*/ 336 w 621"/>
                <a:gd name="T113" fmla="*/ 592 h 620"/>
                <a:gd name="T114" fmla="*/ 336 w 621"/>
                <a:gd name="T115" fmla="*/ 568 h 620"/>
                <a:gd name="T116" fmla="*/ 309 w 621"/>
                <a:gd name="T117" fmla="*/ 256 h 620"/>
                <a:gd name="T118" fmla="*/ 267 w 621"/>
                <a:gd name="T119" fmla="*/ 296 h 620"/>
                <a:gd name="T120" fmla="*/ 308 w 621"/>
                <a:gd name="T121" fmla="*/ 336 h 620"/>
                <a:gd name="T122" fmla="*/ 348 w 621"/>
                <a:gd name="T123" fmla="*/ 296 h 620"/>
                <a:gd name="T124" fmla="*/ 309 w 621"/>
                <a:gd name="T125"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1" h="620">
                  <a:moveTo>
                    <a:pt x="336" y="568"/>
                  </a:moveTo>
                  <a:cubicBezTo>
                    <a:pt x="336" y="568"/>
                    <a:pt x="336" y="567"/>
                    <a:pt x="336" y="566"/>
                  </a:cubicBezTo>
                  <a:cubicBezTo>
                    <a:pt x="336" y="552"/>
                    <a:pt x="331" y="536"/>
                    <a:pt x="338" y="525"/>
                  </a:cubicBezTo>
                  <a:cubicBezTo>
                    <a:pt x="347" y="512"/>
                    <a:pt x="364" y="521"/>
                    <a:pt x="378" y="519"/>
                  </a:cubicBezTo>
                  <a:cubicBezTo>
                    <a:pt x="401" y="515"/>
                    <a:pt x="410" y="500"/>
                    <a:pt x="400" y="479"/>
                  </a:cubicBezTo>
                  <a:cubicBezTo>
                    <a:pt x="397" y="471"/>
                    <a:pt x="392" y="465"/>
                    <a:pt x="386" y="460"/>
                  </a:cubicBezTo>
                  <a:cubicBezTo>
                    <a:pt x="349" y="427"/>
                    <a:pt x="271" y="428"/>
                    <a:pt x="235" y="461"/>
                  </a:cubicBezTo>
                  <a:cubicBezTo>
                    <a:pt x="230" y="465"/>
                    <a:pt x="226" y="470"/>
                    <a:pt x="222" y="476"/>
                  </a:cubicBezTo>
                  <a:cubicBezTo>
                    <a:pt x="210" y="499"/>
                    <a:pt x="220" y="517"/>
                    <a:pt x="246" y="519"/>
                  </a:cubicBezTo>
                  <a:cubicBezTo>
                    <a:pt x="285" y="522"/>
                    <a:pt x="285" y="522"/>
                    <a:pt x="285" y="562"/>
                  </a:cubicBezTo>
                  <a:cubicBezTo>
                    <a:pt x="285" y="568"/>
                    <a:pt x="285" y="574"/>
                    <a:pt x="285" y="580"/>
                  </a:cubicBezTo>
                  <a:cubicBezTo>
                    <a:pt x="285" y="620"/>
                    <a:pt x="285" y="620"/>
                    <a:pt x="246" y="612"/>
                  </a:cubicBezTo>
                  <a:cubicBezTo>
                    <a:pt x="115" y="584"/>
                    <a:pt x="16" y="474"/>
                    <a:pt x="3" y="343"/>
                  </a:cubicBezTo>
                  <a:cubicBezTo>
                    <a:pt x="1" y="329"/>
                    <a:pt x="4" y="322"/>
                    <a:pt x="20" y="323"/>
                  </a:cubicBezTo>
                  <a:cubicBezTo>
                    <a:pt x="41" y="323"/>
                    <a:pt x="61" y="323"/>
                    <a:pt x="82" y="323"/>
                  </a:cubicBezTo>
                  <a:cubicBezTo>
                    <a:pt x="94" y="323"/>
                    <a:pt x="99" y="328"/>
                    <a:pt x="98" y="339"/>
                  </a:cubicBezTo>
                  <a:cubicBezTo>
                    <a:pt x="98" y="347"/>
                    <a:pt x="99" y="355"/>
                    <a:pt x="100" y="363"/>
                  </a:cubicBezTo>
                  <a:cubicBezTo>
                    <a:pt x="105" y="393"/>
                    <a:pt x="126" y="401"/>
                    <a:pt x="150" y="382"/>
                  </a:cubicBezTo>
                  <a:cubicBezTo>
                    <a:pt x="171" y="365"/>
                    <a:pt x="179" y="342"/>
                    <a:pt x="182" y="317"/>
                  </a:cubicBezTo>
                  <a:cubicBezTo>
                    <a:pt x="187" y="281"/>
                    <a:pt x="181" y="247"/>
                    <a:pt x="154" y="219"/>
                  </a:cubicBezTo>
                  <a:cubicBezTo>
                    <a:pt x="143" y="208"/>
                    <a:pt x="130" y="201"/>
                    <a:pt x="114" y="207"/>
                  </a:cubicBezTo>
                  <a:cubicBezTo>
                    <a:pt x="100" y="213"/>
                    <a:pt x="98" y="227"/>
                    <a:pt x="98" y="241"/>
                  </a:cubicBezTo>
                  <a:cubicBezTo>
                    <a:pt x="98" y="270"/>
                    <a:pt x="104" y="273"/>
                    <a:pt x="64" y="273"/>
                  </a:cubicBezTo>
                  <a:cubicBezTo>
                    <a:pt x="51" y="272"/>
                    <a:pt x="38" y="273"/>
                    <a:pt x="24" y="273"/>
                  </a:cubicBezTo>
                  <a:cubicBezTo>
                    <a:pt x="2" y="272"/>
                    <a:pt x="0" y="270"/>
                    <a:pt x="5" y="248"/>
                  </a:cubicBezTo>
                  <a:cubicBezTo>
                    <a:pt x="25" y="156"/>
                    <a:pt x="75" y="85"/>
                    <a:pt x="158" y="39"/>
                  </a:cubicBezTo>
                  <a:cubicBezTo>
                    <a:pt x="191" y="20"/>
                    <a:pt x="226" y="9"/>
                    <a:pt x="263" y="3"/>
                  </a:cubicBezTo>
                  <a:cubicBezTo>
                    <a:pt x="279" y="1"/>
                    <a:pt x="286" y="5"/>
                    <a:pt x="285" y="22"/>
                  </a:cubicBezTo>
                  <a:cubicBezTo>
                    <a:pt x="284" y="42"/>
                    <a:pt x="285" y="62"/>
                    <a:pt x="285" y="82"/>
                  </a:cubicBezTo>
                  <a:cubicBezTo>
                    <a:pt x="285" y="94"/>
                    <a:pt x="279" y="100"/>
                    <a:pt x="267" y="100"/>
                  </a:cubicBezTo>
                  <a:cubicBezTo>
                    <a:pt x="259" y="100"/>
                    <a:pt x="252" y="100"/>
                    <a:pt x="245" y="100"/>
                  </a:cubicBezTo>
                  <a:cubicBezTo>
                    <a:pt x="233" y="101"/>
                    <a:pt x="222" y="102"/>
                    <a:pt x="216" y="115"/>
                  </a:cubicBezTo>
                  <a:cubicBezTo>
                    <a:pt x="212" y="127"/>
                    <a:pt x="216" y="137"/>
                    <a:pt x="223" y="147"/>
                  </a:cubicBezTo>
                  <a:cubicBezTo>
                    <a:pt x="232" y="160"/>
                    <a:pt x="245" y="168"/>
                    <a:pt x="259" y="174"/>
                  </a:cubicBezTo>
                  <a:cubicBezTo>
                    <a:pt x="291" y="186"/>
                    <a:pt x="323" y="187"/>
                    <a:pt x="355" y="175"/>
                  </a:cubicBezTo>
                  <a:cubicBezTo>
                    <a:pt x="368" y="170"/>
                    <a:pt x="380" y="163"/>
                    <a:pt x="390" y="152"/>
                  </a:cubicBezTo>
                  <a:cubicBezTo>
                    <a:pt x="400" y="141"/>
                    <a:pt x="404" y="127"/>
                    <a:pt x="399" y="113"/>
                  </a:cubicBezTo>
                  <a:cubicBezTo>
                    <a:pt x="395" y="100"/>
                    <a:pt x="381" y="101"/>
                    <a:pt x="371" y="98"/>
                  </a:cubicBezTo>
                  <a:cubicBezTo>
                    <a:pt x="360" y="95"/>
                    <a:pt x="345" y="103"/>
                    <a:pt x="338" y="94"/>
                  </a:cubicBezTo>
                  <a:cubicBezTo>
                    <a:pt x="331" y="84"/>
                    <a:pt x="336" y="69"/>
                    <a:pt x="336" y="57"/>
                  </a:cubicBezTo>
                  <a:cubicBezTo>
                    <a:pt x="335" y="46"/>
                    <a:pt x="336" y="35"/>
                    <a:pt x="336" y="25"/>
                  </a:cubicBezTo>
                  <a:cubicBezTo>
                    <a:pt x="336" y="1"/>
                    <a:pt x="338" y="0"/>
                    <a:pt x="361" y="4"/>
                  </a:cubicBezTo>
                  <a:cubicBezTo>
                    <a:pt x="486" y="24"/>
                    <a:pt x="589" y="124"/>
                    <a:pt x="612" y="249"/>
                  </a:cubicBezTo>
                  <a:cubicBezTo>
                    <a:pt x="615" y="266"/>
                    <a:pt x="611" y="273"/>
                    <a:pt x="594" y="273"/>
                  </a:cubicBezTo>
                  <a:cubicBezTo>
                    <a:pt x="575" y="272"/>
                    <a:pt x="556" y="272"/>
                    <a:pt x="538" y="273"/>
                  </a:cubicBezTo>
                  <a:cubicBezTo>
                    <a:pt x="523" y="273"/>
                    <a:pt x="515" y="268"/>
                    <a:pt x="516" y="252"/>
                  </a:cubicBezTo>
                  <a:cubicBezTo>
                    <a:pt x="517" y="245"/>
                    <a:pt x="516" y="239"/>
                    <a:pt x="516" y="232"/>
                  </a:cubicBezTo>
                  <a:cubicBezTo>
                    <a:pt x="514" y="204"/>
                    <a:pt x="495" y="194"/>
                    <a:pt x="471" y="210"/>
                  </a:cubicBezTo>
                  <a:cubicBezTo>
                    <a:pt x="460" y="217"/>
                    <a:pt x="452" y="227"/>
                    <a:pt x="446" y="238"/>
                  </a:cubicBezTo>
                  <a:cubicBezTo>
                    <a:pt x="428" y="277"/>
                    <a:pt x="428" y="315"/>
                    <a:pt x="446" y="354"/>
                  </a:cubicBezTo>
                  <a:cubicBezTo>
                    <a:pt x="451" y="364"/>
                    <a:pt x="459" y="373"/>
                    <a:pt x="468" y="380"/>
                  </a:cubicBezTo>
                  <a:cubicBezTo>
                    <a:pt x="492" y="398"/>
                    <a:pt x="513" y="391"/>
                    <a:pt x="518" y="361"/>
                  </a:cubicBezTo>
                  <a:cubicBezTo>
                    <a:pt x="525" y="324"/>
                    <a:pt x="525" y="324"/>
                    <a:pt x="563" y="324"/>
                  </a:cubicBezTo>
                  <a:cubicBezTo>
                    <a:pt x="567" y="324"/>
                    <a:pt x="572" y="324"/>
                    <a:pt x="577" y="324"/>
                  </a:cubicBezTo>
                  <a:cubicBezTo>
                    <a:pt x="621" y="324"/>
                    <a:pt x="621" y="324"/>
                    <a:pt x="613" y="368"/>
                  </a:cubicBezTo>
                  <a:cubicBezTo>
                    <a:pt x="588" y="496"/>
                    <a:pt x="490" y="592"/>
                    <a:pt x="362" y="614"/>
                  </a:cubicBezTo>
                  <a:cubicBezTo>
                    <a:pt x="337" y="618"/>
                    <a:pt x="336" y="618"/>
                    <a:pt x="336" y="592"/>
                  </a:cubicBezTo>
                  <a:cubicBezTo>
                    <a:pt x="336" y="584"/>
                    <a:pt x="336" y="576"/>
                    <a:pt x="336" y="568"/>
                  </a:cubicBezTo>
                  <a:close/>
                  <a:moveTo>
                    <a:pt x="309" y="256"/>
                  </a:moveTo>
                  <a:cubicBezTo>
                    <a:pt x="286" y="256"/>
                    <a:pt x="267" y="274"/>
                    <a:pt x="267" y="296"/>
                  </a:cubicBezTo>
                  <a:cubicBezTo>
                    <a:pt x="267" y="317"/>
                    <a:pt x="285" y="335"/>
                    <a:pt x="308" y="336"/>
                  </a:cubicBezTo>
                  <a:cubicBezTo>
                    <a:pt x="332" y="336"/>
                    <a:pt x="348" y="320"/>
                    <a:pt x="348" y="296"/>
                  </a:cubicBezTo>
                  <a:cubicBezTo>
                    <a:pt x="348" y="272"/>
                    <a:pt x="333" y="257"/>
                    <a:pt x="309"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0" name="Group 80"/>
          <p:cNvGrpSpPr/>
          <p:nvPr/>
        </p:nvGrpSpPr>
        <p:grpSpPr>
          <a:xfrm>
            <a:off x="2134777" y="2040128"/>
            <a:ext cx="300565" cy="303678"/>
            <a:chOff x="-7718426" y="11542713"/>
            <a:chExt cx="1379538" cy="1393825"/>
          </a:xfrm>
          <a:solidFill>
            <a:schemeClr val="bg1"/>
          </a:solidFill>
        </p:grpSpPr>
        <p:sp>
          <p:nvSpPr>
            <p:cNvPr id="259" name="Freeform 3949"/>
            <p:cNvSpPr>
              <a:spLocks/>
            </p:cNvSpPr>
            <p:nvPr/>
          </p:nvSpPr>
          <p:spPr bwMode="auto">
            <a:xfrm>
              <a:off x="-7456488" y="12512675"/>
              <a:ext cx="817563" cy="423863"/>
            </a:xfrm>
            <a:custGeom>
              <a:avLst/>
              <a:gdLst>
                <a:gd name="T0" fmla="*/ 183 w 218"/>
                <a:gd name="T1" fmla="*/ 5 h 113"/>
                <a:gd name="T2" fmla="*/ 218 w 218"/>
                <a:gd name="T3" fmla="*/ 6 h 113"/>
                <a:gd name="T4" fmla="*/ 214 w 218"/>
                <a:gd name="T5" fmla="*/ 45 h 113"/>
                <a:gd name="T6" fmla="*/ 205 w 218"/>
                <a:gd name="T7" fmla="*/ 35 h 113"/>
                <a:gd name="T8" fmla="*/ 0 w 218"/>
                <a:gd name="T9" fmla="*/ 23 h 113"/>
                <a:gd name="T10" fmla="*/ 20 w 218"/>
                <a:gd name="T11" fmla="*/ 0 h 113"/>
                <a:gd name="T12" fmla="*/ 188 w 218"/>
                <a:gd name="T13" fmla="*/ 18 h 113"/>
                <a:gd name="T14" fmla="*/ 183 w 218"/>
                <a:gd name="T15" fmla="*/ 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13">
                  <a:moveTo>
                    <a:pt x="183" y="5"/>
                  </a:moveTo>
                  <a:cubicBezTo>
                    <a:pt x="218" y="6"/>
                    <a:pt x="218" y="6"/>
                    <a:pt x="218" y="6"/>
                  </a:cubicBezTo>
                  <a:cubicBezTo>
                    <a:pt x="214" y="45"/>
                    <a:pt x="214" y="45"/>
                    <a:pt x="214" y="45"/>
                  </a:cubicBezTo>
                  <a:cubicBezTo>
                    <a:pt x="205" y="35"/>
                    <a:pt x="205" y="35"/>
                    <a:pt x="205" y="35"/>
                  </a:cubicBezTo>
                  <a:cubicBezTo>
                    <a:pt x="205" y="35"/>
                    <a:pt x="108" y="113"/>
                    <a:pt x="0" y="23"/>
                  </a:cubicBezTo>
                  <a:cubicBezTo>
                    <a:pt x="20" y="0"/>
                    <a:pt x="20" y="0"/>
                    <a:pt x="20" y="0"/>
                  </a:cubicBezTo>
                  <a:cubicBezTo>
                    <a:pt x="20" y="0"/>
                    <a:pt x="87" y="70"/>
                    <a:pt x="188" y="18"/>
                  </a:cubicBezTo>
                  <a:lnTo>
                    <a:pt x="183" y="5"/>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0" name="Freeform 3950"/>
            <p:cNvSpPr>
              <a:spLocks/>
            </p:cNvSpPr>
            <p:nvPr/>
          </p:nvSpPr>
          <p:spPr bwMode="auto">
            <a:xfrm>
              <a:off x="-6889751" y="11542713"/>
              <a:ext cx="550863" cy="738188"/>
            </a:xfrm>
            <a:custGeom>
              <a:avLst/>
              <a:gdLst>
                <a:gd name="T0" fmla="*/ 16 w 147"/>
                <a:gd name="T1" fmla="*/ 47 h 197"/>
                <a:gd name="T2" fmla="*/ 0 w 147"/>
                <a:gd name="T3" fmla="*/ 16 h 197"/>
                <a:gd name="T4" fmla="*/ 35 w 147"/>
                <a:gd name="T5" fmla="*/ 0 h 197"/>
                <a:gd name="T6" fmla="*/ 32 w 147"/>
                <a:gd name="T7" fmla="*/ 13 h 197"/>
                <a:gd name="T8" fmla="*/ 123 w 147"/>
                <a:gd name="T9" fmla="*/ 197 h 197"/>
                <a:gd name="T10" fmla="*/ 93 w 147"/>
                <a:gd name="T11" fmla="*/ 191 h 197"/>
                <a:gd name="T12" fmla="*/ 25 w 147"/>
                <a:gd name="T13" fmla="*/ 36 h 197"/>
                <a:gd name="T14" fmla="*/ 16 w 147"/>
                <a:gd name="T15" fmla="*/ 47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97">
                  <a:moveTo>
                    <a:pt x="16" y="47"/>
                  </a:moveTo>
                  <a:cubicBezTo>
                    <a:pt x="0" y="16"/>
                    <a:pt x="0" y="16"/>
                    <a:pt x="0" y="16"/>
                  </a:cubicBezTo>
                  <a:cubicBezTo>
                    <a:pt x="35" y="0"/>
                    <a:pt x="35" y="0"/>
                    <a:pt x="35" y="0"/>
                  </a:cubicBezTo>
                  <a:cubicBezTo>
                    <a:pt x="32" y="13"/>
                    <a:pt x="32" y="13"/>
                    <a:pt x="32" y="13"/>
                  </a:cubicBezTo>
                  <a:cubicBezTo>
                    <a:pt x="32" y="13"/>
                    <a:pt x="147" y="59"/>
                    <a:pt x="123" y="197"/>
                  </a:cubicBezTo>
                  <a:cubicBezTo>
                    <a:pt x="93" y="191"/>
                    <a:pt x="93" y="191"/>
                    <a:pt x="93" y="191"/>
                  </a:cubicBezTo>
                  <a:cubicBezTo>
                    <a:pt x="93" y="191"/>
                    <a:pt x="120" y="98"/>
                    <a:pt x="25" y="36"/>
                  </a:cubicBezTo>
                  <a:lnTo>
                    <a:pt x="16" y="47"/>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1" name="Freeform 3951"/>
            <p:cNvSpPr>
              <a:spLocks/>
            </p:cNvSpPr>
            <p:nvPr/>
          </p:nvSpPr>
          <p:spPr bwMode="auto">
            <a:xfrm>
              <a:off x="-7718426" y="11549063"/>
              <a:ext cx="528638" cy="742950"/>
            </a:xfrm>
            <a:custGeom>
              <a:avLst/>
              <a:gdLst>
                <a:gd name="T0" fmla="*/ 57 w 141"/>
                <a:gd name="T1" fmla="*/ 168 h 198"/>
                <a:gd name="T2" fmla="*/ 39 w 141"/>
                <a:gd name="T3" fmla="*/ 198 h 198"/>
                <a:gd name="T4" fmla="*/ 7 w 141"/>
                <a:gd name="T5" fmla="*/ 176 h 198"/>
                <a:gd name="T6" fmla="*/ 20 w 141"/>
                <a:gd name="T7" fmla="*/ 173 h 198"/>
                <a:gd name="T8" fmla="*/ 130 w 141"/>
                <a:gd name="T9" fmla="*/ 0 h 198"/>
                <a:gd name="T10" fmla="*/ 141 w 141"/>
                <a:gd name="T11" fmla="*/ 29 h 198"/>
                <a:gd name="T12" fmla="*/ 43 w 141"/>
                <a:gd name="T13" fmla="*/ 167 h 198"/>
                <a:gd name="T14" fmla="*/ 57 w 141"/>
                <a:gd name="T15" fmla="*/ 168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198">
                  <a:moveTo>
                    <a:pt x="57" y="168"/>
                  </a:moveTo>
                  <a:cubicBezTo>
                    <a:pt x="39" y="198"/>
                    <a:pt x="39" y="198"/>
                    <a:pt x="39" y="198"/>
                  </a:cubicBezTo>
                  <a:cubicBezTo>
                    <a:pt x="7" y="176"/>
                    <a:pt x="7" y="176"/>
                    <a:pt x="7" y="176"/>
                  </a:cubicBezTo>
                  <a:cubicBezTo>
                    <a:pt x="20" y="173"/>
                    <a:pt x="20" y="173"/>
                    <a:pt x="20" y="173"/>
                  </a:cubicBezTo>
                  <a:cubicBezTo>
                    <a:pt x="20" y="173"/>
                    <a:pt x="0" y="50"/>
                    <a:pt x="130" y="0"/>
                  </a:cubicBezTo>
                  <a:cubicBezTo>
                    <a:pt x="141" y="29"/>
                    <a:pt x="141" y="29"/>
                    <a:pt x="141" y="29"/>
                  </a:cubicBezTo>
                  <a:cubicBezTo>
                    <a:pt x="141" y="29"/>
                    <a:pt x="47" y="53"/>
                    <a:pt x="43" y="167"/>
                  </a:cubicBezTo>
                  <a:lnTo>
                    <a:pt x="57" y="168"/>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2" name="Freeform 3952"/>
            <p:cNvSpPr>
              <a:spLocks/>
            </p:cNvSpPr>
            <p:nvPr/>
          </p:nvSpPr>
          <p:spPr bwMode="auto">
            <a:xfrm>
              <a:off x="-7467601" y="11955463"/>
              <a:ext cx="236538" cy="434975"/>
            </a:xfrm>
            <a:custGeom>
              <a:avLst/>
              <a:gdLst>
                <a:gd name="T0" fmla="*/ 62 w 63"/>
                <a:gd name="T1" fmla="*/ 97 h 116"/>
                <a:gd name="T2" fmla="*/ 63 w 63"/>
                <a:gd name="T3" fmla="*/ 116 h 116"/>
                <a:gd name="T4" fmla="*/ 42 w 63"/>
                <a:gd name="T5" fmla="*/ 116 h 116"/>
                <a:gd name="T6" fmla="*/ 47 w 63"/>
                <a:gd name="T7" fmla="*/ 111 h 116"/>
                <a:gd name="T8" fmla="*/ 42 w 63"/>
                <a:gd name="T9" fmla="*/ 0 h 116"/>
                <a:gd name="T10" fmla="*/ 56 w 63"/>
                <a:gd name="T11" fmla="*/ 10 h 116"/>
                <a:gd name="T12" fmla="*/ 55 w 63"/>
                <a:gd name="T13" fmla="*/ 101 h 116"/>
                <a:gd name="T14" fmla="*/ 62 w 63"/>
                <a:gd name="T15" fmla="*/ 97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116">
                  <a:moveTo>
                    <a:pt x="62" y="97"/>
                  </a:moveTo>
                  <a:cubicBezTo>
                    <a:pt x="63" y="116"/>
                    <a:pt x="63" y="116"/>
                    <a:pt x="63" y="116"/>
                  </a:cubicBezTo>
                  <a:cubicBezTo>
                    <a:pt x="42" y="116"/>
                    <a:pt x="42" y="116"/>
                    <a:pt x="42" y="116"/>
                  </a:cubicBezTo>
                  <a:cubicBezTo>
                    <a:pt x="47" y="111"/>
                    <a:pt x="47" y="111"/>
                    <a:pt x="47" y="111"/>
                  </a:cubicBezTo>
                  <a:cubicBezTo>
                    <a:pt x="47" y="111"/>
                    <a:pt x="0" y="63"/>
                    <a:pt x="42" y="0"/>
                  </a:cubicBezTo>
                  <a:cubicBezTo>
                    <a:pt x="56" y="10"/>
                    <a:pt x="56" y="10"/>
                    <a:pt x="56" y="10"/>
                  </a:cubicBezTo>
                  <a:cubicBezTo>
                    <a:pt x="56" y="10"/>
                    <a:pt x="22" y="49"/>
                    <a:pt x="55" y="101"/>
                  </a:cubicBezTo>
                  <a:lnTo>
                    <a:pt x="62" y="97"/>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3" name="Freeform 3953"/>
            <p:cNvSpPr>
              <a:spLocks/>
            </p:cNvSpPr>
            <p:nvPr/>
          </p:nvSpPr>
          <p:spPr bwMode="auto">
            <a:xfrm>
              <a:off x="-7080251" y="12201525"/>
              <a:ext cx="377825" cy="307975"/>
            </a:xfrm>
            <a:custGeom>
              <a:avLst/>
              <a:gdLst>
                <a:gd name="T0" fmla="*/ 75 w 101"/>
                <a:gd name="T1" fmla="*/ 11 h 82"/>
                <a:gd name="T2" fmla="*/ 90 w 101"/>
                <a:gd name="T3" fmla="*/ 0 h 82"/>
                <a:gd name="T4" fmla="*/ 101 w 101"/>
                <a:gd name="T5" fmla="*/ 18 h 82"/>
                <a:gd name="T6" fmla="*/ 94 w 101"/>
                <a:gd name="T7" fmla="*/ 17 h 82"/>
                <a:gd name="T8" fmla="*/ 0 w 101"/>
                <a:gd name="T9" fmla="*/ 76 h 82"/>
                <a:gd name="T10" fmla="*/ 2 w 101"/>
                <a:gd name="T11" fmla="*/ 60 h 82"/>
                <a:gd name="T12" fmla="*/ 81 w 101"/>
                <a:gd name="T13" fmla="*/ 15 h 82"/>
                <a:gd name="T14" fmla="*/ 75 w 101"/>
                <a:gd name="T15" fmla="*/ 1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82">
                  <a:moveTo>
                    <a:pt x="75" y="11"/>
                  </a:moveTo>
                  <a:cubicBezTo>
                    <a:pt x="90" y="0"/>
                    <a:pt x="90" y="0"/>
                    <a:pt x="90" y="0"/>
                  </a:cubicBezTo>
                  <a:cubicBezTo>
                    <a:pt x="101" y="18"/>
                    <a:pt x="101" y="18"/>
                    <a:pt x="101" y="18"/>
                  </a:cubicBezTo>
                  <a:cubicBezTo>
                    <a:pt x="94" y="17"/>
                    <a:pt x="94" y="17"/>
                    <a:pt x="94" y="17"/>
                  </a:cubicBezTo>
                  <a:cubicBezTo>
                    <a:pt x="94" y="17"/>
                    <a:pt x="75" y="82"/>
                    <a:pt x="0" y="76"/>
                  </a:cubicBezTo>
                  <a:cubicBezTo>
                    <a:pt x="2" y="60"/>
                    <a:pt x="2" y="60"/>
                    <a:pt x="2" y="60"/>
                  </a:cubicBezTo>
                  <a:cubicBezTo>
                    <a:pt x="2" y="60"/>
                    <a:pt x="53" y="70"/>
                    <a:pt x="81" y="15"/>
                  </a:cubicBezTo>
                  <a:lnTo>
                    <a:pt x="75" y="11"/>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4" name="Freeform 3954"/>
            <p:cNvSpPr>
              <a:spLocks/>
            </p:cNvSpPr>
            <p:nvPr/>
          </p:nvSpPr>
          <p:spPr bwMode="auto">
            <a:xfrm>
              <a:off x="-7151688" y="11766550"/>
              <a:ext cx="419100" cy="277813"/>
            </a:xfrm>
            <a:custGeom>
              <a:avLst/>
              <a:gdLst>
                <a:gd name="T0" fmla="*/ 17 w 112"/>
                <a:gd name="T1" fmla="*/ 37 h 74"/>
                <a:gd name="T2" fmla="*/ 0 w 112"/>
                <a:gd name="T3" fmla="*/ 29 h 74"/>
                <a:gd name="T4" fmla="*/ 10 w 112"/>
                <a:gd name="T5" fmla="*/ 10 h 74"/>
                <a:gd name="T6" fmla="*/ 13 w 112"/>
                <a:gd name="T7" fmla="*/ 17 h 74"/>
                <a:gd name="T8" fmla="*/ 112 w 112"/>
                <a:gd name="T9" fmla="*/ 67 h 74"/>
                <a:gd name="T10" fmla="*/ 97 w 112"/>
                <a:gd name="T11" fmla="*/ 74 h 74"/>
                <a:gd name="T12" fmla="*/ 17 w 112"/>
                <a:gd name="T13" fmla="*/ 29 h 74"/>
                <a:gd name="T14" fmla="*/ 17 w 112"/>
                <a:gd name="T15" fmla="*/ 37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74">
                  <a:moveTo>
                    <a:pt x="17" y="37"/>
                  </a:moveTo>
                  <a:cubicBezTo>
                    <a:pt x="0" y="29"/>
                    <a:pt x="0" y="29"/>
                    <a:pt x="0" y="29"/>
                  </a:cubicBezTo>
                  <a:cubicBezTo>
                    <a:pt x="10" y="10"/>
                    <a:pt x="10" y="10"/>
                    <a:pt x="10" y="10"/>
                  </a:cubicBezTo>
                  <a:cubicBezTo>
                    <a:pt x="13" y="17"/>
                    <a:pt x="13" y="17"/>
                    <a:pt x="13" y="17"/>
                  </a:cubicBezTo>
                  <a:cubicBezTo>
                    <a:pt x="13" y="17"/>
                    <a:pt x="78" y="0"/>
                    <a:pt x="112" y="67"/>
                  </a:cubicBezTo>
                  <a:cubicBezTo>
                    <a:pt x="97" y="74"/>
                    <a:pt x="97" y="74"/>
                    <a:pt x="97" y="74"/>
                  </a:cubicBezTo>
                  <a:cubicBezTo>
                    <a:pt x="97" y="74"/>
                    <a:pt x="79" y="25"/>
                    <a:pt x="17" y="29"/>
                  </a:cubicBezTo>
                  <a:lnTo>
                    <a:pt x="17" y="37"/>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grpSp>
        <p:nvGrpSpPr>
          <p:cNvPr id="251" name="Group 250"/>
          <p:cNvGrpSpPr/>
          <p:nvPr/>
        </p:nvGrpSpPr>
        <p:grpSpPr>
          <a:xfrm>
            <a:off x="2142739" y="1152893"/>
            <a:ext cx="276336" cy="247174"/>
            <a:chOff x="2142739" y="1175752"/>
            <a:chExt cx="276336" cy="247174"/>
          </a:xfrm>
          <a:solidFill>
            <a:schemeClr val="bg1"/>
          </a:solidFill>
        </p:grpSpPr>
        <p:sp>
          <p:nvSpPr>
            <p:cNvPr id="252" name="Freeform 29"/>
            <p:cNvSpPr>
              <a:spLocks/>
            </p:cNvSpPr>
            <p:nvPr/>
          </p:nvSpPr>
          <p:spPr bwMode="auto">
            <a:xfrm>
              <a:off x="2142739" y="1175752"/>
              <a:ext cx="276336" cy="151084"/>
            </a:xfrm>
            <a:custGeom>
              <a:avLst/>
              <a:gdLst>
                <a:gd name="T0" fmla="*/ 2022 w 2368"/>
                <a:gd name="T1" fmla="*/ 805 h 807"/>
                <a:gd name="T2" fmla="*/ 2014 w 2368"/>
                <a:gd name="T3" fmla="*/ 727 h 807"/>
                <a:gd name="T4" fmla="*/ 1959 w 2368"/>
                <a:gd name="T5" fmla="*/ 675 h 807"/>
                <a:gd name="T6" fmla="*/ 283 w 2368"/>
                <a:gd name="T7" fmla="*/ 675 h 807"/>
                <a:gd name="T8" fmla="*/ 227 w 2368"/>
                <a:gd name="T9" fmla="*/ 722 h 807"/>
                <a:gd name="T10" fmla="*/ 218 w 2368"/>
                <a:gd name="T11" fmla="*/ 802 h 807"/>
                <a:gd name="T12" fmla="*/ 105 w 2368"/>
                <a:gd name="T13" fmla="*/ 801 h 807"/>
                <a:gd name="T14" fmla="*/ 1 w 2368"/>
                <a:gd name="T15" fmla="*/ 678 h 807"/>
                <a:gd name="T16" fmla="*/ 1 w 2368"/>
                <a:gd name="T17" fmla="*/ 129 h 807"/>
                <a:gd name="T18" fmla="*/ 129 w 2368"/>
                <a:gd name="T19" fmla="*/ 2 h 807"/>
                <a:gd name="T20" fmla="*/ 201 w 2368"/>
                <a:gd name="T21" fmla="*/ 1 h 807"/>
                <a:gd name="T22" fmla="*/ 234 w 2368"/>
                <a:gd name="T23" fmla="*/ 35 h 807"/>
                <a:gd name="T24" fmla="*/ 234 w 2368"/>
                <a:gd name="T25" fmla="*/ 307 h 807"/>
                <a:gd name="T26" fmla="*/ 339 w 2368"/>
                <a:gd name="T27" fmla="*/ 462 h 807"/>
                <a:gd name="T28" fmla="*/ 400 w 2368"/>
                <a:gd name="T29" fmla="*/ 472 h 807"/>
                <a:gd name="T30" fmla="*/ 1970 w 2368"/>
                <a:gd name="T31" fmla="*/ 472 h 807"/>
                <a:gd name="T32" fmla="*/ 2134 w 2368"/>
                <a:gd name="T33" fmla="*/ 309 h 807"/>
                <a:gd name="T34" fmla="*/ 2134 w 2368"/>
                <a:gd name="T35" fmla="*/ 39 h 807"/>
                <a:gd name="T36" fmla="*/ 2171 w 2368"/>
                <a:gd name="T37" fmla="*/ 1 h 807"/>
                <a:gd name="T38" fmla="*/ 2259 w 2368"/>
                <a:gd name="T39" fmla="*/ 4 h 807"/>
                <a:gd name="T40" fmla="*/ 2367 w 2368"/>
                <a:gd name="T41" fmla="*/ 128 h 807"/>
                <a:gd name="T42" fmla="*/ 2367 w 2368"/>
                <a:gd name="T43" fmla="*/ 678 h 807"/>
                <a:gd name="T44" fmla="*/ 2239 w 2368"/>
                <a:gd name="T45" fmla="*/ 805 h 807"/>
                <a:gd name="T46" fmla="*/ 2022 w 2368"/>
                <a:gd name="T47" fmla="*/ 805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68" h="807">
                  <a:moveTo>
                    <a:pt x="2022" y="805"/>
                  </a:moveTo>
                  <a:cubicBezTo>
                    <a:pt x="2019" y="779"/>
                    <a:pt x="2016" y="753"/>
                    <a:pt x="2014" y="727"/>
                  </a:cubicBezTo>
                  <a:cubicBezTo>
                    <a:pt x="2011" y="685"/>
                    <a:pt x="2001" y="675"/>
                    <a:pt x="1959" y="675"/>
                  </a:cubicBezTo>
                  <a:cubicBezTo>
                    <a:pt x="1400" y="675"/>
                    <a:pt x="842" y="675"/>
                    <a:pt x="283" y="675"/>
                  </a:cubicBezTo>
                  <a:cubicBezTo>
                    <a:pt x="244" y="675"/>
                    <a:pt x="233" y="683"/>
                    <a:pt x="227" y="722"/>
                  </a:cubicBezTo>
                  <a:cubicBezTo>
                    <a:pt x="223" y="749"/>
                    <a:pt x="221" y="776"/>
                    <a:pt x="218" y="802"/>
                  </a:cubicBezTo>
                  <a:cubicBezTo>
                    <a:pt x="179" y="802"/>
                    <a:pt x="142" y="807"/>
                    <a:pt x="105" y="801"/>
                  </a:cubicBezTo>
                  <a:cubicBezTo>
                    <a:pt x="43" y="792"/>
                    <a:pt x="1" y="741"/>
                    <a:pt x="1" y="678"/>
                  </a:cubicBezTo>
                  <a:cubicBezTo>
                    <a:pt x="0" y="495"/>
                    <a:pt x="0" y="312"/>
                    <a:pt x="1" y="129"/>
                  </a:cubicBezTo>
                  <a:cubicBezTo>
                    <a:pt x="1" y="57"/>
                    <a:pt x="57" y="4"/>
                    <a:pt x="129" y="2"/>
                  </a:cubicBezTo>
                  <a:cubicBezTo>
                    <a:pt x="153" y="1"/>
                    <a:pt x="177" y="1"/>
                    <a:pt x="201" y="1"/>
                  </a:cubicBezTo>
                  <a:cubicBezTo>
                    <a:pt x="227" y="2"/>
                    <a:pt x="234" y="8"/>
                    <a:pt x="234" y="35"/>
                  </a:cubicBezTo>
                  <a:cubicBezTo>
                    <a:pt x="234" y="125"/>
                    <a:pt x="234" y="216"/>
                    <a:pt x="234" y="307"/>
                  </a:cubicBezTo>
                  <a:cubicBezTo>
                    <a:pt x="234" y="382"/>
                    <a:pt x="273" y="441"/>
                    <a:pt x="339" y="462"/>
                  </a:cubicBezTo>
                  <a:cubicBezTo>
                    <a:pt x="359" y="469"/>
                    <a:pt x="380" y="472"/>
                    <a:pt x="400" y="472"/>
                  </a:cubicBezTo>
                  <a:cubicBezTo>
                    <a:pt x="923" y="472"/>
                    <a:pt x="1447" y="472"/>
                    <a:pt x="1970" y="472"/>
                  </a:cubicBezTo>
                  <a:cubicBezTo>
                    <a:pt x="2067" y="472"/>
                    <a:pt x="2133" y="405"/>
                    <a:pt x="2134" y="309"/>
                  </a:cubicBezTo>
                  <a:cubicBezTo>
                    <a:pt x="2134" y="219"/>
                    <a:pt x="2134" y="129"/>
                    <a:pt x="2134" y="39"/>
                  </a:cubicBezTo>
                  <a:cubicBezTo>
                    <a:pt x="2134" y="7"/>
                    <a:pt x="2139" y="1"/>
                    <a:pt x="2171" y="1"/>
                  </a:cubicBezTo>
                  <a:cubicBezTo>
                    <a:pt x="2200" y="2"/>
                    <a:pt x="2230" y="0"/>
                    <a:pt x="2259" y="4"/>
                  </a:cubicBezTo>
                  <a:cubicBezTo>
                    <a:pt x="2323" y="14"/>
                    <a:pt x="2367" y="64"/>
                    <a:pt x="2367" y="128"/>
                  </a:cubicBezTo>
                  <a:cubicBezTo>
                    <a:pt x="2368" y="312"/>
                    <a:pt x="2368" y="495"/>
                    <a:pt x="2367" y="678"/>
                  </a:cubicBezTo>
                  <a:cubicBezTo>
                    <a:pt x="2367" y="750"/>
                    <a:pt x="2311" y="804"/>
                    <a:pt x="2239" y="805"/>
                  </a:cubicBezTo>
                  <a:cubicBezTo>
                    <a:pt x="2168" y="805"/>
                    <a:pt x="2097" y="805"/>
                    <a:pt x="2022" y="8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30"/>
            <p:cNvSpPr>
              <a:spLocks noEditPoints="1"/>
            </p:cNvSpPr>
            <p:nvPr/>
          </p:nvSpPr>
          <p:spPr bwMode="auto">
            <a:xfrm>
              <a:off x="2185664" y="1175943"/>
              <a:ext cx="190130" cy="63103"/>
            </a:xfrm>
            <a:custGeom>
              <a:avLst/>
              <a:gdLst>
                <a:gd name="T0" fmla="*/ 814 w 1629"/>
                <a:gd name="T1" fmla="*/ 337 h 337"/>
                <a:gd name="T2" fmla="*/ 39 w 1629"/>
                <a:gd name="T3" fmla="*/ 337 h 337"/>
                <a:gd name="T4" fmla="*/ 0 w 1629"/>
                <a:gd name="T5" fmla="*/ 298 h 337"/>
                <a:gd name="T6" fmla="*/ 0 w 1629"/>
                <a:gd name="T7" fmla="*/ 34 h 337"/>
                <a:gd name="T8" fmla="*/ 34 w 1629"/>
                <a:gd name="T9" fmla="*/ 0 h 337"/>
                <a:gd name="T10" fmla="*/ 1595 w 1629"/>
                <a:gd name="T11" fmla="*/ 0 h 337"/>
                <a:gd name="T12" fmla="*/ 1629 w 1629"/>
                <a:gd name="T13" fmla="*/ 35 h 337"/>
                <a:gd name="T14" fmla="*/ 1629 w 1629"/>
                <a:gd name="T15" fmla="*/ 302 h 337"/>
                <a:gd name="T16" fmla="*/ 1594 w 1629"/>
                <a:gd name="T17" fmla="*/ 337 h 337"/>
                <a:gd name="T18" fmla="*/ 814 w 1629"/>
                <a:gd name="T19" fmla="*/ 337 h 337"/>
                <a:gd name="T20" fmla="*/ 816 w 1629"/>
                <a:gd name="T21" fmla="*/ 217 h 337"/>
                <a:gd name="T22" fmla="*/ 1479 w 1629"/>
                <a:gd name="T23" fmla="*/ 217 h 337"/>
                <a:gd name="T24" fmla="*/ 1503 w 1629"/>
                <a:gd name="T25" fmla="*/ 216 h 337"/>
                <a:gd name="T26" fmla="*/ 1549 w 1629"/>
                <a:gd name="T27" fmla="*/ 168 h 337"/>
                <a:gd name="T28" fmla="*/ 1510 w 1629"/>
                <a:gd name="T29" fmla="*/ 119 h 337"/>
                <a:gd name="T30" fmla="*/ 1488 w 1629"/>
                <a:gd name="T31" fmla="*/ 117 h 337"/>
                <a:gd name="T32" fmla="*/ 148 w 1629"/>
                <a:gd name="T33" fmla="*/ 117 h 337"/>
                <a:gd name="T34" fmla="*/ 123 w 1629"/>
                <a:gd name="T35" fmla="*/ 120 h 337"/>
                <a:gd name="T36" fmla="*/ 86 w 1629"/>
                <a:gd name="T37" fmla="*/ 167 h 337"/>
                <a:gd name="T38" fmla="*/ 120 w 1629"/>
                <a:gd name="T39" fmla="*/ 214 h 337"/>
                <a:gd name="T40" fmla="*/ 152 w 1629"/>
                <a:gd name="T41" fmla="*/ 217 h 337"/>
                <a:gd name="T42" fmla="*/ 816 w 1629"/>
                <a:gd name="T43" fmla="*/ 21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29" h="337">
                  <a:moveTo>
                    <a:pt x="814" y="337"/>
                  </a:moveTo>
                  <a:cubicBezTo>
                    <a:pt x="556" y="337"/>
                    <a:pt x="297" y="337"/>
                    <a:pt x="39" y="337"/>
                  </a:cubicBezTo>
                  <a:cubicBezTo>
                    <a:pt x="3" y="337"/>
                    <a:pt x="0" y="334"/>
                    <a:pt x="0" y="298"/>
                  </a:cubicBezTo>
                  <a:cubicBezTo>
                    <a:pt x="0" y="210"/>
                    <a:pt x="0" y="122"/>
                    <a:pt x="0" y="34"/>
                  </a:cubicBezTo>
                  <a:cubicBezTo>
                    <a:pt x="0" y="7"/>
                    <a:pt x="6" y="0"/>
                    <a:pt x="34" y="0"/>
                  </a:cubicBezTo>
                  <a:cubicBezTo>
                    <a:pt x="554" y="0"/>
                    <a:pt x="1075" y="0"/>
                    <a:pt x="1595" y="0"/>
                  </a:cubicBezTo>
                  <a:cubicBezTo>
                    <a:pt x="1623" y="0"/>
                    <a:pt x="1629" y="7"/>
                    <a:pt x="1629" y="35"/>
                  </a:cubicBezTo>
                  <a:cubicBezTo>
                    <a:pt x="1629" y="124"/>
                    <a:pt x="1629" y="213"/>
                    <a:pt x="1629" y="302"/>
                  </a:cubicBezTo>
                  <a:cubicBezTo>
                    <a:pt x="1629" y="332"/>
                    <a:pt x="1624" y="337"/>
                    <a:pt x="1594" y="337"/>
                  </a:cubicBezTo>
                  <a:cubicBezTo>
                    <a:pt x="1334" y="337"/>
                    <a:pt x="1074" y="337"/>
                    <a:pt x="814" y="337"/>
                  </a:cubicBezTo>
                  <a:close/>
                  <a:moveTo>
                    <a:pt x="816" y="217"/>
                  </a:moveTo>
                  <a:cubicBezTo>
                    <a:pt x="1037" y="217"/>
                    <a:pt x="1258" y="217"/>
                    <a:pt x="1479" y="217"/>
                  </a:cubicBezTo>
                  <a:cubicBezTo>
                    <a:pt x="1487" y="217"/>
                    <a:pt x="1495" y="217"/>
                    <a:pt x="1503" y="216"/>
                  </a:cubicBezTo>
                  <a:cubicBezTo>
                    <a:pt x="1527" y="214"/>
                    <a:pt x="1547" y="192"/>
                    <a:pt x="1549" y="168"/>
                  </a:cubicBezTo>
                  <a:cubicBezTo>
                    <a:pt x="1550" y="145"/>
                    <a:pt x="1533" y="124"/>
                    <a:pt x="1510" y="119"/>
                  </a:cubicBezTo>
                  <a:cubicBezTo>
                    <a:pt x="1503" y="117"/>
                    <a:pt x="1495" y="117"/>
                    <a:pt x="1488" y="117"/>
                  </a:cubicBezTo>
                  <a:cubicBezTo>
                    <a:pt x="1041" y="117"/>
                    <a:pt x="595" y="117"/>
                    <a:pt x="148" y="117"/>
                  </a:cubicBezTo>
                  <a:cubicBezTo>
                    <a:pt x="140" y="117"/>
                    <a:pt x="131" y="118"/>
                    <a:pt x="123" y="120"/>
                  </a:cubicBezTo>
                  <a:cubicBezTo>
                    <a:pt x="101" y="126"/>
                    <a:pt x="86" y="145"/>
                    <a:pt x="86" y="167"/>
                  </a:cubicBezTo>
                  <a:cubicBezTo>
                    <a:pt x="86" y="188"/>
                    <a:pt x="100" y="208"/>
                    <a:pt x="120" y="214"/>
                  </a:cubicBezTo>
                  <a:cubicBezTo>
                    <a:pt x="130" y="217"/>
                    <a:pt x="141" y="217"/>
                    <a:pt x="152" y="217"/>
                  </a:cubicBezTo>
                  <a:cubicBezTo>
                    <a:pt x="373" y="217"/>
                    <a:pt x="594" y="217"/>
                    <a:pt x="816"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31"/>
            <p:cNvSpPr>
              <a:spLocks/>
            </p:cNvSpPr>
            <p:nvPr/>
          </p:nvSpPr>
          <p:spPr bwMode="auto">
            <a:xfrm>
              <a:off x="2179837" y="1321403"/>
              <a:ext cx="187395" cy="28215"/>
            </a:xfrm>
            <a:custGeom>
              <a:avLst/>
              <a:gdLst>
                <a:gd name="T0" fmla="*/ 800 w 1606"/>
                <a:gd name="T1" fmla="*/ 151 h 151"/>
                <a:gd name="T2" fmla="*/ 42 w 1606"/>
                <a:gd name="T3" fmla="*/ 151 h 151"/>
                <a:gd name="T4" fmla="*/ 20 w 1606"/>
                <a:gd name="T5" fmla="*/ 149 h 151"/>
                <a:gd name="T6" fmla="*/ 6 w 1606"/>
                <a:gd name="T7" fmla="*/ 117 h 151"/>
                <a:gd name="T8" fmla="*/ 35 w 1606"/>
                <a:gd name="T9" fmla="*/ 35 h 151"/>
                <a:gd name="T10" fmla="*/ 80 w 1606"/>
                <a:gd name="T11" fmla="*/ 0 h 151"/>
                <a:gd name="T12" fmla="*/ 1526 w 1606"/>
                <a:gd name="T13" fmla="*/ 0 h 151"/>
                <a:gd name="T14" fmla="*/ 1570 w 1606"/>
                <a:gd name="T15" fmla="*/ 38 h 151"/>
                <a:gd name="T16" fmla="*/ 1597 w 1606"/>
                <a:gd name="T17" fmla="*/ 113 h 151"/>
                <a:gd name="T18" fmla="*/ 1576 w 1606"/>
                <a:gd name="T19" fmla="*/ 150 h 151"/>
                <a:gd name="T20" fmla="*/ 1558 w 1606"/>
                <a:gd name="T21" fmla="*/ 151 h 151"/>
                <a:gd name="T22" fmla="*/ 800 w 1606"/>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6" h="151">
                  <a:moveTo>
                    <a:pt x="800" y="151"/>
                  </a:moveTo>
                  <a:cubicBezTo>
                    <a:pt x="547" y="151"/>
                    <a:pt x="295" y="151"/>
                    <a:pt x="42" y="151"/>
                  </a:cubicBezTo>
                  <a:cubicBezTo>
                    <a:pt x="35" y="151"/>
                    <a:pt x="27" y="151"/>
                    <a:pt x="20" y="149"/>
                  </a:cubicBezTo>
                  <a:cubicBezTo>
                    <a:pt x="4" y="146"/>
                    <a:pt x="0" y="132"/>
                    <a:pt x="6" y="117"/>
                  </a:cubicBezTo>
                  <a:cubicBezTo>
                    <a:pt x="16" y="90"/>
                    <a:pt x="27" y="63"/>
                    <a:pt x="35" y="35"/>
                  </a:cubicBezTo>
                  <a:cubicBezTo>
                    <a:pt x="43" y="10"/>
                    <a:pt x="52" y="0"/>
                    <a:pt x="80" y="0"/>
                  </a:cubicBezTo>
                  <a:cubicBezTo>
                    <a:pt x="562" y="0"/>
                    <a:pt x="1044" y="0"/>
                    <a:pt x="1526" y="0"/>
                  </a:cubicBezTo>
                  <a:cubicBezTo>
                    <a:pt x="1554" y="0"/>
                    <a:pt x="1564" y="10"/>
                    <a:pt x="1570" y="38"/>
                  </a:cubicBezTo>
                  <a:cubicBezTo>
                    <a:pt x="1577" y="63"/>
                    <a:pt x="1586" y="88"/>
                    <a:pt x="1597" y="113"/>
                  </a:cubicBezTo>
                  <a:cubicBezTo>
                    <a:pt x="1606" y="133"/>
                    <a:pt x="1598" y="149"/>
                    <a:pt x="1576" y="150"/>
                  </a:cubicBezTo>
                  <a:cubicBezTo>
                    <a:pt x="1570" y="151"/>
                    <a:pt x="1564" y="151"/>
                    <a:pt x="1558" y="151"/>
                  </a:cubicBezTo>
                  <a:cubicBezTo>
                    <a:pt x="1305" y="151"/>
                    <a:pt x="1053" y="151"/>
                    <a:pt x="800"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32"/>
            <p:cNvSpPr>
              <a:spLocks/>
            </p:cNvSpPr>
            <p:nvPr/>
          </p:nvSpPr>
          <p:spPr bwMode="auto">
            <a:xfrm>
              <a:off x="2180055" y="1371281"/>
              <a:ext cx="45719" cy="51261"/>
            </a:xfrm>
            <a:custGeom>
              <a:avLst/>
              <a:gdLst>
                <a:gd name="T0" fmla="*/ 81 w 143"/>
                <a:gd name="T1" fmla="*/ 0 h 408"/>
                <a:gd name="T2" fmla="*/ 134 w 143"/>
                <a:gd name="T3" fmla="*/ 29 h 408"/>
                <a:gd name="T4" fmla="*/ 126 w 143"/>
                <a:gd name="T5" fmla="*/ 83 h 408"/>
                <a:gd name="T6" fmla="*/ 105 w 143"/>
                <a:gd name="T7" fmla="*/ 171 h 408"/>
                <a:gd name="T8" fmla="*/ 130 w 143"/>
                <a:gd name="T9" fmla="*/ 295 h 408"/>
                <a:gd name="T10" fmla="*/ 119 w 143"/>
                <a:gd name="T11" fmla="*/ 367 h 408"/>
                <a:gd name="T12" fmla="*/ 53 w 143"/>
                <a:gd name="T13" fmla="*/ 397 h 408"/>
                <a:gd name="T14" fmla="*/ 27 w 143"/>
                <a:gd name="T15" fmla="*/ 330 h 408"/>
                <a:gd name="T16" fmla="*/ 24 w 143"/>
                <a:gd name="T17" fmla="*/ 269 h 408"/>
                <a:gd name="T18" fmla="*/ 2 w 143"/>
                <a:gd name="T19" fmla="*/ 126 h 408"/>
                <a:gd name="T20" fmla="*/ 51 w 143"/>
                <a:gd name="T21" fmla="*/ 15 h 408"/>
                <a:gd name="T22" fmla="*/ 81 w 143"/>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408">
                  <a:moveTo>
                    <a:pt x="81" y="0"/>
                  </a:moveTo>
                  <a:cubicBezTo>
                    <a:pt x="108" y="1"/>
                    <a:pt x="125" y="10"/>
                    <a:pt x="134" y="29"/>
                  </a:cubicBezTo>
                  <a:cubicBezTo>
                    <a:pt x="143" y="48"/>
                    <a:pt x="141" y="69"/>
                    <a:pt x="126" y="83"/>
                  </a:cubicBezTo>
                  <a:cubicBezTo>
                    <a:pt x="96" y="108"/>
                    <a:pt x="99" y="139"/>
                    <a:pt x="105" y="171"/>
                  </a:cubicBezTo>
                  <a:cubicBezTo>
                    <a:pt x="112" y="212"/>
                    <a:pt x="125" y="253"/>
                    <a:pt x="130" y="295"/>
                  </a:cubicBezTo>
                  <a:cubicBezTo>
                    <a:pt x="133" y="318"/>
                    <a:pt x="127" y="344"/>
                    <a:pt x="119" y="367"/>
                  </a:cubicBezTo>
                  <a:cubicBezTo>
                    <a:pt x="109" y="396"/>
                    <a:pt x="78" y="408"/>
                    <a:pt x="53" y="397"/>
                  </a:cubicBezTo>
                  <a:cubicBezTo>
                    <a:pt x="26" y="386"/>
                    <a:pt x="20" y="362"/>
                    <a:pt x="27" y="330"/>
                  </a:cubicBezTo>
                  <a:cubicBezTo>
                    <a:pt x="32" y="311"/>
                    <a:pt x="30" y="288"/>
                    <a:pt x="24" y="269"/>
                  </a:cubicBezTo>
                  <a:cubicBezTo>
                    <a:pt x="8" y="222"/>
                    <a:pt x="0" y="175"/>
                    <a:pt x="2" y="126"/>
                  </a:cubicBezTo>
                  <a:cubicBezTo>
                    <a:pt x="4" y="82"/>
                    <a:pt x="15" y="43"/>
                    <a:pt x="51" y="15"/>
                  </a:cubicBezTo>
                  <a:cubicBezTo>
                    <a:pt x="61" y="7"/>
                    <a:pt x="74" y="3"/>
                    <a:pt x="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33"/>
            <p:cNvSpPr>
              <a:spLocks/>
            </p:cNvSpPr>
            <p:nvPr/>
          </p:nvSpPr>
          <p:spPr bwMode="auto">
            <a:xfrm>
              <a:off x="2284929" y="1371281"/>
              <a:ext cx="45719" cy="51645"/>
            </a:xfrm>
            <a:custGeom>
              <a:avLst/>
              <a:gdLst>
                <a:gd name="T0" fmla="*/ 81 w 144"/>
                <a:gd name="T1" fmla="*/ 0 h 411"/>
                <a:gd name="T2" fmla="*/ 135 w 144"/>
                <a:gd name="T3" fmla="*/ 29 h 411"/>
                <a:gd name="T4" fmla="*/ 127 w 144"/>
                <a:gd name="T5" fmla="*/ 83 h 411"/>
                <a:gd name="T6" fmla="*/ 106 w 144"/>
                <a:gd name="T7" fmla="*/ 170 h 411"/>
                <a:gd name="T8" fmla="*/ 129 w 144"/>
                <a:gd name="T9" fmla="*/ 267 h 411"/>
                <a:gd name="T10" fmla="*/ 118 w 144"/>
                <a:gd name="T11" fmla="*/ 372 h 411"/>
                <a:gd name="T12" fmla="*/ 36 w 144"/>
                <a:gd name="T13" fmla="*/ 384 h 411"/>
                <a:gd name="T14" fmla="*/ 26 w 144"/>
                <a:gd name="T15" fmla="*/ 340 h 411"/>
                <a:gd name="T16" fmla="*/ 25 w 144"/>
                <a:gd name="T17" fmla="*/ 267 h 411"/>
                <a:gd name="T18" fmla="*/ 3 w 144"/>
                <a:gd name="T19" fmla="*/ 118 h 411"/>
                <a:gd name="T20" fmla="*/ 52 w 144"/>
                <a:gd name="T21" fmla="*/ 15 h 411"/>
                <a:gd name="T22" fmla="*/ 81 w 144"/>
                <a:gd name="T23"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411">
                  <a:moveTo>
                    <a:pt x="81" y="0"/>
                  </a:moveTo>
                  <a:cubicBezTo>
                    <a:pt x="109" y="1"/>
                    <a:pt x="126" y="10"/>
                    <a:pt x="135" y="29"/>
                  </a:cubicBezTo>
                  <a:cubicBezTo>
                    <a:pt x="144" y="48"/>
                    <a:pt x="142" y="69"/>
                    <a:pt x="127" y="83"/>
                  </a:cubicBezTo>
                  <a:cubicBezTo>
                    <a:pt x="97" y="108"/>
                    <a:pt x="100" y="139"/>
                    <a:pt x="106" y="170"/>
                  </a:cubicBezTo>
                  <a:cubicBezTo>
                    <a:pt x="112" y="203"/>
                    <a:pt x="122" y="235"/>
                    <a:pt x="129" y="267"/>
                  </a:cubicBezTo>
                  <a:cubicBezTo>
                    <a:pt x="136" y="303"/>
                    <a:pt x="136" y="339"/>
                    <a:pt x="118" y="372"/>
                  </a:cubicBezTo>
                  <a:cubicBezTo>
                    <a:pt x="101" y="405"/>
                    <a:pt x="60" y="411"/>
                    <a:pt x="36" y="384"/>
                  </a:cubicBezTo>
                  <a:cubicBezTo>
                    <a:pt x="25" y="372"/>
                    <a:pt x="19" y="356"/>
                    <a:pt x="26" y="340"/>
                  </a:cubicBezTo>
                  <a:cubicBezTo>
                    <a:pt x="37" y="315"/>
                    <a:pt x="34" y="291"/>
                    <a:pt x="25" y="267"/>
                  </a:cubicBezTo>
                  <a:cubicBezTo>
                    <a:pt x="6" y="219"/>
                    <a:pt x="0" y="169"/>
                    <a:pt x="3" y="118"/>
                  </a:cubicBezTo>
                  <a:cubicBezTo>
                    <a:pt x="6" y="77"/>
                    <a:pt x="19" y="41"/>
                    <a:pt x="52" y="15"/>
                  </a:cubicBezTo>
                  <a:cubicBezTo>
                    <a:pt x="62" y="7"/>
                    <a:pt x="75" y="3"/>
                    <a:pt x="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34"/>
            <p:cNvSpPr>
              <a:spLocks/>
            </p:cNvSpPr>
            <p:nvPr/>
          </p:nvSpPr>
          <p:spPr bwMode="auto">
            <a:xfrm>
              <a:off x="2232432" y="1371281"/>
              <a:ext cx="45719" cy="51133"/>
            </a:xfrm>
            <a:custGeom>
              <a:avLst/>
              <a:gdLst>
                <a:gd name="T0" fmla="*/ 78 w 141"/>
                <a:gd name="T1" fmla="*/ 0 h 407"/>
                <a:gd name="T2" fmla="*/ 132 w 141"/>
                <a:gd name="T3" fmla="*/ 29 h 407"/>
                <a:gd name="T4" fmla="*/ 124 w 141"/>
                <a:gd name="T5" fmla="*/ 82 h 407"/>
                <a:gd name="T6" fmla="*/ 104 w 141"/>
                <a:gd name="T7" fmla="*/ 178 h 407"/>
                <a:gd name="T8" fmla="*/ 127 w 141"/>
                <a:gd name="T9" fmla="*/ 275 h 407"/>
                <a:gd name="T10" fmla="*/ 116 w 141"/>
                <a:gd name="T11" fmla="*/ 373 h 407"/>
                <a:gd name="T12" fmla="*/ 55 w 141"/>
                <a:gd name="T13" fmla="*/ 398 h 407"/>
                <a:gd name="T14" fmla="*/ 26 w 141"/>
                <a:gd name="T15" fmla="*/ 340 h 407"/>
                <a:gd name="T16" fmla="*/ 23 w 141"/>
                <a:gd name="T17" fmla="*/ 262 h 407"/>
                <a:gd name="T18" fmla="*/ 5 w 141"/>
                <a:gd name="T19" fmla="*/ 93 h 407"/>
                <a:gd name="T20" fmla="*/ 53 w 141"/>
                <a:gd name="T21" fmla="*/ 11 h 407"/>
                <a:gd name="T22" fmla="*/ 78 w 141"/>
                <a:gd name="T2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407">
                  <a:moveTo>
                    <a:pt x="78" y="0"/>
                  </a:moveTo>
                  <a:cubicBezTo>
                    <a:pt x="106" y="1"/>
                    <a:pt x="123" y="10"/>
                    <a:pt x="132" y="29"/>
                  </a:cubicBezTo>
                  <a:cubicBezTo>
                    <a:pt x="141" y="48"/>
                    <a:pt x="139" y="69"/>
                    <a:pt x="124" y="82"/>
                  </a:cubicBezTo>
                  <a:cubicBezTo>
                    <a:pt x="91" y="110"/>
                    <a:pt x="98" y="145"/>
                    <a:pt x="104" y="178"/>
                  </a:cubicBezTo>
                  <a:cubicBezTo>
                    <a:pt x="109" y="211"/>
                    <a:pt x="120" y="243"/>
                    <a:pt x="127" y="275"/>
                  </a:cubicBezTo>
                  <a:cubicBezTo>
                    <a:pt x="133" y="308"/>
                    <a:pt x="131" y="341"/>
                    <a:pt x="116" y="373"/>
                  </a:cubicBezTo>
                  <a:cubicBezTo>
                    <a:pt x="104" y="396"/>
                    <a:pt x="79" y="407"/>
                    <a:pt x="55" y="398"/>
                  </a:cubicBezTo>
                  <a:cubicBezTo>
                    <a:pt x="32" y="389"/>
                    <a:pt x="17" y="363"/>
                    <a:pt x="26" y="340"/>
                  </a:cubicBezTo>
                  <a:cubicBezTo>
                    <a:pt x="38" y="312"/>
                    <a:pt x="33" y="287"/>
                    <a:pt x="23" y="262"/>
                  </a:cubicBezTo>
                  <a:cubicBezTo>
                    <a:pt x="2" y="207"/>
                    <a:pt x="0" y="150"/>
                    <a:pt x="5" y="93"/>
                  </a:cubicBezTo>
                  <a:cubicBezTo>
                    <a:pt x="8" y="59"/>
                    <a:pt x="25" y="31"/>
                    <a:pt x="53" y="11"/>
                  </a:cubicBezTo>
                  <a:cubicBezTo>
                    <a:pt x="62" y="5"/>
                    <a:pt x="73" y="2"/>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35"/>
            <p:cNvSpPr>
              <a:spLocks/>
            </p:cNvSpPr>
            <p:nvPr/>
          </p:nvSpPr>
          <p:spPr bwMode="auto">
            <a:xfrm>
              <a:off x="2337425" y="1370137"/>
              <a:ext cx="45719" cy="51773"/>
            </a:xfrm>
            <a:custGeom>
              <a:avLst/>
              <a:gdLst>
                <a:gd name="T0" fmla="*/ 133 w 143"/>
                <a:gd name="T1" fmla="*/ 315 h 412"/>
                <a:gd name="T2" fmla="*/ 115 w 143"/>
                <a:gd name="T3" fmla="*/ 379 h 412"/>
                <a:gd name="T4" fmla="*/ 56 w 143"/>
                <a:gd name="T5" fmla="*/ 404 h 412"/>
                <a:gd name="T6" fmla="*/ 27 w 143"/>
                <a:gd name="T7" fmla="*/ 346 h 412"/>
                <a:gd name="T8" fmla="*/ 24 w 143"/>
                <a:gd name="T9" fmla="*/ 270 h 412"/>
                <a:gd name="T10" fmla="*/ 5 w 143"/>
                <a:gd name="T11" fmla="*/ 101 h 412"/>
                <a:gd name="T12" fmla="*/ 59 w 143"/>
                <a:gd name="T13" fmla="*/ 14 h 412"/>
                <a:gd name="T14" fmla="*/ 126 w 143"/>
                <a:gd name="T15" fmla="*/ 25 h 412"/>
                <a:gd name="T16" fmla="*/ 125 w 143"/>
                <a:gd name="T17" fmla="*/ 87 h 412"/>
                <a:gd name="T18" fmla="*/ 105 w 143"/>
                <a:gd name="T19" fmla="*/ 189 h 412"/>
                <a:gd name="T20" fmla="*/ 126 w 143"/>
                <a:gd name="T21" fmla="*/ 278 h 412"/>
                <a:gd name="T22" fmla="*/ 130 w 143"/>
                <a:gd name="T23" fmla="*/ 313 h 412"/>
                <a:gd name="T24" fmla="*/ 133 w 143"/>
                <a:gd name="T25" fmla="*/ 315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 h="412">
                  <a:moveTo>
                    <a:pt x="133" y="315"/>
                  </a:moveTo>
                  <a:cubicBezTo>
                    <a:pt x="127" y="336"/>
                    <a:pt x="123" y="358"/>
                    <a:pt x="115" y="379"/>
                  </a:cubicBezTo>
                  <a:cubicBezTo>
                    <a:pt x="106" y="402"/>
                    <a:pt x="78" y="412"/>
                    <a:pt x="56" y="404"/>
                  </a:cubicBezTo>
                  <a:cubicBezTo>
                    <a:pt x="34" y="395"/>
                    <a:pt x="18" y="368"/>
                    <a:pt x="27" y="346"/>
                  </a:cubicBezTo>
                  <a:cubicBezTo>
                    <a:pt x="37" y="319"/>
                    <a:pt x="33" y="294"/>
                    <a:pt x="24" y="270"/>
                  </a:cubicBezTo>
                  <a:cubicBezTo>
                    <a:pt x="3" y="215"/>
                    <a:pt x="0" y="158"/>
                    <a:pt x="5" y="101"/>
                  </a:cubicBezTo>
                  <a:cubicBezTo>
                    <a:pt x="8" y="63"/>
                    <a:pt x="27" y="34"/>
                    <a:pt x="59" y="14"/>
                  </a:cubicBezTo>
                  <a:cubicBezTo>
                    <a:pt x="80" y="0"/>
                    <a:pt x="109" y="5"/>
                    <a:pt x="126" y="25"/>
                  </a:cubicBezTo>
                  <a:cubicBezTo>
                    <a:pt x="140" y="42"/>
                    <a:pt x="143" y="71"/>
                    <a:pt x="125" y="87"/>
                  </a:cubicBezTo>
                  <a:cubicBezTo>
                    <a:pt x="91" y="117"/>
                    <a:pt x="98" y="153"/>
                    <a:pt x="105" y="189"/>
                  </a:cubicBezTo>
                  <a:cubicBezTo>
                    <a:pt x="110" y="219"/>
                    <a:pt x="119" y="248"/>
                    <a:pt x="126" y="278"/>
                  </a:cubicBezTo>
                  <a:cubicBezTo>
                    <a:pt x="129" y="289"/>
                    <a:pt x="129" y="302"/>
                    <a:pt x="130" y="313"/>
                  </a:cubicBezTo>
                  <a:cubicBezTo>
                    <a:pt x="131" y="314"/>
                    <a:pt x="132" y="314"/>
                    <a:pt x="133"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1" name="Group 270"/>
          <p:cNvGrpSpPr/>
          <p:nvPr/>
        </p:nvGrpSpPr>
        <p:grpSpPr>
          <a:xfrm>
            <a:off x="1529961" y="2557772"/>
            <a:ext cx="2079799" cy="1464394"/>
            <a:chOff x="1529960" y="2557772"/>
            <a:chExt cx="2079799" cy="1464394"/>
          </a:xfrm>
        </p:grpSpPr>
        <p:sp>
          <p:nvSpPr>
            <p:cNvPr id="272" name="Rechthoek 18"/>
            <p:cNvSpPr/>
            <p:nvPr/>
          </p:nvSpPr>
          <p:spPr>
            <a:xfrm>
              <a:off x="2067152" y="2581701"/>
              <a:ext cx="428084" cy="1429973"/>
            </a:xfrm>
            <a:prstGeom prst="rect">
              <a:avLst/>
            </a:prstGeom>
            <a:solidFill>
              <a:srgbClr val="F1592A"/>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3" name="Rechthoek 71"/>
            <p:cNvSpPr/>
            <p:nvPr/>
          </p:nvSpPr>
          <p:spPr>
            <a:xfrm>
              <a:off x="1529960" y="2557772"/>
              <a:ext cx="1903690" cy="1464394"/>
            </a:xfrm>
            <a:prstGeom prst="rect">
              <a:avLst/>
            </a:prstGeom>
            <a:noFill/>
            <a:ln w="25400">
              <a:solidFill>
                <a:srgbClr val="F1592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274"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8778" y="3045763"/>
              <a:ext cx="386409" cy="322402"/>
            </a:xfrm>
            <a:prstGeom prst="rect">
              <a:avLst/>
            </a:prstGeom>
          </p:spPr>
        </p:pic>
        <p:sp>
          <p:nvSpPr>
            <p:cNvPr id="275" name="TextBox 94"/>
            <p:cNvSpPr txBox="1"/>
            <p:nvPr/>
          </p:nvSpPr>
          <p:spPr>
            <a:xfrm>
              <a:off x="2484601" y="2650357"/>
              <a:ext cx="1125158" cy="1323439"/>
            </a:xfrm>
            <a:prstGeom prst="rect">
              <a:avLst/>
            </a:prstGeom>
            <a:noFill/>
          </p:spPr>
          <p:txBody>
            <a:bodyPr wrap="square" rtlCol="0">
              <a:spAutoFit/>
            </a:bodyPr>
            <a:lstStyle>
              <a:defPPr>
                <a:defRPr lang="nl-NL"/>
              </a:defPPr>
              <a:lvl1pPr>
                <a:lnSpc>
                  <a:spcPts val="1200"/>
                </a:lnSpc>
                <a:defRPr sz="1200">
                  <a:latin typeface="Calibri" pitchFamily="34" charset="0"/>
                </a:defRPr>
              </a:lvl1pPr>
            </a:lstStyle>
            <a:p>
              <a:r>
                <a:rPr lang="nl-NL" dirty="0"/>
                <a:t>Heat </a:t>
              </a:r>
              <a:r>
                <a:rPr lang="nl-NL" dirty="0" smtClean="0"/>
                <a:t>Pump</a:t>
              </a:r>
            </a:p>
            <a:p>
              <a:endParaRPr lang="nl-NL" dirty="0"/>
            </a:p>
            <a:p>
              <a:r>
                <a:rPr lang="nl-NL" dirty="0" smtClean="0"/>
                <a:t>Solar</a:t>
              </a:r>
            </a:p>
            <a:p>
              <a:endParaRPr lang="nl-NL" dirty="0"/>
            </a:p>
            <a:p>
              <a:r>
                <a:rPr lang="nl-NL" dirty="0"/>
                <a:t>Electric </a:t>
              </a:r>
              <a:endParaRPr lang="nl-NL" dirty="0" smtClean="0"/>
            </a:p>
            <a:p>
              <a:r>
                <a:rPr lang="nl-NL" dirty="0" smtClean="0"/>
                <a:t>Vehicle</a:t>
              </a:r>
            </a:p>
            <a:p>
              <a:endParaRPr lang="nl-NL" dirty="0"/>
            </a:p>
            <a:p>
              <a:r>
                <a:rPr lang="nl-NL" dirty="0"/>
                <a:t>Airco System</a:t>
              </a:r>
              <a:endParaRPr lang="en-US" dirty="0"/>
            </a:p>
          </p:txBody>
        </p:sp>
        <p:grpSp>
          <p:nvGrpSpPr>
            <p:cNvPr id="276" name="Group 43"/>
            <p:cNvGrpSpPr>
              <a:grpSpLocks noChangeAspect="1"/>
            </p:cNvGrpSpPr>
            <p:nvPr/>
          </p:nvGrpSpPr>
          <p:grpSpPr bwMode="auto">
            <a:xfrm>
              <a:off x="2155554" y="2644325"/>
              <a:ext cx="264177" cy="264177"/>
              <a:chOff x="4694" y="892"/>
              <a:chExt cx="959" cy="959"/>
            </a:xfrm>
            <a:solidFill>
              <a:schemeClr val="bg1"/>
            </a:solidFill>
          </p:grpSpPr>
          <p:sp>
            <p:nvSpPr>
              <p:cNvPr id="286" name="Freeform 44"/>
              <p:cNvSpPr>
                <a:spLocks noEditPoints="1"/>
              </p:cNvSpPr>
              <p:nvPr/>
            </p:nvSpPr>
            <p:spPr bwMode="auto">
              <a:xfrm>
                <a:off x="4694" y="892"/>
                <a:ext cx="959" cy="959"/>
              </a:xfrm>
              <a:custGeom>
                <a:avLst/>
                <a:gdLst>
                  <a:gd name="T0" fmla="*/ 74 w 521"/>
                  <a:gd name="T1" fmla="*/ 219 h 521"/>
                  <a:gd name="T2" fmla="*/ 99 w 521"/>
                  <a:gd name="T3" fmla="*/ 158 h 521"/>
                  <a:gd name="T4" fmla="*/ 0 w 521"/>
                  <a:gd name="T5" fmla="*/ 153 h 521"/>
                  <a:gd name="T6" fmla="*/ 74 w 521"/>
                  <a:gd name="T7" fmla="*/ 219 h 521"/>
                  <a:gd name="T8" fmla="*/ 422 w 521"/>
                  <a:gd name="T9" fmla="*/ 363 h 521"/>
                  <a:gd name="T10" fmla="*/ 521 w 521"/>
                  <a:gd name="T11" fmla="*/ 368 h 521"/>
                  <a:gd name="T12" fmla="*/ 447 w 521"/>
                  <a:gd name="T13" fmla="*/ 302 h 521"/>
                  <a:gd name="T14" fmla="*/ 422 w 521"/>
                  <a:gd name="T15" fmla="*/ 363 h 521"/>
                  <a:gd name="T16" fmla="*/ 363 w 521"/>
                  <a:gd name="T17" fmla="*/ 99 h 521"/>
                  <a:gd name="T18" fmla="*/ 368 w 521"/>
                  <a:gd name="T19" fmla="*/ 0 h 521"/>
                  <a:gd name="T20" fmla="*/ 302 w 521"/>
                  <a:gd name="T21" fmla="*/ 74 h 521"/>
                  <a:gd name="T22" fmla="*/ 363 w 521"/>
                  <a:gd name="T23" fmla="*/ 99 h 521"/>
                  <a:gd name="T24" fmla="*/ 521 w 521"/>
                  <a:gd name="T25" fmla="*/ 153 h 521"/>
                  <a:gd name="T26" fmla="*/ 422 w 521"/>
                  <a:gd name="T27" fmla="*/ 158 h 521"/>
                  <a:gd name="T28" fmla="*/ 447 w 521"/>
                  <a:gd name="T29" fmla="*/ 219 h 521"/>
                  <a:gd name="T30" fmla="*/ 521 w 521"/>
                  <a:gd name="T31" fmla="*/ 153 h 521"/>
                  <a:gd name="T32" fmla="*/ 158 w 521"/>
                  <a:gd name="T33" fmla="*/ 99 h 521"/>
                  <a:gd name="T34" fmla="*/ 219 w 521"/>
                  <a:gd name="T35" fmla="*/ 74 h 521"/>
                  <a:gd name="T36" fmla="*/ 153 w 521"/>
                  <a:gd name="T37" fmla="*/ 0 h 521"/>
                  <a:gd name="T38" fmla="*/ 158 w 521"/>
                  <a:gd name="T39" fmla="*/ 99 h 521"/>
                  <a:gd name="T40" fmla="*/ 0 w 521"/>
                  <a:gd name="T41" fmla="*/ 368 h 521"/>
                  <a:gd name="T42" fmla="*/ 99 w 521"/>
                  <a:gd name="T43" fmla="*/ 363 h 521"/>
                  <a:gd name="T44" fmla="*/ 74 w 521"/>
                  <a:gd name="T45" fmla="*/ 302 h 521"/>
                  <a:gd name="T46" fmla="*/ 0 w 521"/>
                  <a:gd name="T47" fmla="*/ 368 h 521"/>
                  <a:gd name="T48" fmla="*/ 302 w 521"/>
                  <a:gd name="T49" fmla="*/ 447 h 521"/>
                  <a:gd name="T50" fmla="*/ 368 w 521"/>
                  <a:gd name="T51" fmla="*/ 521 h 521"/>
                  <a:gd name="T52" fmla="*/ 363 w 521"/>
                  <a:gd name="T53" fmla="*/ 422 h 521"/>
                  <a:gd name="T54" fmla="*/ 302 w 521"/>
                  <a:gd name="T55" fmla="*/ 447 h 521"/>
                  <a:gd name="T56" fmla="*/ 153 w 521"/>
                  <a:gd name="T57" fmla="*/ 521 h 521"/>
                  <a:gd name="T58" fmla="*/ 219 w 521"/>
                  <a:gd name="T59" fmla="*/ 447 h 521"/>
                  <a:gd name="T60" fmla="*/ 158 w 521"/>
                  <a:gd name="T61" fmla="*/ 422 h 521"/>
                  <a:gd name="T62" fmla="*/ 153 w 521"/>
                  <a:gd name="T6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1" h="521">
                    <a:moveTo>
                      <a:pt x="74" y="219"/>
                    </a:moveTo>
                    <a:cubicBezTo>
                      <a:pt x="79" y="197"/>
                      <a:pt x="88" y="176"/>
                      <a:pt x="99" y="158"/>
                    </a:cubicBezTo>
                    <a:cubicBezTo>
                      <a:pt x="0" y="153"/>
                      <a:pt x="0" y="153"/>
                      <a:pt x="0" y="153"/>
                    </a:cubicBezTo>
                    <a:lnTo>
                      <a:pt x="74" y="219"/>
                    </a:lnTo>
                    <a:close/>
                    <a:moveTo>
                      <a:pt x="422" y="363"/>
                    </a:moveTo>
                    <a:cubicBezTo>
                      <a:pt x="521" y="368"/>
                      <a:pt x="521" y="368"/>
                      <a:pt x="521" y="368"/>
                    </a:cubicBezTo>
                    <a:cubicBezTo>
                      <a:pt x="447" y="302"/>
                      <a:pt x="447" y="302"/>
                      <a:pt x="447" y="302"/>
                    </a:cubicBezTo>
                    <a:cubicBezTo>
                      <a:pt x="442" y="324"/>
                      <a:pt x="434" y="345"/>
                      <a:pt x="422" y="363"/>
                    </a:cubicBezTo>
                    <a:close/>
                    <a:moveTo>
                      <a:pt x="363" y="99"/>
                    </a:moveTo>
                    <a:cubicBezTo>
                      <a:pt x="368" y="0"/>
                      <a:pt x="368" y="0"/>
                      <a:pt x="368" y="0"/>
                    </a:cubicBezTo>
                    <a:cubicBezTo>
                      <a:pt x="302" y="74"/>
                      <a:pt x="302" y="74"/>
                      <a:pt x="302" y="74"/>
                    </a:cubicBezTo>
                    <a:cubicBezTo>
                      <a:pt x="324" y="79"/>
                      <a:pt x="345" y="87"/>
                      <a:pt x="363" y="99"/>
                    </a:cubicBezTo>
                    <a:close/>
                    <a:moveTo>
                      <a:pt x="521" y="153"/>
                    </a:moveTo>
                    <a:cubicBezTo>
                      <a:pt x="422" y="158"/>
                      <a:pt x="422" y="158"/>
                      <a:pt x="422" y="158"/>
                    </a:cubicBezTo>
                    <a:cubicBezTo>
                      <a:pt x="434" y="176"/>
                      <a:pt x="442" y="197"/>
                      <a:pt x="447" y="219"/>
                    </a:cubicBezTo>
                    <a:lnTo>
                      <a:pt x="521" y="153"/>
                    </a:lnTo>
                    <a:close/>
                    <a:moveTo>
                      <a:pt x="158" y="99"/>
                    </a:moveTo>
                    <a:cubicBezTo>
                      <a:pt x="176" y="87"/>
                      <a:pt x="197" y="79"/>
                      <a:pt x="219" y="74"/>
                    </a:cubicBezTo>
                    <a:cubicBezTo>
                      <a:pt x="153" y="0"/>
                      <a:pt x="153" y="0"/>
                      <a:pt x="153" y="0"/>
                    </a:cubicBezTo>
                    <a:lnTo>
                      <a:pt x="158" y="99"/>
                    </a:lnTo>
                    <a:close/>
                    <a:moveTo>
                      <a:pt x="0" y="368"/>
                    </a:moveTo>
                    <a:cubicBezTo>
                      <a:pt x="99" y="363"/>
                      <a:pt x="99" y="363"/>
                      <a:pt x="99" y="363"/>
                    </a:cubicBezTo>
                    <a:cubicBezTo>
                      <a:pt x="88" y="345"/>
                      <a:pt x="79" y="324"/>
                      <a:pt x="74" y="302"/>
                    </a:cubicBezTo>
                    <a:lnTo>
                      <a:pt x="0" y="368"/>
                    </a:lnTo>
                    <a:close/>
                    <a:moveTo>
                      <a:pt x="302" y="447"/>
                    </a:moveTo>
                    <a:cubicBezTo>
                      <a:pt x="368" y="521"/>
                      <a:pt x="368" y="521"/>
                      <a:pt x="368" y="521"/>
                    </a:cubicBezTo>
                    <a:cubicBezTo>
                      <a:pt x="363" y="422"/>
                      <a:pt x="363" y="422"/>
                      <a:pt x="363" y="422"/>
                    </a:cubicBezTo>
                    <a:cubicBezTo>
                      <a:pt x="345" y="434"/>
                      <a:pt x="324" y="442"/>
                      <a:pt x="302" y="447"/>
                    </a:cubicBezTo>
                    <a:close/>
                    <a:moveTo>
                      <a:pt x="153" y="521"/>
                    </a:moveTo>
                    <a:cubicBezTo>
                      <a:pt x="219" y="447"/>
                      <a:pt x="219" y="447"/>
                      <a:pt x="219" y="447"/>
                    </a:cubicBezTo>
                    <a:cubicBezTo>
                      <a:pt x="197" y="442"/>
                      <a:pt x="176" y="434"/>
                      <a:pt x="158" y="422"/>
                    </a:cubicBezTo>
                    <a:lnTo>
                      <a:pt x="153" y="521"/>
                    </a:lnTo>
                    <a:close/>
                  </a:path>
                </a:pathLst>
              </a:custGeom>
              <a:grpFill/>
              <a:ln w="10795">
                <a:noFill/>
                <a:round/>
                <a:headEnd/>
                <a:tailEnd/>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87" name="Oval 45"/>
              <p:cNvSpPr>
                <a:spLocks noChangeArrowheads="1"/>
              </p:cNvSpPr>
              <p:nvPr/>
            </p:nvSpPr>
            <p:spPr bwMode="auto">
              <a:xfrm>
                <a:off x="4891" y="1089"/>
                <a:ext cx="565" cy="565"/>
              </a:xfrm>
              <a:prstGeom prst="ellipse">
                <a:avLst/>
              </a:prstGeom>
              <a:grpFill/>
              <a:ln w="10795">
                <a:noFill/>
                <a:round/>
                <a:headEnd/>
                <a:tailEnd/>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grpSp>
          <p:nvGrpSpPr>
            <p:cNvPr id="277" name="Group 4"/>
            <p:cNvGrpSpPr>
              <a:grpSpLocks noChangeAspect="1"/>
            </p:cNvGrpSpPr>
            <p:nvPr/>
          </p:nvGrpSpPr>
          <p:grpSpPr bwMode="auto">
            <a:xfrm flipH="1">
              <a:off x="2103264" y="2977689"/>
              <a:ext cx="327409" cy="211261"/>
              <a:chOff x="1079" y="734"/>
              <a:chExt cx="1790" cy="1155"/>
            </a:xfrm>
            <a:solidFill>
              <a:schemeClr val="bg1"/>
            </a:solidFill>
          </p:grpSpPr>
          <p:sp>
            <p:nvSpPr>
              <p:cNvPr id="280" name="Freeform 5"/>
              <p:cNvSpPr>
                <a:spLocks noEditPoints="1"/>
              </p:cNvSpPr>
              <p:nvPr/>
            </p:nvSpPr>
            <p:spPr bwMode="auto">
              <a:xfrm>
                <a:off x="1079" y="852"/>
                <a:ext cx="1137" cy="1000"/>
              </a:xfrm>
              <a:custGeom>
                <a:avLst/>
                <a:gdLst>
                  <a:gd name="T0" fmla="*/ 65 w 1480"/>
                  <a:gd name="T1" fmla="*/ 1300 h 1301"/>
                  <a:gd name="T2" fmla="*/ 96 w 1480"/>
                  <a:gd name="T3" fmla="*/ 702 h 1301"/>
                  <a:gd name="T4" fmla="*/ 207 w 1480"/>
                  <a:gd name="T5" fmla="*/ 46 h 1301"/>
                  <a:gd name="T6" fmla="*/ 750 w 1480"/>
                  <a:gd name="T7" fmla="*/ 0 h 1301"/>
                  <a:gd name="T8" fmla="*/ 1294 w 1480"/>
                  <a:gd name="T9" fmla="*/ 51 h 1301"/>
                  <a:gd name="T10" fmla="*/ 1473 w 1480"/>
                  <a:gd name="T11" fmla="*/ 1230 h 1301"/>
                  <a:gd name="T12" fmla="*/ 958 w 1480"/>
                  <a:gd name="T13" fmla="*/ 1300 h 1301"/>
                  <a:gd name="T14" fmla="*/ 911 w 1480"/>
                  <a:gd name="T15" fmla="*/ 1100 h 1301"/>
                  <a:gd name="T16" fmla="*/ 926 w 1480"/>
                  <a:gd name="T17" fmla="*/ 887 h 1301"/>
                  <a:gd name="T18" fmla="*/ 582 w 1480"/>
                  <a:gd name="T19" fmla="*/ 860 h 1301"/>
                  <a:gd name="T20" fmla="*/ 538 w 1480"/>
                  <a:gd name="T21" fmla="*/ 1062 h 1301"/>
                  <a:gd name="T22" fmla="*/ 739 w 1480"/>
                  <a:gd name="T23" fmla="*/ 1100 h 1301"/>
                  <a:gd name="T24" fmla="*/ 882 w 1480"/>
                  <a:gd name="T25" fmla="*/ 773 h 1301"/>
                  <a:gd name="T26" fmla="*/ 897 w 1480"/>
                  <a:gd name="T27" fmla="*/ 582 h 1301"/>
                  <a:gd name="T28" fmla="*/ 614 w 1480"/>
                  <a:gd name="T29" fmla="*/ 550 h 1301"/>
                  <a:gd name="T30" fmla="*/ 570 w 1480"/>
                  <a:gd name="T31" fmla="*/ 737 h 1301"/>
                  <a:gd name="T32" fmla="*/ 741 w 1480"/>
                  <a:gd name="T33" fmla="*/ 773 h 1301"/>
                  <a:gd name="T34" fmla="*/ 852 w 1480"/>
                  <a:gd name="T35" fmla="*/ 463 h 1301"/>
                  <a:gd name="T36" fmla="*/ 878 w 1480"/>
                  <a:gd name="T37" fmla="*/ 374 h 1301"/>
                  <a:gd name="T38" fmla="*/ 827 w 1480"/>
                  <a:gd name="T39" fmla="*/ 200 h 1301"/>
                  <a:gd name="T40" fmla="*/ 620 w 1480"/>
                  <a:gd name="T41" fmla="*/ 226 h 1301"/>
                  <a:gd name="T42" fmla="*/ 634 w 1480"/>
                  <a:gd name="T43" fmla="*/ 463 h 1301"/>
                  <a:gd name="T44" fmla="*/ 1145 w 1480"/>
                  <a:gd name="T45" fmla="*/ 1100 h 1301"/>
                  <a:gd name="T46" fmla="*/ 1277 w 1480"/>
                  <a:gd name="T47" fmla="*/ 1067 h 1301"/>
                  <a:gd name="T48" fmla="*/ 1220 w 1480"/>
                  <a:gd name="T49" fmla="*/ 860 h 1301"/>
                  <a:gd name="T50" fmla="*/ 997 w 1480"/>
                  <a:gd name="T51" fmla="*/ 890 h 1301"/>
                  <a:gd name="T52" fmla="*/ 1047 w 1480"/>
                  <a:gd name="T53" fmla="*/ 1100 h 1301"/>
                  <a:gd name="T54" fmla="*/ 334 w 1480"/>
                  <a:gd name="T55" fmla="*/ 1100 h 1301"/>
                  <a:gd name="T56" fmla="*/ 466 w 1480"/>
                  <a:gd name="T57" fmla="*/ 1076 h 1301"/>
                  <a:gd name="T58" fmla="*/ 446 w 1480"/>
                  <a:gd name="T59" fmla="*/ 860 h 1301"/>
                  <a:gd name="T60" fmla="*/ 231 w 1480"/>
                  <a:gd name="T61" fmla="*/ 894 h 1301"/>
                  <a:gd name="T62" fmla="*/ 237 w 1480"/>
                  <a:gd name="T63" fmla="*/ 1100 h 1301"/>
                  <a:gd name="T64" fmla="*/ 1067 w 1480"/>
                  <a:gd name="T65" fmla="*/ 467 h 1301"/>
                  <a:gd name="T66" fmla="*/ 1179 w 1480"/>
                  <a:gd name="T67" fmla="*/ 427 h 1301"/>
                  <a:gd name="T68" fmla="*/ 1114 w 1480"/>
                  <a:gd name="T69" fmla="*/ 200 h 1301"/>
                  <a:gd name="T70" fmla="*/ 934 w 1480"/>
                  <a:gd name="T71" fmla="*/ 238 h 1301"/>
                  <a:gd name="T72" fmla="*/ 991 w 1480"/>
                  <a:gd name="T73" fmla="*/ 467 h 1301"/>
                  <a:gd name="T74" fmla="*/ 422 w 1480"/>
                  <a:gd name="T75" fmla="*/ 463 h 1301"/>
                  <a:gd name="T76" fmla="*/ 530 w 1480"/>
                  <a:gd name="T77" fmla="*/ 434 h 1301"/>
                  <a:gd name="T78" fmla="*/ 549 w 1480"/>
                  <a:gd name="T79" fmla="*/ 239 h 1301"/>
                  <a:gd name="T80" fmla="*/ 379 w 1480"/>
                  <a:gd name="T81" fmla="*/ 200 h 1301"/>
                  <a:gd name="T82" fmla="*/ 314 w 1480"/>
                  <a:gd name="T83" fmla="*/ 428 h 1301"/>
                  <a:gd name="T84" fmla="*/ 422 w 1480"/>
                  <a:gd name="T85" fmla="*/ 463 h 1301"/>
                  <a:gd name="T86" fmla="*/ 1197 w 1480"/>
                  <a:gd name="T87" fmla="*/ 776 h 1301"/>
                  <a:gd name="T88" fmla="*/ 1202 w 1480"/>
                  <a:gd name="T89" fmla="*/ 574 h 1301"/>
                  <a:gd name="T90" fmla="*/ 997 w 1480"/>
                  <a:gd name="T91" fmla="*/ 550 h 1301"/>
                  <a:gd name="T92" fmla="*/ 983 w 1480"/>
                  <a:gd name="T93" fmla="*/ 741 h 1301"/>
                  <a:gd name="T94" fmla="*/ 1109 w 1480"/>
                  <a:gd name="T95" fmla="*/ 776 h 1301"/>
                  <a:gd name="T96" fmla="*/ 466 w 1480"/>
                  <a:gd name="T97" fmla="*/ 773 h 1301"/>
                  <a:gd name="T98" fmla="*/ 513 w 1480"/>
                  <a:gd name="T99" fmla="*/ 585 h 1301"/>
                  <a:gd name="T100" fmla="*/ 322 w 1480"/>
                  <a:gd name="T101" fmla="*/ 547 h 1301"/>
                  <a:gd name="T102" fmla="*/ 260 w 1480"/>
                  <a:gd name="T103" fmla="*/ 735 h 1301"/>
                  <a:gd name="T104" fmla="*/ 378 w 1480"/>
                  <a:gd name="T105" fmla="*/ 773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0" h="1301">
                    <a:moveTo>
                      <a:pt x="525" y="1300"/>
                    </a:moveTo>
                    <a:cubicBezTo>
                      <a:pt x="372" y="1300"/>
                      <a:pt x="219" y="1299"/>
                      <a:pt x="65" y="1300"/>
                    </a:cubicBezTo>
                    <a:cubicBezTo>
                      <a:pt x="25" y="1301"/>
                      <a:pt x="0" y="1273"/>
                      <a:pt x="7" y="1232"/>
                    </a:cubicBezTo>
                    <a:cubicBezTo>
                      <a:pt x="36" y="1055"/>
                      <a:pt x="66" y="878"/>
                      <a:pt x="96" y="702"/>
                    </a:cubicBezTo>
                    <a:cubicBezTo>
                      <a:pt x="132" y="492"/>
                      <a:pt x="167" y="283"/>
                      <a:pt x="202" y="74"/>
                    </a:cubicBezTo>
                    <a:cubicBezTo>
                      <a:pt x="204" y="64"/>
                      <a:pt x="205" y="55"/>
                      <a:pt x="207" y="46"/>
                    </a:cubicBezTo>
                    <a:cubicBezTo>
                      <a:pt x="212" y="15"/>
                      <a:pt x="230" y="0"/>
                      <a:pt x="262" y="0"/>
                    </a:cubicBezTo>
                    <a:cubicBezTo>
                      <a:pt x="424" y="0"/>
                      <a:pt x="587" y="0"/>
                      <a:pt x="750" y="0"/>
                    </a:cubicBezTo>
                    <a:cubicBezTo>
                      <a:pt x="912" y="0"/>
                      <a:pt x="1074" y="0"/>
                      <a:pt x="1236" y="0"/>
                    </a:cubicBezTo>
                    <a:cubicBezTo>
                      <a:pt x="1272" y="0"/>
                      <a:pt x="1289" y="15"/>
                      <a:pt x="1294" y="51"/>
                    </a:cubicBezTo>
                    <a:cubicBezTo>
                      <a:pt x="1331" y="294"/>
                      <a:pt x="1368" y="537"/>
                      <a:pt x="1405" y="780"/>
                    </a:cubicBezTo>
                    <a:cubicBezTo>
                      <a:pt x="1428" y="930"/>
                      <a:pt x="1450" y="1080"/>
                      <a:pt x="1473" y="1230"/>
                    </a:cubicBezTo>
                    <a:cubicBezTo>
                      <a:pt x="1480" y="1272"/>
                      <a:pt x="1456" y="1301"/>
                      <a:pt x="1414" y="1300"/>
                    </a:cubicBezTo>
                    <a:cubicBezTo>
                      <a:pt x="1262" y="1299"/>
                      <a:pt x="1110" y="1300"/>
                      <a:pt x="958" y="1300"/>
                    </a:cubicBezTo>
                    <a:moveTo>
                      <a:pt x="739" y="1100"/>
                    </a:moveTo>
                    <a:cubicBezTo>
                      <a:pt x="796" y="1100"/>
                      <a:pt x="854" y="1100"/>
                      <a:pt x="911" y="1100"/>
                    </a:cubicBezTo>
                    <a:cubicBezTo>
                      <a:pt x="933" y="1099"/>
                      <a:pt x="945" y="1089"/>
                      <a:pt x="943" y="1068"/>
                    </a:cubicBezTo>
                    <a:cubicBezTo>
                      <a:pt x="938" y="1008"/>
                      <a:pt x="932" y="948"/>
                      <a:pt x="926" y="887"/>
                    </a:cubicBezTo>
                    <a:cubicBezTo>
                      <a:pt x="924" y="872"/>
                      <a:pt x="915" y="860"/>
                      <a:pt x="897" y="860"/>
                    </a:cubicBezTo>
                    <a:cubicBezTo>
                      <a:pt x="792" y="860"/>
                      <a:pt x="687" y="860"/>
                      <a:pt x="582" y="860"/>
                    </a:cubicBezTo>
                    <a:cubicBezTo>
                      <a:pt x="566" y="860"/>
                      <a:pt x="555" y="868"/>
                      <a:pt x="554" y="885"/>
                    </a:cubicBezTo>
                    <a:cubicBezTo>
                      <a:pt x="548" y="944"/>
                      <a:pt x="542" y="1003"/>
                      <a:pt x="538" y="1062"/>
                    </a:cubicBezTo>
                    <a:cubicBezTo>
                      <a:pt x="535" y="1089"/>
                      <a:pt x="546" y="1100"/>
                      <a:pt x="573" y="1100"/>
                    </a:cubicBezTo>
                    <a:cubicBezTo>
                      <a:pt x="629" y="1100"/>
                      <a:pt x="684" y="1100"/>
                      <a:pt x="739" y="1100"/>
                    </a:cubicBezTo>
                    <a:close/>
                    <a:moveTo>
                      <a:pt x="741" y="773"/>
                    </a:moveTo>
                    <a:cubicBezTo>
                      <a:pt x="788" y="773"/>
                      <a:pt x="835" y="773"/>
                      <a:pt x="882" y="773"/>
                    </a:cubicBezTo>
                    <a:cubicBezTo>
                      <a:pt x="906" y="772"/>
                      <a:pt x="916" y="762"/>
                      <a:pt x="913" y="739"/>
                    </a:cubicBezTo>
                    <a:cubicBezTo>
                      <a:pt x="908" y="686"/>
                      <a:pt x="903" y="634"/>
                      <a:pt x="897" y="582"/>
                    </a:cubicBezTo>
                    <a:cubicBezTo>
                      <a:pt x="895" y="565"/>
                      <a:pt x="888" y="550"/>
                      <a:pt x="868" y="550"/>
                    </a:cubicBezTo>
                    <a:cubicBezTo>
                      <a:pt x="783" y="549"/>
                      <a:pt x="699" y="550"/>
                      <a:pt x="614" y="550"/>
                    </a:cubicBezTo>
                    <a:cubicBezTo>
                      <a:pt x="598" y="550"/>
                      <a:pt x="588" y="559"/>
                      <a:pt x="586" y="576"/>
                    </a:cubicBezTo>
                    <a:cubicBezTo>
                      <a:pt x="581" y="629"/>
                      <a:pt x="575" y="683"/>
                      <a:pt x="570" y="737"/>
                    </a:cubicBezTo>
                    <a:cubicBezTo>
                      <a:pt x="568" y="764"/>
                      <a:pt x="577" y="772"/>
                      <a:pt x="605" y="773"/>
                    </a:cubicBezTo>
                    <a:cubicBezTo>
                      <a:pt x="650" y="773"/>
                      <a:pt x="695" y="773"/>
                      <a:pt x="741" y="773"/>
                    </a:cubicBezTo>
                    <a:close/>
                    <a:moveTo>
                      <a:pt x="742" y="463"/>
                    </a:moveTo>
                    <a:cubicBezTo>
                      <a:pt x="779" y="463"/>
                      <a:pt x="815" y="464"/>
                      <a:pt x="852" y="463"/>
                    </a:cubicBezTo>
                    <a:cubicBezTo>
                      <a:pt x="875" y="463"/>
                      <a:pt x="884" y="452"/>
                      <a:pt x="883" y="429"/>
                    </a:cubicBezTo>
                    <a:cubicBezTo>
                      <a:pt x="882" y="411"/>
                      <a:pt x="880" y="392"/>
                      <a:pt x="878" y="374"/>
                    </a:cubicBezTo>
                    <a:cubicBezTo>
                      <a:pt x="873" y="327"/>
                      <a:pt x="869" y="279"/>
                      <a:pt x="864" y="233"/>
                    </a:cubicBezTo>
                    <a:cubicBezTo>
                      <a:pt x="861" y="208"/>
                      <a:pt x="851" y="200"/>
                      <a:pt x="827" y="200"/>
                    </a:cubicBezTo>
                    <a:cubicBezTo>
                      <a:pt x="769" y="200"/>
                      <a:pt x="710" y="200"/>
                      <a:pt x="651" y="200"/>
                    </a:cubicBezTo>
                    <a:cubicBezTo>
                      <a:pt x="633" y="200"/>
                      <a:pt x="622" y="207"/>
                      <a:pt x="620" y="226"/>
                    </a:cubicBezTo>
                    <a:cubicBezTo>
                      <a:pt x="613" y="293"/>
                      <a:pt x="606" y="361"/>
                      <a:pt x="601" y="428"/>
                    </a:cubicBezTo>
                    <a:cubicBezTo>
                      <a:pt x="599" y="451"/>
                      <a:pt x="611" y="463"/>
                      <a:pt x="634" y="463"/>
                    </a:cubicBezTo>
                    <a:cubicBezTo>
                      <a:pt x="670" y="463"/>
                      <a:pt x="706" y="463"/>
                      <a:pt x="742" y="463"/>
                    </a:cubicBezTo>
                    <a:close/>
                    <a:moveTo>
                      <a:pt x="1145" y="1100"/>
                    </a:moveTo>
                    <a:cubicBezTo>
                      <a:pt x="1179" y="1100"/>
                      <a:pt x="1212" y="1100"/>
                      <a:pt x="1245" y="1100"/>
                    </a:cubicBezTo>
                    <a:cubicBezTo>
                      <a:pt x="1266" y="1099"/>
                      <a:pt x="1279" y="1086"/>
                      <a:pt x="1277" y="1067"/>
                    </a:cubicBezTo>
                    <a:cubicBezTo>
                      <a:pt x="1268" y="1007"/>
                      <a:pt x="1259" y="946"/>
                      <a:pt x="1250" y="886"/>
                    </a:cubicBezTo>
                    <a:cubicBezTo>
                      <a:pt x="1247" y="870"/>
                      <a:pt x="1238" y="860"/>
                      <a:pt x="1220" y="860"/>
                    </a:cubicBezTo>
                    <a:cubicBezTo>
                      <a:pt x="1155" y="860"/>
                      <a:pt x="1090" y="859"/>
                      <a:pt x="1026" y="860"/>
                    </a:cubicBezTo>
                    <a:cubicBezTo>
                      <a:pt x="1006" y="860"/>
                      <a:pt x="995" y="870"/>
                      <a:pt x="997" y="890"/>
                    </a:cubicBezTo>
                    <a:cubicBezTo>
                      <a:pt x="1002" y="950"/>
                      <a:pt x="1007" y="1010"/>
                      <a:pt x="1014" y="1071"/>
                    </a:cubicBezTo>
                    <a:cubicBezTo>
                      <a:pt x="1016" y="1091"/>
                      <a:pt x="1027" y="1099"/>
                      <a:pt x="1047" y="1100"/>
                    </a:cubicBezTo>
                    <a:cubicBezTo>
                      <a:pt x="1080" y="1100"/>
                      <a:pt x="1113" y="1100"/>
                      <a:pt x="1145" y="1100"/>
                    </a:cubicBezTo>
                    <a:close/>
                    <a:moveTo>
                      <a:pt x="334" y="1100"/>
                    </a:moveTo>
                    <a:cubicBezTo>
                      <a:pt x="368" y="1100"/>
                      <a:pt x="402" y="1100"/>
                      <a:pt x="436" y="1100"/>
                    </a:cubicBezTo>
                    <a:cubicBezTo>
                      <a:pt x="452" y="1100"/>
                      <a:pt x="464" y="1093"/>
                      <a:pt x="466" y="1076"/>
                    </a:cubicBezTo>
                    <a:cubicBezTo>
                      <a:pt x="472" y="1016"/>
                      <a:pt x="478" y="956"/>
                      <a:pt x="482" y="896"/>
                    </a:cubicBezTo>
                    <a:cubicBezTo>
                      <a:pt x="484" y="870"/>
                      <a:pt x="473" y="860"/>
                      <a:pt x="446" y="860"/>
                    </a:cubicBezTo>
                    <a:cubicBezTo>
                      <a:pt x="388" y="860"/>
                      <a:pt x="331" y="860"/>
                      <a:pt x="273" y="860"/>
                    </a:cubicBezTo>
                    <a:cubicBezTo>
                      <a:pt x="244" y="860"/>
                      <a:pt x="236" y="865"/>
                      <a:pt x="231" y="894"/>
                    </a:cubicBezTo>
                    <a:cubicBezTo>
                      <a:pt x="222" y="950"/>
                      <a:pt x="213" y="1005"/>
                      <a:pt x="204" y="1061"/>
                    </a:cubicBezTo>
                    <a:cubicBezTo>
                      <a:pt x="200" y="1085"/>
                      <a:pt x="212" y="1099"/>
                      <a:pt x="237" y="1100"/>
                    </a:cubicBezTo>
                    <a:cubicBezTo>
                      <a:pt x="269" y="1100"/>
                      <a:pt x="302" y="1100"/>
                      <a:pt x="334" y="1100"/>
                    </a:cubicBezTo>
                    <a:close/>
                    <a:moveTo>
                      <a:pt x="1067" y="467"/>
                    </a:moveTo>
                    <a:cubicBezTo>
                      <a:pt x="1093" y="467"/>
                      <a:pt x="1119" y="467"/>
                      <a:pt x="1145" y="467"/>
                    </a:cubicBezTo>
                    <a:cubicBezTo>
                      <a:pt x="1171" y="466"/>
                      <a:pt x="1183" y="453"/>
                      <a:pt x="1179" y="427"/>
                    </a:cubicBezTo>
                    <a:cubicBezTo>
                      <a:pt x="1170" y="361"/>
                      <a:pt x="1160" y="296"/>
                      <a:pt x="1150" y="230"/>
                    </a:cubicBezTo>
                    <a:cubicBezTo>
                      <a:pt x="1147" y="207"/>
                      <a:pt x="1138" y="200"/>
                      <a:pt x="1114" y="200"/>
                    </a:cubicBezTo>
                    <a:cubicBezTo>
                      <a:pt x="1066" y="200"/>
                      <a:pt x="1018" y="200"/>
                      <a:pt x="970" y="200"/>
                    </a:cubicBezTo>
                    <a:cubicBezTo>
                      <a:pt x="940" y="200"/>
                      <a:pt x="931" y="208"/>
                      <a:pt x="934" y="238"/>
                    </a:cubicBezTo>
                    <a:cubicBezTo>
                      <a:pt x="940" y="303"/>
                      <a:pt x="947" y="368"/>
                      <a:pt x="953" y="433"/>
                    </a:cubicBezTo>
                    <a:cubicBezTo>
                      <a:pt x="956" y="457"/>
                      <a:pt x="966" y="466"/>
                      <a:pt x="991" y="467"/>
                    </a:cubicBezTo>
                    <a:cubicBezTo>
                      <a:pt x="1017" y="467"/>
                      <a:pt x="1042" y="467"/>
                      <a:pt x="1067" y="467"/>
                    </a:cubicBezTo>
                    <a:close/>
                    <a:moveTo>
                      <a:pt x="422" y="463"/>
                    </a:moveTo>
                    <a:cubicBezTo>
                      <a:pt x="447" y="463"/>
                      <a:pt x="473" y="464"/>
                      <a:pt x="498" y="463"/>
                    </a:cubicBezTo>
                    <a:cubicBezTo>
                      <a:pt x="519" y="463"/>
                      <a:pt x="528" y="454"/>
                      <a:pt x="530" y="434"/>
                    </a:cubicBezTo>
                    <a:cubicBezTo>
                      <a:pt x="531" y="428"/>
                      <a:pt x="531" y="422"/>
                      <a:pt x="532" y="416"/>
                    </a:cubicBezTo>
                    <a:cubicBezTo>
                      <a:pt x="538" y="357"/>
                      <a:pt x="544" y="298"/>
                      <a:pt x="549" y="239"/>
                    </a:cubicBezTo>
                    <a:cubicBezTo>
                      <a:pt x="552" y="212"/>
                      <a:pt x="540" y="200"/>
                      <a:pt x="513" y="200"/>
                    </a:cubicBezTo>
                    <a:cubicBezTo>
                      <a:pt x="468" y="200"/>
                      <a:pt x="424" y="200"/>
                      <a:pt x="379" y="200"/>
                    </a:cubicBezTo>
                    <a:cubicBezTo>
                      <a:pt x="362" y="199"/>
                      <a:pt x="350" y="207"/>
                      <a:pt x="347" y="223"/>
                    </a:cubicBezTo>
                    <a:cubicBezTo>
                      <a:pt x="335" y="291"/>
                      <a:pt x="324" y="359"/>
                      <a:pt x="314" y="428"/>
                    </a:cubicBezTo>
                    <a:cubicBezTo>
                      <a:pt x="311" y="451"/>
                      <a:pt x="323" y="463"/>
                      <a:pt x="346" y="463"/>
                    </a:cubicBezTo>
                    <a:cubicBezTo>
                      <a:pt x="371" y="464"/>
                      <a:pt x="397" y="463"/>
                      <a:pt x="422" y="463"/>
                    </a:cubicBezTo>
                    <a:close/>
                    <a:moveTo>
                      <a:pt x="1109" y="776"/>
                    </a:moveTo>
                    <a:cubicBezTo>
                      <a:pt x="1138" y="776"/>
                      <a:pt x="1168" y="776"/>
                      <a:pt x="1197" y="776"/>
                    </a:cubicBezTo>
                    <a:cubicBezTo>
                      <a:pt x="1220" y="776"/>
                      <a:pt x="1233" y="764"/>
                      <a:pt x="1230" y="741"/>
                    </a:cubicBezTo>
                    <a:cubicBezTo>
                      <a:pt x="1222" y="685"/>
                      <a:pt x="1212" y="630"/>
                      <a:pt x="1202" y="574"/>
                    </a:cubicBezTo>
                    <a:cubicBezTo>
                      <a:pt x="1200" y="558"/>
                      <a:pt x="1189" y="550"/>
                      <a:pt x="1173" y="550"/>
                    </a:cubicBezTo>
                    <a:cubicBezTo>
                      <a:pt x="1114" y="550"/>
                      <a:pt x="1056" y="549"/>
                      <a:pt x="997" y="550"/>
                    </a:cubicBezTo>
                    <a:cubicBezTo>
                      <a:pt x="974" y="550"/>
                      <a:pt x="964" y="561"/>
                      <a:pt x="967" y="584"/>
                    </a:cubicBezTo>
                    <a:cubicBezTo>
                      <a:pt x="972" y="637"/>
                      <a:pt x="977" y="689"/>
                      <a:pt x="983" y="741"/>
                    </a:cubicBezTo>
                    <a:cubicBezTo>
                      <a:pt x="985" y="764"/>
                      <a:pt x="998" y="776"/>
                      <a:pt x="1021" y="776"/>
                    </a:cubicBezTo>
                    <a:cubicBezTo>
                      <a:pt x="1050" y="776"/>
                      <a:pt x="1080" y="776"/>
                      <a:pt x="1109" y="776"/>
                    </a:cubicBezTo>
                    <a:close/>
                    <a:moveTo>
                      <a:pt x="378" y="773"/>
                    </a:moveTo>
                    <a:cubicBezTo>
                      <a:pt x="407" y="773"/>
                      <a:pt x="437" y="772"/>
                      <a:pt x="466" y="773"/>
                    </a:cubicBezTo>
                    <a:cubicBezTo>
                      <a:pt x="486" y="773"/>
                      <a:pt x="495" y="763"/>
                      <a:pt x="497" y="744"/>
                    </a:cubicBezTo>
                    <a:cubicBezTo>
                      <a:pt x="503" y="691"/>
                      <a:pt x="508" y="638"/>
                      <a:pt x="513" y="585"/>
                    </a:cubicBezTo>
                    <a:cubicBezTo>
                      <a:pt x="516" y="559"/>
                      <a:pt x="505" y="547"/>
                      <a:pt x="478" y="547"/>
                    </a:cubicBezTo>
                    <a:cubicBezTo>
                      <a:pt x="426" y="547"/>
                      <a:pt x="374" y="547"/>
                      <a:pt x="322" y="547"/>
                    </a:cubicBezTo>
                    <a:cubicBezTo>
                      <a:pt x="300" y="547"/>
                      <a:pt x="290" y="555"/>
                      <a:pt x="286" y="578"/>
                    </a:cubicBezTo>
                    <a:cubicBezTo>
                      <a:pt x="277" y="630"/>
                      <a:pt x="269" y="683"/>
                      <a:pt x="260" y="735"/>
                    </a:cubicBezTo>
                    <a:cubicBezTo>
                      <a:pt x="257" y="759"/>
                      <a:pt x="269" y="772"/>
                      <a:pt x="292" y="773"/>
                    </a:cubicBezTo>
                    <a:cubicBezTo>
                      <a:pt x="321" y="773"/>
                      <a:pt x="349" y="773"/>
                      <a:pt x="378" y="7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6"/>
              <p:cNvSpPr>
                <a:spLocks/>
              </p:cNvSpPr>
              <p:nvPr/>
            </p:nvSpPr>
            <p:spPr bwMode="auto">
              <a:xfrm>
                <a:off x="2149" y="914"/>
                <a:ext cx="493" cy="755"/>
              </a:xfrm>
              <a:custGeom>
                <a:avLst/>
                <a:gdLst>
                  <a:gd name="T0" fmla="*/ 642 w 642"/>
                  <a:gd name="T1" fmla="*/ 520 h 983"/>
                  <a:gd name="T2" fmla="*/ 173 w 642"/>
                  <a:gd name="T3" fmla="*/ 976 h 983"/>
                  <a:gd name="T4" fmla="*/ 127 w 642"/>
                  <a:gd name="T5" fmla="*/ 936 h 983"/>
                  <a:gd name="T6" fmla="*/ 38 w 642"/>
                  <a:gd name="T7" fmla="*/ 359 h 983"/>
                  <a:gd name="T8" fmla="*/ 5 w 642"/>
                  <a:gd name="T9" fmla="*/ 144 h 983"/>
                  <a:gd name="T10" fmla="*/ 40 w 642"/>
                  <a:gd name="T11" fmla="*/ 88 h 983"/>
                  <a:gd name="T12" fmla="*/ 630 w 642"/>
                  <a:gd name="T13" fmla="*/ 425 h 983"/>
                  <a:gd name="T14" fmla="*/ 642 w 642"/>
                  <a:gd name="T15" fmla="*/ 520 h 9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2" h="983">
                    <a:moveTo>
                      <a:pt x="642" y="520"/>
                    </a:moveTo>
                    <a:cubicBezTo>
                      <a:pt x="640" y="777"/>
                      <a:pt x="429" y="983"/>
                      <a:pt x="173" y="976"/>
                    </a:cubicBezTo>
                    <a:cubicBezTo>
                      <a:pt x="147" y="975"/>
                      <a:pt x="131" y="962"/>
                      <a:pt x="127" y="936"/>
                    </a:cubicBezTo>
                    <a:cubicBezTo>
                      <a:pt x="97" y="744"/>
                      <a:pt x="67" y="551"/>
                      <a:pt x="38" y="359"/>
                    </a:cubicBezTo>
                    <a:cubicBezTo>
                      <a:pt x="27" y="287"/>
                      <a:pt x="16" y="216"/>
                      <a:pt x="5" y="144"/>
                    </a:cubicBezTo>
                    <a:cubicBezTo>
                      <a:pt x="0" y="115"/>
                      <a:pt x="11" y="98"/>
                      <a:pt x="40" y="88"/>
                    </a:cubicBezTo>
                    <a:cubicBezTo>
                      <a:pt x="293" y="0"/>
                      <a:pt x="577" y="163"/>
                      <a:pt x="630" y="425"/>
                    </a:cubicBezTo>
                    <a:cubicBezTo>
                      <a:pt x="636" y="457"/>
                      <a:pt x="638" y="489"/>
                      <a:pt x="642" y="5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7"/>
              <p:cNvSpPr>
                <a:spLocks/>
              </p:cNvSpPr>
              <p:nvPr/>
            </p:nvSpPr>
            <p:spPr bwMode="auto">
              <a:xfrm>
                <a:off x="2395" y="734"/>
                <a:ext cx="145" cy="170"/>
              </a:xfrm>
              <a:custGeom>
                <a:avLst/>
                <a:gdLst>
                  <a:gd name="T0" fmla="*/ 0 w 189"/>
                  <a:gd name="T1" fmla="*/ 147 h 221"/>
                  <a:gd name="T2" fmla="*/ 9 w 189"/>
                  <a:gd name="T3" fmla="*/ 134 h 221"/>
                  <a:gd name="T4" fmla="*/ 145 w 189"/>
                  <a:gd name="T5" fmla="*/ 7 h 221"/>
                  <a:gd name="T6" fmla="*/ 168 w 189"/>
                  <a:gd name="T7" fmla="*/ 2 h 221"/>
                  <a:gd name="T8" fmla="*/ 180 w 189"/>
                  <a:gd name="T9" fmla="*/ 20 h 221"/>
                  <a:gd name="T10" fmla="*/ 189 w 189"/>
                  <a:gd name="T11" fmla="*/ 215 h 221"/>
                  <a:gd name="T12" fmla="*/ 188 w 189"/>
                  <a:gd name="T13" fmla="*/ 221 h 221"/>
                  <a:gd name="T14" fmla="*/ 0 w 189"/>
                  <a:gd name="T15" fmla="*/ 147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21">
                    <a:moveTo>
                      <a:pt x="0" y="147"/>
                    </a:moveTo>
                    <a:cubicBezTo>
                      <a:pt x="2" y="144"/>
                      <a:pt x="5" y="138"/>
                      <a:pt x="9" y="134"/>
                    </a:cubicBezTo>
                    <a:cubicBezTo>
                      <a:pt x="54" y="91"/>
                      <a:pt x="99" y="49"/>
                      <a:pt x="145" y="7"/>
                    </a:cubicBezTo>
                    <a:cubicBezTo>
                      <a:pt x="151" y="2"/>
                      <a:pt x="162" y="0"/>
                      <a:pt x="168" y="2"/>
                    </a:cubicBezTo>
                    <a:cubicBezTo>
                      <a:pt x="173" y="3"/>
                      <a:pt x="179" y="13"/>
                      <a:pt x="180" y="20"/>
                    </a:cubicBezTo>
                    <a:cubicBezTo>
                      <a:pt x="183" y="85"/>
                      <a:pt x="186" y="150"/>
                      <a:pt x="189" y="215"/>
                    </a:cubicBezTo>
                    <a:cubicBezTo>
                      <a:pt x="189" y="218"/>
                      <a:pt x="188" y="220"/>
                      <a:pt x="188" y="221"/>
                    </a:cubicBezTo>
                    <a:cubicBezTo>
                      <a:pt x="126" y="196"/>
                      <a:pt x="64" y="172"/>
                      <a:pt x="0"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8"/>
              <p:cNvSpPr>
                <a:spLocks/>
              </p:cNvSpPr>
              <p:nvPr/>
            </p:nvSpPr>
            <p:spPr bwMode="auto">
              <a:xfrm>
                <a:off x="2696" y="1057"/>
                <a:ext cx="171" cy="144"/>
              </a:xfrm>
              <a:custGeom>
                <a:avLst/>
                <a:gdLst>
                  <a:gd name="T0" fmla="*/ 79 w 222"/>
                  <a:gd name="T1" fmla="*/ 187 h 187"/>
                  <a:gd name="T2" fmla="*/ 0 w 222"/>
                  <a:gd name="T3" fmla="*/ 0 h 187"/>
                  <a:gd name="T4" fmla="*/ 19 w 222"/>
                  <a:gd name="T5" fmla="*/ 0 h 187"/>
                  <a:gd name="T6" fmla="*/ 192 w 222"/>
                  <a:gd name="T7" fmla="*/ 6 h 187"/>
                  <a:gd name="T8" fmla="*/ 219 w 222"/>
                  <a:gd name="T9" fmla="*/ 17 h 187"/>
                  <a:gd name="T10" fmla="*/ 210 w 222"/>
                  <a:gd name="T11" fmla="*/ 44 h 187"/>
                  <a:gd name="T12" fmla="*/ 89 w 222"/>
                  <a:gd name="T13" fmla="*/ 177 h 187"/>
                  <a:gd name="T14" fmla="*/ 79 w 222"/>
                  <a:gd name="T15" fmla="*/ 187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187">
                    <a:moveTo>
                      <a:pt x="79" y="187"/>
                    </a:moveTo>
                    <a:cubicBezTo>
                      <a:pt x="52" y="124"/>
                      <a:pt x="26" y="63"/>
                      <a:pt x="0" y="0"/>
                    </a:cubicBezTo>
                    <a:cubicBezTo>
                      <a:pt x="5" y="0"/>
                      <a:pt x="12" y="0"/>
                      <a:pt x="19" y="0"/>
                    </a:cubicBezTo>
                    <a:cubicBezTo>
                      <a:pt x="77" y="2"/>
                      <a:pt x="135" y="3"/>
                      <a:pt x="192" y="6"/>
                    </a:cubicBezTo>
                    <a:cubicBezTo>
                      <a:pt x="202" y="6"/>
                      <a:pt x="216" y="10"/>
                      <a:pt x="219" y="17"/>
                    </a:cubicBezTo>
                    <a:cubicBezTo>
                      <a:pt x="222" y="23"/>
                      <a:pt x="216" y="37"/>
                      <a:pt x="210" y="44"/>
                    </a:cubicBezTo>
                    <a:cubicBezTo>
                      <a:pt x="170" y="89"/>
                      <a:pt x="129" y="133"/>
                      <a:pt x="89" y="177"/>
                    </a:cubicBezTo>
                    <a:cubicBezTo>
                      <a:pt x="86" y="181"/>
                      <a:pt x="81" y="184"/>
                      <a:pt x="79"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9"/>
              <p:cNvSpPr>
                <a:spLocks/>
              </p:cNvSpPr>
              <p:nvPr/>
            </p:nvSpPr>
            <p:spPr bwMode="auto">
              <a:xfrm>
                <a:off x="2405" y="1718"/>
                <a:ext cx="144" cy="171"/>
              </a:xfrm>
              <a:custGeom>
                <a:avLst/>
                <a:gdLst>
                  <a:gd name="T0" fmla="*/ 0 w 187"/>
                  <a:gd name="T1" fmla="*/ 80 h 222"/>
                  <a:gd name="T2" fmla="*/ 185 w 187"/>
                  <a:gd name="T3" fmla="*/ 0 h 222"/>
                  <a:gd name="T4" fmla="*/ 186 w 187"/>
                  <a:gd name="T5" fmla="*/ 9 h 222"/>
                  <a:gd name="T6" fmla="*/ 180 w 187"/>
                  <a:gd name="T7" fmla="*/ 199 h 222"/>
                  <a:gd name="T8" fmla="*/ 168 w 187"/>
                  <a:gd name="T9" fmla="*/ 220 h 222"/>
                  <a:gd name="T10" fmla="*/ 148 w 187"/>
                  <a:gd name="T11" fmla="*/ 215 h 222"/>
                  <a:gd name="T12" fmla="*/ 1 w 187"/>
                  <a:gd name="T13" fmla="*/ 80 h 222"/>
                  <a:gd name="T14" fmla="*/ 0 w 187"/>
                  <a:gd name="T15" fmla="*/ 80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222">
                    <a:moveTo>
                      <a:pt x="0" y="80"/>
                    </a:moveTo>
                    <a:cubicBezTo>
                      <a:pt x="62" y="53"/>
                      <a:pt x="123" y="27"/>
                      <a:pt x="185" y="0"/>
                    </a:cubicBezTo>
                    <a:cubicBezTo>
                      <a:pt x="185" y="0"/>
                      <a:pt x="187" y="5"/>
                      <a:pt x="186" y="9"/>
                    </a:cubicBezTo>
                    <a:cubicBezTo>
                      <a:pt x="184" y="73"/>
                      <a:pt x="183" y="136"/>
                      <a:pt x="180" y="199"/>
                    </a:cubicBezTo>
                    <a:cubicBezTo>
                      <a:pt x="179" y="206"/>
                      <a:pt x="174" y="216"/>
                      <a:pt x="168" y="220"/>
                    </a:cubicBezTo>
                    <a:cubicBezTo>
                      <a:pt x="164" y="222"/>
                      <a:pt x="153" y="219"/>
                      <a:pt x="148" y="215"/>
                    </a:cubicBezTo>
                    <a:cubicBezTo>
                      <a:pt x="99" y="171"/>
                      <a:pt x="50" y="125"/>
                      <a:pt x="1" y="80"/>
                    </a:cubicBezTo>
                    <a:cubicBezTo>
                      <a:pt x="0" y="80"/>
                      <a:pt x="0" y="78"/>
                      <a:pt x="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0"/>
              <p:cNvSpPr>
                <a:spLocks/>
              </p:cNvSpPr>
              <p:nvPr/>
            </p:nvSpPr>
            <p:spPr bwMode="auto">
              <a:xfrm>
                <a:off x="2699" y="1420"/>
                <a:ext cx="170" cy="144"/>
              </a:xfrm>
              <a:custGeom>
                <a:avLst/>
                <a:gdLst>
                  <a:gd name="T0" fmla="*/ 0 w 222"/>
                  <a:gd name="T1" fmla="*/ 186 h 187"/>
                  <a:gd name="T2" fmla="*/ 76 w 222"/>
                  <a:gd name="T3" fmla="*/ 0 h 187"/>
                  <a:gd name="T4" fmla="*/ 86 w 222"/>
                  <a:gd name="T5" fmla="*/ 10 h 187"/>
                  <a:gd name="T6" fmla="*/ 210 w 222"/>
                  <a:gd name="T7" fmla="*/ 140 h 187"/>
                  <a:gd name="T8" fmla="*/ 219 w 222"/>
                  <a:gd name="T9" fmla="*/ 165 h 187"/>
                  <a:gd name="T10" fmla="*/ 195 w 222"/>
                  <a:gd name="T11" fmla="*/ 177 h 187"/>
                  <a:gd name="T12" fmla="*/ 12 w 222"/>
                  <a:gd name="T13" fmla="*/ 187 h 187"/>
                  <a:gd name="T14" fmla="*/ 0 w 222"/>
                  <a:gd name="T15" fmla="*/ 186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187">
                    <a:moveTo>
                      <a:pt x="0" y="186"/>
                    </a:moveTo>
                    <a:cubicBezTo>
                      <a:pt x="26" y="124"/>
                      <a:pt x="51" y="62"/>
                      <a:pt x="76" y="0"/>
                    </a:cubicBezTo>
                    <a:cubicBezTo>
                      <a:pt x="78" y="2"/>
                      <a:pt x="82" y="6"/>
                      <a:pt x="86" y="10"/>
                    </a:cubicBezTo>
                    <a:cubicBezTo>
                      <a:pt x="128" y="53"/>
                      <a:pt x="170" y="96"/>
                      <a:pt x="210" y="140"/>
                    </a:cubicBezTo>
                    <a:cubicBezTo>
                      <a:pt x="216" y="146"/>
                      <a:pt x="222" y="159"/>
                      <a:pt x="219" y="165"/>
                    </a:cubicBezTo>
                    <a:cubicBezTo>
                      <a:pt x="217" y="171"/>
                      <a:pt x="204" y="176"/>
                      <a:pt x="195" y="177"/>
                    </a:cubicBezTo>
                    <a:cubicBezTo>
                      <a:pt x="134" y="181"/>
                      <a:pt x="73" y="184"/>
                      <a:pt x="12" y="187"/>
                    </a:cubicBezTo>
                    <a:cubicBezTo>
                      <a:pt x="7" y="187"/>
                      <a:pt x="2" y="186"/>
                      <a:pt x="0" y="1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8" name="Freeform 21"/>
            <p:cNvSpPr>
              <a:spLocks noEditPoints="1"/>
            </p:cNvSpPr>
            <p:nvPr/>
          </p:nvSpPr>
          <p:spPr bwMode="auto">
            <a:xfrm flipH="1">
              <a:off x="2105978" y="3343541"/>
              <a:ext cx="324916" cy="190249"/>
            </a:xfrm>
            <a:custGeom>
              <a:avLst/>
              <a:gdLst>
                <a:gd name="T0" fmla="*/ 1471 w 2162"/>
                <a:gd name="T1" fmla="*/ 879 h 1265"/>
                <a:gd name="T2" fmla="*/ 1813 w 2162"/>
                <a:gd name="T3" fmla="*/ 879 h 1265"/>
                <a:gd name="T4" fmla="*/ 1875 w 2162"/>
                <a:gd name="T5" fmla="*/ 633 h 1265"/>
                <a:gd name="T6" fmla="*/ 1826 w 2162"/>
                <a:gd name="T7" fmla="*/ 576 h 1265"/>
                <a:gd name="T8" fmla="*/ 1776 w 2162"/>
                <a:gd name="T9" fmla="*/ 473 h 1265"/>
                <a:gd name="T10" fmla="*/ 1707 w 2162"/>
                <a:gd name="T11" fmla="*/ 211 h 1265"/>
                <a:gd name="T12" fmla="*/ 1782 w 2162"/>
                <a:gd name="T13" fmla="*/ 173 h 1265"/>
                <a:gd name="T14" fmla="*/ 1783 w 2162"/>
                <a:gd name="T15" fmla="*/ 42 h 1265"/>
                <a:gd name="T16" fmla="*/ 1848 w 2162"/>
                <a:gd name="T17" fmla="*/ 43 h 1265"/>
                <a:gd name="T18" fmla="*/ 1849 w 2162"/>
                <a:gd name="T19" fmla="*/ 171 h 1265"/>
                <a:gd name="T20" fmla="*/ 2021 w 2162"/>
                <a:gd name="T21" fmla="*/ 53 h 1265"/>
                <a:gd name="T22" fmla="*/ 2087 w 2162"/>
                <a:gd name="T23" fmla="*/ 53 h 1265"/>
                <a:gd name="T24" fmla="*/ 2125 w 2162"/>
                <a:gd name="T25" fmla="*/ 173 h 1265"/>
                <a:gd name="T26" fmla="*/ 2139 w 2162"/>
                <a:gd name="T27" fmla="*/ 442 h 1265"/>
                <a:gd name="T28" fmla="*/ 2048 w 2162"/>
                <a:gd name="T29" fmla="*/ 473 h 1265"/>
                <a:gd name="T30" fmla="*/ 2001 w 2162"/>
                <a:gd name="T31" fmla="*/ 633 h 1265"/>
                <a:gd name="T32" fmla="*/ 2001 w 2162"/>
                <a:gd name="T33" fmla="*/ 893 h 1265"/>
                <a:gd name="T34" fmla="*/ 1498 w 2162"/>
                <a:gd name="T35" fmla="*/ 1005 h 1265"/>
                <a:gd name="T36" fmla="*/ 1472 w 2162"/>
                <a:gd name="T37" fmla="*/ 1123 h 1265"/>
                <a:gd name="T38" fmla="*/ 1355 w 2162"/>
                <a:gd name="T39" fmla="*/ 1259 h 1265"/>
                <a:gd name="T40" fmla="*/ 1257 w 2162"/>
                <a:gd name="T41" fmla="*/ 1092 h 1265"/>
                <a:gd name="T42" fmla="*/ 276 w 2162"/>
                <a:gd name="T43" fmla="*/ 1155 h 1265"/>
                <a:gd name="T44" fmla="*/ 66 w 2162"/>
                <a:gd name="T45" fmla="*/ 1178 h 1265"/>
                <a:gd name="T46" fmla="*/ 63 w 2162"/>
                <a:gd name="T47" fmla="*/ 742 h 1265"/>
                <a:gd name="T48" fmla="*/ 121 w 2162"/>
                <a:gd name="T49" fmla="*/ 509 h 1265"/>
                <a:gd name="T50" fmla="*/ 1 w 2162"/>
                <a:gd name="T51" fmla="*/ 426 h 1265"/>
                <a:gd name="T52" fmla="*/ 168 w 2162"/>
                <a:gd name="T53" fmla="*/ 341 h 1265"/>
                <a:gd name="T54" fmla="*/ 252 w 2162"/>
                <a:gd name="T55" fmla="*/ 168 h 1265"/>
                <a:gd name="T56" fmla="*/ 856 w 2162"/>
                <a:gd name="T57" fmla="*/ 5 h 1265"/>
                <a:gd name="T58" fmla="*/ 1277 w 2162"/>
                <a:gd name="T59" fmla="*/ 157 h 1265"/>
                <a:gd name="T60" fmla="*/ 1364 w 2162"/>
                <a:gd name="T61" fmla="*/ 340 h 1265"/>
                <a:gd name="T62" fmla="*/ 1532 w 2162"/>
                <a:gd name="T63" fmla="*/ 424 h 1265"/>
                <a:gd name="T64" fmla="*/ 1411 w 2162"/>
                <a:gd name="T65" fmla="*/ 509 h 1265"/>
                <a:gd name="T66" fmla="*/ 1231 w 2162"/>
                <a:gd name="T67" fmla="*/ 479 h 1265"/>
                <a:gd name="T68" fmla="*/ 1179 w 2162"/>
                <a:gd name="T69" fmla="*/ 224 h 1265"/>
                <a:gd name="T70" fmla="*/ 408 w 2162"/>
                <a:gd name="T71" fmla="*/ 187 h 1265"/>
                <a:gd name="T72" fmla="*/ 277 w 2162"/>
                <a:gd name="T73" fmla="*/ 437 h 1265"/>
                <a:gd name="T74" fmla="*/ 767 w 2162"/>
                <a:gd name="T75" fmla="*/ 479 h 1265"/>
                <a:gd name="T76" fmla="*/ 358 w 2162"/>
                <a:gd name="T77" fmla="*/ 831 h 1265"/>
                <a:gd name="T78" fmla="*/ 403 w 2162"/>
                <a:gd name="T79" fmla="*/ 719 h 1265"/>
                <a:gd name="T80" fmla="*/ 233 w 2162"/>
                <a:gd name="T81" fmla="*/ 663 h 1265"/>
                <a:gd name="T82" fmla="*/ 187 w 2162"/>
                <a:gd name="T83" fmla="*/ 786 h 1265"/>
                <a:gd name="T84" fmla="*/ 294 w 2162"/>
                <a:gd name="T85" fmla="*/ 831 h 1265"/>
                <a:gd name="T86" fmla="*/ 1300 w 2162"/>
                <a:gd name="T87" fmla="*/ 831 h 1265"/>
                <a:gd name="T88" fmla="*/ 1348 w 2162"/>
                <a:gd name="T89" fmla="*/ 712 h 1265"/>
                <a:gd name="T90" fmla="*/ 1170 w 2162"/>
                <a:gd name="T91" fmla="*/ 675 h 1265"/>
                <a:gd name="T92" fmla="*/ 1131 w 2162"/>
                <a:gd name="T93" fmla="*/ 785 h 1265"/>
                <a:gd name="T94" fmla="*/ 1240 w 2162"/>
                <a:gd name="T95" fmla="*/ 831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62" h="1265">
                  <a:moveTo>
                    <a:pt x="1411" y="509"/>
                  </a:moveTo>
                  <a:cubicBezTo>
                    <a:pt x="1470" y="628"/>
                    <a:pt x="1477" y="752"/>
                    <a:pt x="1471" y="879"/>
                  </a:cubicBezTo>
                  <a:cubicBezTo>
                    <a:pt x="1480" y="879"/>
                    <a:pt x="1487" y="879"/>
                    <a:pt x="1493" y="879"/>
                  </a:cubicBezTo>
                  <a:cubicBezTo>
                    <a:pt x="1600" y="879"/>
                    <a:pt x="1707" y="879"/>
                    <a:pt x="1813" y="879"/>
                  </a:cubicBezTo>
                  <a:cubicBezTo>
                    <a:pt x="1853" y="879"/>
                    <a:pt x="1874" y="859"/>
                    <a:pt x="1875" y="820"/>
                  </a:cubicBezTo>
                  <a:cubicBezTo>
                    <a:pt x="1876" y="758"/>
                    <a:pt x="1875" y="696"/>
                    <a:pt x="1875" y="633"/>
                  </a:cubicBezTo>
                  <a:cubicBezTo>
                    <a:pt x="1870" y="631"/>
                    <a:pt x="1865" y="629"/>
                    <a:pt x="1860" y="627"/>
                  </a:cubicBezTo>
                  <a:cubicBezTo>
                    <a:pt x="1838" y="619"/>
                    <a:pt x="1827" y="602"/>
                    <a:pt x="1826" y="576"/>
                  </a:cubicBezTo>
                  <a:cubicBezTo>
                    <a:pt x="1826" y="543"/>
                    <a:pt x="1826" y="510"/>
                    <a:pt x="1826" y="473"/>
                  </a:cubicBezTo>
                  <a:cubicBezTo>
                    <a:pt x="1810" y="473"/>
                    <a:pt x="1793" y="473"/>
                    <a:pt x="1776" y="473"/>
                  </a:cubicBezTo>
                  <a:cubicBezTo>
                    <a:pt x="1742" y="473"/>
                    <a:pt x="1734" y="466"/>
                    <a:pt x="1730" y="434"/>
                  </a:cubicBezTo>
                  <a:cubicBezTo>
                    <a:pt x="1722" y="359"/>
                    <a:pt x="1714" y="285"/>
                    <a:pt x="1707" y="211"/>
                  </a:cubicBezTo>
                  <a:cubicBezTo>
                    <a:pt x="1704" y="188"/>
                    <a:pt x="1716" y="174"/>
                    <a:pt x="1740" y="173"/>
                  </a:cubicBezTo>
                  <a:cubicBezTo>
                    <a:pt x="1753" y="172"/>
                    <a:pt x="1766" y="173"/>
                    <a:pt x="1782" y="173"/>
                  </a:cubicBezTo>
                  <a:cubicBezTo>
                    <a:pt x="1782" y="154"/>
                    <a:pt x="1782" y="138"/>
                    <a:pt x="1782" y="122"/>
                  </a:cubicBezTo>
                  <a:cubicBezTo>
                    <a:pt x="1782" y="95"/>
                    <a:pt x="1782" y="68"/>
                    <a:pt x="1783" y="42"/>
                  </a:cubicBezTo>
                  <a:cubicBezTo>
                    <a:pt x="1783" y="18"/>
                    <a:pt x="1795" y="4"/>
                    <a:pt x="1814" y="3"/>
                  </a:cubicBezTo>
                  <a:cubicBezTo>
                    <a:pt x="1834" y="3"/>
                    <a:pt x="1847" y="19"/>
                    <a:pt x="1848" y="43"/>
                  </a:cubicBezTo>
                  <a:cubicBezTo>
                    <a:pt x="1848" y="79"/>
                    <a:pt x="1848" y="115"/>
                    <a:pt x="1848" y="151"/>
                  </a:cubicBezTo>
                  <a:cubicBezTo>
                    <a:pt x="1848" y="157"/>
                    <a:pt x="1848" y="164"/>
                    <a:pt x="1849" y="171"/>
                  </a:cubicBezTo>
                  <a:cubicBezTo>
                    <a:pt x="1906" y="171"/>
                    <a:pt x="1962" y="171"/>
                    <a:pt x="2021" y="171"/>
                  </a:cubicBezTo>
                  <a:cubicBezTo>
                    <a:pt x="2021" y="131"/>
                    <a:pt x="2021" y="92"/>
                    <a:pt x="2021" y="53"/>
                  </a:cubicBezTo>
                  <a:cubicBezTo>
                    <a:pt x="2021" y="20"/>
                    <a:pt x="2032" y="3"/>
                    <a:pt x="2054" y="3"/>
                  </a:cubicBezTo>
                  <a:cubicBezTo>
                    <a:pt x="2076" y="3"/>
                    <a:pt x="2087" y="20"/>
                    <a:pt x="2087" y="53"/>
                  </a:cubicBezTo>
                  <a:cubicBezTo>
                    <a:pt x="2087" y="92"/>
                    <a:pt x="2087" y="130"/>
                    <a:pt x="2087" y="173"/>
                  </a:cubicBezTo>
                  <a:cubicBezTo>
                    <a:pt x="2100" y="173"/>
                    <a:pt x="2113" y="172"/>
                    <a:pt x="2125" y="173"/>
                  </a:cubicBezTo>
                  <a:cubicBezTo>
                    <a:pt x="2150" y="174"/>
                    <a:pt x="2162" y="186"/>
                    <a:pt x="2160" y="211"/>
                  </a:cubicBezTo>
                  <a:cubicBezTo>
                    <a:pt x="2154" y="288"/>
                    <a:pt x="2147" y="365"/>
                    <a:pt x="2139" y="442"/>
                  </a:cubicBezTo>
                  <a:cubicBezTo>
                    <a:pt x="2137" y="461"/>
                    <a:pt x="2126" y="472"/>
                    <a:pt x="2106" y="472"/>
                  </a:cubicBezTo>
                  <a:cubicBezTo>
                    <a:pt x="2088" y="473"/>
                    <a:pt x="2071" y="473"/>
                    <a:pt x="2048" y="473"/>
                  </a:cubicBezTo>
                  <a:cubicBezTo>
                    <a:pt x="2048" y="505"/>
                    <a:pt x="2049" y="534"/>
                    <a:pt x="2048" y="564"/>
                  </a:cubicBezTo>
                  <a:cubicBezTo>
                    <a:pt x="2048" y="606"/>
                    <a:pt x="2041" y="616"/>
                    <a:pt x="2001" y="633"/>
                  </a:cubicBezTo>
                  <a:cubicBezTo>
                    <a:pt x="2001" y="640"/>
                    <a:pt x="2001" y="648"/>
                    <a:pt x="2001" y="657"/>
                  </a:cubicBezTo>
                  <a:cubicBezTo>
                    <a:pt x="2001" y="736"/>
                    <a:pt x="2001" y="814"/>
                    <a:pt x="2001" y="893"/>
                  </a:cubicBezTo>
                  <a:cubicBezTo>
                    <a:pt x="2000" y="956"/>
                    <a:pt x="1951" y="1006"/>
                    <a:pt x="1886" y="1006"/>
                  </a:cubicBezTo>
                  <a:cubicBezTo>
                    <a:pt x="1757" y="1006"/>
                    <a:pt x="1627" y="1006"/>
                    <a:pt x="1498" y="1005"/>
                  </a:cubicBezTo>
                  <a:cubicBezTo>
                    <a:pt x="1490" y="1005"/>
                    <a:pt x="1482" y="1005"/>
                    <a:pt x="1472" y="1005"/>
                  </a:cubicBezTo>
                  <a:cubicBezTo>
                    <a:pt x="1472" y="1046"/>
                    <a:pt x="1472" y="1084"/>
                    <a:pt x="1472" y="1123"/>
                  </a:cubicBezTo>
                  <a:cubicBezTo>
                    <a:pt x="1472" y="1138"/>
                    <a:pt x="1473" y="1153"/>
                    <a:pt x="1470" y="1168"/>
                  </a:cubicBezTo>
                  <a:cubicBezTo>
                    <a:pt x="1461" y="1226"/>
                    <a:pt x="1412" y="1263"/>
                    <a:pt x="1355" y="1259"/>
                  </a:cubicBezTo>
                  <a:cubicBezTo>
                    <a:pt x="1301" y="1255"/>
                    <a:pt x="1259" y="1210"/>
                    <a:pt x="1257" y="1153"/>
                  </a:cubicBezTo>
                  <a:cubicBezTo>
                    <a:pt x="1256" y="1133"/>
                    <a:pt x="1257" y="1113"/>
                    <a:pt x="1257" y="1092"/>
                  </a:cubicBezTo>
                  <a:cubicBezTo>
                    <a:pt x="930" y="1092"/>
                    <a:pt x="605" y="1092"/>
                    <a:pt x="276" y="1092"/>
                  </a:cubicBezTo>
                  <a:cubicBezTo>
                    <a:pt x="276" y="1113"/>
                    <a:pt x="277" y="1134"/>
                    <a:pt x="276" y="1155"/>
                  </a:cubicBezTo>
                  <a:cubicBezTo>
                    <a:pt x="275" y="1208"/>
                    <a:pt x="235" y="1253"/>
                    <a:pt x="183" y="1259"/>
                  </a:cubicBezTo>
                  <a:cubicBezTo>
                    <a:pt x="129" y="1265"/>
                    <a:pt x="79" y="1231"/>
                    <a:pt x="66" y="1178"/>
                  </a:cubicBezTo>
                  <a:cubicBezTo>
                    <a:pt x="64" y="1171"/>
                    <a:pt x="63" y="1162"/>
                    <a:pt x="63" y="1154"/>
                  </a:cubicBezTo>
                  <a:cubicBezTo>
                    <a:pt x="63" y="1017"/>
                    <a:pt x="62" y="880"/>
                    <a:pt x="63" y="742"/>
                  </a:cubicBezTo>
                  <a:cubicBezTo>
                    <a:pt x="64" y="670"/>
                    <a:pt x="84" y="600"/>
                    <a:pt x="112" y="534"/>
                  </a:cubicBezTo>
                  <a:cubicBezTo>
                    <a:pt x="115" y="527"/>
                    <a:pt x="117" y="520"/>
                    <a:pt x="121" y="509"/>
                  </a:cubicBezTo>
                  <a:cubicBezTo>
                    <a:pt x="109" y="509"/>
                    <a:pt x="100" y="509"/>
                    <a:pt x="90" y="509"/>
                  </a:cubicBezTo>
                  <a:cubicBezTo>
                    <a:pt x="39" y="508"/>
                    <a:pt x="2" y="473"/>
                    <a:pt x="1" y="426"/>
                  </a:cubicBezTo>
                  <a:cubicBezTo>
                    <a:pt x="0" y="378"/>
                    <a:pt x="38" y="341"/>
                    <a:pt x="90" y="340"/>
                  </a:cubicBezTo>
                  <a:cubicBezTo>
                    <a:pt x="116" y="340"/>
                    <a:pt x="142" y="339"/>
                    <a:pt x="168" y="341"/>
                  </a:cubicBezTo>
                  <a:cubicBezTo>
                    <a:pt x="183" y="341"/>
                    <a:pt x="188" y="336"/>
                    <a:pt x="193" y="322"/>
                  </a:cubicBezTo>
                  <a:cubicBezTo>
                    <a:pt x="212" y="270"/>
                    <a:pt x="233" y="219"/>
                    <a:pt x="252" y="168"/>
                  </a:cubicBezTo>
                  <a:cubicBezTo>
                    <a:pt x="282" y="91"/>
                    <a:pt x="336" y="45"/>
                    <a:pt x="418" y="31"/>
                  </a:cubicBezTo>
                  <a:cubicBezTo>
                    <a:pt x="563" y="6"/>
                    <a:pt x="709" y="0"/>
                    <a:pt x="856" y="5"/>
                  </a:cubicBezTo>
                  <a:cubicBezTo>
                    <a:pt x="949" y="8"/>
                    <a:pt x="1042" y="15"/>
                    <a:pt x="1134" y="35"/>
                  </a:cubicBezTo>
                  <a:cubicBezTo>
                    <a:pt x="1203" y="50"/>
                    <a:pt x="1250" y="92"/>
                    <a:pt x="1277" y="157"/>
                  </a:cubicBezTo>
                  <a:cubicBezTo>
                    <a:pt x="1299" y="212"/>
                    <a:pt x="1320" y="268"/>
                    <a:pt x="1341" y="324"/>
                  </a:cubicBezTo>
                  <a:cubicBezTo>
                    <a:pt x="1346" y="336"/>
                    <a:pt x="1351" y="341"/>
                    <a:pt x="1364" y="340"/>
                  </a:cubicBezTo>
                  <a:cubicBezTo>
                    <a:pt x="1391" y="339"/>
                    <a:pt x="1418" y="340"/>
                    <a:pt x="1444" y="340"/>
                  </a:cubicBezTo>
                  <a:cubicBezTo>
                    <a:pt x="1496" y="341"/>
                    <a:pt x="1532" y="376"/>
                    <a:pt x="1532" y="424"/>
                  </a:cubicBezTo>
                  <a:cubicBezTo>
                    <a:pt x="1533" y="472"/>
                    <a:pt x="1497" y="507"/>
                    <a:pt x="1445" y="509"/>
                  </a:cubicBezTo>
                  <a:cubicBezTo>
                    <a:pt x="1436" y="509"/>
                    <a:pt x="1426" y="509"/>
                    <a:pt x="1411" y="509"/>
                  </a:cubicBezTo>
                  <a:close/>
                  <a:moveTo>
                    <a:pt x="767" y="479"/>
                  </a:moveTo>
                  <a:cubicBezTo>
                    <a:pt x="922" y="479"/>
                    <a:pt x="1076" y="479"/>
                    <a:pt x="1231" y="479"/>
                  </a:cubicBezTo>
                  <a:cubicBezTo>
                    <a:pt x="1263" y="479"/>
                    <a:pt x="1269" y="469"/>
                    <a:pt x="1258" y="439"/>
                  </a:cubicBezTo>
                  <a:cubicBezTo>
                    <a:pt x="1232" y="367"/>
                    <a:pt x="1205" y="296"/>
                    <a:pt x="1179" y="224"/>
                  </a:cubicBezTo>
                  <a:cubicBezTo>
                    <a:pt x="1169" y="197"/>
                    <a:pt x="1155" y="187"/>
                    <a:pt x="1126" y="187"/>
                  </a:cubicBezTo>
                  <a:cubicBezTo>
                    <a:pt x="887" y="187"/>
                    <a:pt x="647" y="187"/>
                    <a:pt x="408" y="187"/>
                  </a:cubicBezTo>
                  <a:cubicBezTo>
                    <a:pt x="379" y="187"/>
                    <a:pt x="365" y="197"/>
                    <a:pt x="355" y="224"/>
                  </a:cubicBezTo>
                  <a:cubicBezTo>
                    <a:pt x="329" y="295"/>
                    <a:pt x="303" y="366"/>
                    <a:pt x="277" y="437"/>
                  </a:cubicBezTo>
                  <a:cubicBezTo>
                    <a:pt x="265" y="469"/>
                    <a:pt x="271" y="479"/>
                    <a:pt x="305" y="479"/>
                  </a:cubicBezTo>
                  <a:cubicBezTo>
                    <a:pt x="459" y="479"/>
                    <a:pt x="613" y="479"/>
                    <a:pt x="767" y="479"/>
                  </a:cubicBezTo>
                  <a:close/>
                  <a:moveTo>
                    <a:pt x="294" y="831"/>
                  </a:moveTo>
                  <a:cubicBezTo>
                    <a:pt x="315" y="831"/>
                    <a:pt x="337" y="831"/>
                    <a:pt x="358" y="831"/>
                  </a:cubicBezTo>
                  <a:cubicBezTo>
                    <a:pt x="384" y="830"/>
                    <a:pt x="402" y="813"/>
                    <a:pt x="403" y="787"/>
                  </a:cubicBezTo>
                  <a:cubicBezTo>
                    <a:pt x="404" y="765"/>
                    <a:pt x="404" y="742"/>
                    <a:pt x="403" y="719"/>
                  </a:cubicBezTo>
                  <a:cubicBezTo>
                    <a:pt x="402" y="696"/>
                    <a:pt x="388" y="678"/>
                    <a:pt x="366" y="676"/>
                  </a:cubicBezTo>
                  <a:cubicBezTo>
                    <a:pt x="322" y="671"/>
                    <a:pt x="278" y="666"/>
                    <a:pt x="233" y="663"/>
                  </a:cubicBezTo>
                  <a:cubicBezTo>
                    <a:pt x="206" y="661"/>
                    <a:pt x="188" y="678"/>
                    <a:pt x="187" y="706"/>
                  </a:cubicBezTo>
                  <a:cubicBezTo>
                    <a:pt x="186" y="733"/>
                    <a:pt x="186" y="759"/>
                    <a:pt x="187" y="786"/>
                  </a:cubicBezTo>
                  <a:cubicBezTo>
                    <a:pt x="187" y="814"/>
                    <a:pt x="204" y="830"/>
                    <a:pt x="232" y="831"/>
                  </a:cubicBezTo>
                  <a:cubicBezTo>
                    <a:pt x="253" y="831"/>
                    <a:pt x="273" y="831"/>
                    <a:pt x="294" y="831"/>
                  </a:cubicBezTo>
                  <a:close/>
                  <a:moveTo>
                    <a:pt x="1240" y="831"/>
                  </a:moveTo>
                  <a:cubicBezTo>
                    <a:pt x="1260" y="831"/>
                    <a:pt x="1280" y="831"/>
                    <a:pt x="1300" y="831"/>
                  </a:cubicBezTo>
                  <a:cubicBezTo>
                    <a:pt x="1331" y="830"/>
                    <a:pt x="1348" y="813"/>
                    <a:pt x="1348" y="782"/>
                  </a:cubicBezTo>
                  <a:cubicBezTo>
                    <a:pt x="1348" y="759"/>
                    <a:pt x="1348" y="735"/>
                    <a:pt x="1348" y="712"/>
                  </a:cubicBezTo>
                  <a:cubicBezTo>
                    <a:pt x="1348" y="677"/>
                    <a:pt x="1330" y="660"/>
                    <a:pt x="1295" y="663"/>
                  </a:cubicBezTo>
                  <a:cubicBezTo>
                    <a:pt x="1253" y="667"/>
                    <a:pt x="1211" y="671"/>
                    <a:pt x="1170" y="675"/>
                  </a:cubicBezTo>
                  <a:cubicBezTo>
                    <a:pt x="1147" y="678"/>
                    <a:pt x="1132" y="695"/>
                    <a:pt x="1131" y="717"/>
                  </a:cubicBezTo>
                  <a:cubicBezTo>
                    <a:pt x="1131" y="740"/>
                    <a:pt x="1131" y="762"/>
                    <a:pt x="1131" y="785"/>
                  </a:cubicBezTo>
                  <a:cubicBezTo>
                    <a:pt x="1132" y="814"/>
                    <a:pt x="1149" y="830"/>
                    <a:pt x="1178" y="831"/>
                  </a:cubicBezTo>
                  <a:cubicBezTo>
                    <a:pt x="1199" y="831"/>
                    <a:pt x="1219" y="831"/>
                    <a:pt x="1240" y="8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baseline="-25000" dirty="0"/>
            </a:p>
          </p:txBody>
        </p:sp>
        <p:sp>
          <p:nvSpPr>
            <p:cNvPr id="279" name="Freeform 6"/>
            <p:cNvSpPr>
              <a:spLocks noEditPoints="1"/>
            </p:cNvSpPr>
            <p:nvPr/>
          </p:nvSpPr>
          <p:spPr bwMode="auto">
            <a:xfrm>
              <a:off x="2168852" y="3686070"/>
              <a:ext cx="228471" cy="229081"/>
            </a:xfrm>
            <a:custGeom>
              <a:avLst/>
              <a:gdLst>
                <a:gd name="T0" fmla="*/ 0 w 317"/>
                <a:gd name="T1" fmla="*/ 159 h 318"/>
                <a:gd name="T2" fmla="*/ 317 w 317"/>
                <a:gd name="T3" fmla="*/ 159 h 318"/>
                <a:gd name="T4" fmla="*/ 158 w 317"/>
                <a:gd name="T5" fmla="*/ 16 h 318"/>
                <a:gd name="T6" fmla="*/ 177 w 317"/>
                <a:gd name="T7" fmla="*/ 234 h 318"/>
                <a:gd name="T8" fmla="*/ 185 w 317"/>
                <a:gd name="T9" fmla="*/ 254 h 318"/>
                <a:gd name="T10" fmla="*/ 112 w 317"/>
                <a:gd name="T11" fmla="*/ 180 h 318"/>
                <a:gd name="T12" fmla="*/ 135 w 317"/>
                <a:gd name="T13" fmla="*/ 192 h 318"/>
                <a:gd name="T14" fmla="*/ 204 w 317"/>
                <a:gd name="T15" fmla="*/ 162 h 318"/>
                <a:gd name="T16" fmla="*/ 217 w 317"/>
                <a:gd name="T17" fmla="*/ 157 h 318"/>
                <a:gd name="T18" fmla="*/ 209 w 317"/>
                <a:gd name="T19" fmla="*/ 49 h 318"/>
                <a:gd name="T20" fmla="*/ 102 w 317"/>
                <a:gd name="T21" fmla="*/ 54 h 318"/>
                <a:gd name="T22" fmla="*/ 120 w 317"/>
                <a:gd name="T23" fmla="*/ 78 h 318"/>
                <a:gd name="T24" fmla="*/ 15 w 317"/>
                <a:gd name="T25" fmla="*/ 159 h 318"/>
                <a:gd name="T26" fmla="*/ 158 w 317"/>
                <a:gd name="T27" fmla="*/ 302 h 318"/>
                <a:gd name="T28" fmla="*/ 137 w 317"/>
                <a:gd name="T29" fmla="*/ 84 h 318"/>
                <a:gd name="T30" fmla="*/ 137 w 317"/>
                <a:gd name="T31" fmla="*/ 73 h 318"/>
                <a:gd name="T32" fmla="*/ 201 w 317"/>
                <a:gd name="T33" fmla="*/ 65 h 318"/>
                <a:gd name="T34" fmla="*/ 190 w 317"/>
                <a:gd name="T35" fmla="*/ 126 h 318"/>
                <a:gd name="T36" fmla="*/ 189 w 317"/>
                <a:gd name="T37" fmla="*/ 126 h 318"/>
                <a:gd name="T38" fmla="*/ 189 w 317"/>
                <a:gd name="T39" fmla="*/ 125 h 318"/>
                <a:gd name="T40" fmla="*/ 188 w 317"/>
                <a:gd name="T41" fmla="*/ 125 h 318"/>
                <a:gd name="T42" fmla="*/ 187 w 317"/>
                <a:gd name="T43" fmla="*/ 124 h 318"/>
                <a:gd name="T44" fmla="*/ 187 w 317"/>
                <a:gd name="T45" fmla="*/ 124 h 318"/>
                <a:gd name="T46" fmla="*/ 186 w 317"/>
                <a:gd name="T47" fmla="*/ 124 h 318"/>
                <a:gd name="T48" fmla="*/ 185 w 317"/>
                <a:gd name="T49" fmla="*/ 124 h 318"/>
                <a:gd name="T50" fmla="*/ 185 w 317"/>
                <a:gd name="T51" fmla="*/ 124 h 318"/>
                <a:gd name="T52" fmla="*/ 184 w 317"/>
                <a:gd name="T53" fmla="*/ 124 h 318"/>
                <a:gd name="T54" fmla="*/ 183 w 317"/>
                <a:gd name="T55" fmla="*/ 124 h 318"/>
                <a:gd name="T56" fmla="*/ 181 w 317"/>
                <a:gd name="T57" fmla="*/ 125 h 318"/>
                <a:gd name="T58" fmla="*/ 181 w 317"/>
                <a:gd name="T59" fmla="*/ 125 h 318"/>
                <a:gd name="T60" fmla="*/ 180 w 317"/>
                <a:gd name="T61" fmla="*/ 125 h 318"/>
                <a:gd name="T62" fmla="*/ 179 w 317"/>
                <a:gd name="T63" fmla="*/ 126 h 318"/>
                <a:gd name="T64" fmla="*/ 129 w 317"/>
                <a:gd name="T65" fmla="*/ 175 h 318"/>
                <a:gd name="T66" fmla="*/ 101 w 317"/>
                <a:gd name="T67" fmla="*/ 154 h 318"/>
                <a:gd name="T68" fmla="*/ 96 w 317"/>
                <a:gd name="T69" fmla="*/ 262 h 318"/>
                <a:gd name="T70" fmla="*/ 204 w 317"/>
                <a:gd name="T71" fmla="*/ 269 h 318"/>
                <a:gd name="T72" fmla="*/ 210 w 317"/>
                <a:gd name="T73" fmla="*/ 256 h 318"/>
                <a:gd name="T74" fmla="*/ 299 w 317"/>
                <a:gd name="T75" fmla="*/ 134 h 318"/>
                <a:gd name="T76" fmla="*/ 158 w 317"/>
                <a:gd name="T77" fmla="*/ 30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318">
                  <a:moveTo>
                    <a:pt x="158" y="0"/>
                  </a:moveTo>
                  <a:cubicBezTo>
                    <a:pt x="71" y="0"/>
                    <a:pt x="0" y="72"/>
                    <a:pt x="0" y="159"/>
                  </a:cubicBezTo>
                  <a:cubicBezTo>
                    <a:pt x="0" y="247"/>
                    <a:pt x="71" y="318"/>
                    <a:pt x="158" y="318"/>
                  </a:cubicBezTo>
                  <a:cubicBezTo>
                    <a:pt x="246" y="318"/>
                    <a:pt x="317" y="247"/>
                    <a:pt x="317" y="159"/>
                  </a:cubicBezTo>
                  <a:cubicBezTo>
                    <a:pt x="317" y="72"/>
                    <a:pt x="246" y="0"/>
                    <a:pt x="158" y="0"/>
                  </a:cubicBezTo>
                  <a:close/>
                  <a:moveTo>
                    <a:pt x="158" y="16"/>
                  </a:moveTo>
                  <a:cubicBezTo>
                    <a:pt x="222" y="16"/>
                    <a:pt x="276" y="58"/>
                    <a:pt x="295" y="117"/>
                  </a:cubicBezTo>
                  <a:cubicBezTo>
                    <a:pt x="177" y="234"/>
                    <a:pt x="177" y="234"/>
                    <a:pt x="177" y="234"/>
                  </a:cubicBezTo>
                  <a:cubicBezTo>
                    <a:pt x="174" y="237"/>
                    <a:pt x="174" y="242"/>
                    <a:pt x="177" y="245"/>
                  </a:cubicBezTo>
                  <a:cubicBezTo>
                    <a:pt x="185" y="254"/>
                    <a:pt x="185" y="254"/>
                    <a:pt x="185" y="254"/>
                  </a:cubicBezTo>
                  <a:cubicBezTo>
                    <a:pt x="112" y="254"/>
                    <a:pt x="112" y="254"/>
                    <a:pt x="112" y="254"/>
                  </a:cubicBezTo>
                  <a:cubicBezTo>
                    <a:pt x="112" y="180"/>
                    <a:pt x="112" y="180"/>
                    <a:pt x="112" y="180"/>
                  </a:cubicBezTo>
                  <a:cubicBezTo>
                    <a:pt x="124" y="192"/>
                    <a:pt x="124" y="192"/>
                    <a:pt x="124" y="192"/>
                  </a:cubicBezTo>
                  <a:cubicBezTo>
                    <a:pt x="127" y="195"/>
                    <a:pt x="132" y="195"/>
                    <a:pt x="135" y="192"/>
                  </a:cubicBezTo>
                  <a:cubicBezTo>
                    <a:pt x="184" y="143"/>
                    <a:pt x="184" y="143"/>
                    <a:pt x="184" y="143"/>
                  </a:cubicBezTo>
                  <a:cubicBezTo>
                    <a:pt x="204" y="162"/>
                    <a:pt x="204" y="162"/>
                    <a:pt x="204" y="162"/>
                  </a:cubicBezTo>
                  <a:cubicBezTo>
                    <a:pt x="206" y="164"/>
                    <a:pt x="209" y="165"/>
                    <a:pt x="212" y="164"/>
                  </a:cubicBezTo>
                  <a:cubicBezTo>
                    <a:pt x="215" y="163"/>
                    <a:pt x="217" y="160"/>
                    <a:pt x="217" y="157"/>
                  </a:cubicBezTo>
                  <a:cubicBezTo>
                    <a:pt x="217" y="57"/>
                    <a:pt x="217" y="57"/>
                    <a:pt x="217" y="57"/>
                  </a:cubicBezTo>
                  <a:cubicBezTo>
                    <a:pt x="217" y="52"/>
                    <a:pt x="214" y="49"/>
                    <a:pt x="209" y="49"/>
                  </a:cubicBezTo>
                  <a:cubicBezTo>
                    <a:pt x="109" y="49"/>
                    <a:pt x="109" y="49"/>
                    <a:pt x="109" y="49"/>
                  </a:cubicBezTo>
                  <a:cubicBezTo>
                    <a:pt x="106" y="49"/>
                    <a:pt x="103" y="51"/>
                    <a:pt x="102" y="54"/>
                  </a:cubicBezTo>
                  <a:cubicBezTo>
                    <a:pt x="101" y="57"/>
                    <a:pt x="101" y="60"/>
                    <a:pt x="104" y="62"/>
                  </a:cubicBezTo>
                  <a:cubicBezTo>
                    <a:pt x="120" y="78"/>
                    <a:pt x="120" y="78"/>
                    <a:pt x="120" y="78"/>
                  </a:cubicBezTo>
                  <a:cubicBezTo>
                    <a:pt x="17" y="181"/>
                    <a:pt x="17" y="181"/>
                    <a:pt x="17" y="181"/>
                  </a:cubicBezTo>
                  <a:cubicBezTo>
                    <a:pt x="16" y="174"/>
                    <a:pt x="15" y="167"/>
                    <a:pt x="15" y="159"/>
                  </a:cubicBezTo>
                  <a:cubicBezTo>
                    <a:pt x="15" y="80"/>
                    <a:pt x="79" y="16"/>
                    <a:pt x="158" y="16"/>
                  </a:cubicBezTo>
                  <a:close/>
                  <a:moveTo>
                    <a:pt x="158" y="302"/>
                  </a:moveTo>
                  <a:cubicBezTo>
                    <a:pt x="93" y="302"/>
                    <a:pt x="38" y="259"/>
                    <a:pt x="21" y="199"/>
                  </a:cubicBezTo>
                  <a:cubicBezTo>
                    <a:pt x="137" y="84"/>
                    <a:pt x="137" y="84"/>
                    <a:pt x="137" y="84"/>
                  </a:cubicBezTo>
                  <a:cubicBezTo>
                    <a:pt x="138" y="82"/>
                    <a:pt x="139" y="80"/>
                    <a:pt x="139" y="78"/>
                  </a:cubicBezTo>
                  <a:cubicBezTo>
                    <a:pt x="139" y="76"/>
                    <a:pt x="138" y="74"/>
                    <a:pt x="137" y="73"/>
                  </a:cubicBezTo>
                  <a:cubicBezTo>
                    <a:pt x="128" y="65"/>
                    <a:pt x="128" y="65"/>
                    <a:pt x="128" y="65"/>
                  </a:cubicBezTo>
                  <a:cubicBezTo>
                    <a:pt x="201" y="65"/>
                    <a:pt x="201" y="65"/>
                    <a:pt x="201" y="65"/>
                  </a:cubicBezTo>
                  <a:cubicBezTo>
                    <a:pt x="201" y="137"/>
                    <a:pt x="201" y="137"/>
                    <a:pt x="201" y="137"/>
                  </a:cubicBezTo>
                  <a:cubicBezTo>
                    <a:pt x="190" y="126"/>
                    <a:pt x="190" y="126"/>
                    <a:pt x="190" y="126"/>
                  </a:cubicBezTo>
                  <a:cubicBezTo>
                    <a:pt x="190" y="126"/>
                    <a:pt x="190" y="126"/>
                    <a:pt x="190" y="126"/>
                  </a:cubicBezTo>
                  <a:cubicBezTo>
                    <a:pt x="190" y="126"/>
                    <a:pt x="190" y="126"/>
                    <a:pt x="189" y="126"/>
                  </a:cubicBezTo>
                  <a:cubicBezTo>
                    <a:pt x="189" y="125"/>
                    <a:pt x="189" y="125"/>
                    <a:pt x="189" y="125"/>
                  </a:cubicBezTo>
                  <a:cubicBezTo>
                    <a:pt x="189" y="125"/>
                    <a:pt x="189" y="125"/>
                    <a:pt x="189" y="125"/>
                  </a:cubicBezTo>
                  <a:cubicBezTo>
                    <a:pt x="189" y="125"/>
                    <a:pt x="189" y="125"/>
                    <a:pt x="188" y="125"/>
                  </a:cubicBezTo>
                  <a:cubicBezTo>
                    <a:pt x="188" y="125"/>
                    <a:pt x="188" y="125"/>
                    <a:pt x="188" y="125"/>
                  </a:cubicBezTo>
                  <a:cubicBezTo>
                    <a:pt x="188" y="125"/>
                    <a:pt x="188" y="125"/>
                    <a:pt x="188" y="124"/>
                  </a:cubicBezTo>
                  <a:cubicBezTo>
                    <a:pt x="188" y="124"/>
                    <a:pt x="188" y="124"/>
                    <a:pt x="187" y="124"/>
                  </a:cubicBezTo>
                  <a:cubicBezTo>
                    <a:pt x="187" y="124"/>
                    <a:pt x="187" y="124"/>
                    <a:pt x="187" y="124"/>
                  </a:cubicBezTo>
                  <a:cubicBezTo>
                    <a:pt x="187" y="124"/>
                    <a:pt x="187" y="124"/>
                    <a:pt x="187" y="124"/>
                  </a:cubicBezTo>
                  <a:cubicBezTo>
                    <a:pt x="187" y="124"/>
                    <a:pt x="186" y="124"/>
                    <a:pt x="186" y="124"/>
                  </a:cubicBezTo>
                  <a:cubicBezTo>
                    <a:pt x="186" y="124"/>
                    <a:pt x="186" y="124"/>
                    <a:pt x="186" y="124"/>
                  </a:cubicBezTo>
                  <a:cubicBezTo>
                    <a:pt x="186" y="124"/>
                    <a:pt x="186" y="124"/>
                    <a:pt x="186" y="124"/>
                  </a:cubicBezTo>
                  <a:cubicBezTo>
                    <a:pt x="186" y="124"/>
                    <a:pt x="185" y="124"/>
                    <a:pt x="185" y="124"/>
                  </a:cubicBezTo>
                  <a:cubicBezTo>
                    <a:pt x="185" y="124"/>
                    <a:pt x="185" y="124"/>
                    <a:pt x="185" y="124"/>
                  </a:cubicBezTo>
                  <a:cubicBezTo>
                    <a:pt x="185" y="124"/>
                    <a:pt x="185" y="124"/>
                    <a:pt x="185" y="124"/>
                  </a:cubicBezTo>
                  <a:cubicBezTo>
                    <a:pt x="184" y="124"/>
                    <a:pt x="184" y="124"/>
                    <a:pt x="184" y="124"/>
                  </a:cubicBezTo>
                  <a:cubicBezTo>
                    <a:pt x="184" y="124"/>
                    <a:pt x="184" y="124"/>
                    <a:pt x="184" y="124"/>
                  </a:cubicBezTo>
                  <a:cubicBezTo>
                    <a:pt x="184" y="124"/>
                    <a:pt x="184" y="124"/>
                    <a:pt x="183" y="124"/>
                  </a:cubicBezTo>
                  <a:cubicBezTo>
                    <a:pt x="183" y="124"/>
                    <a:pt x="183" y="124"/>
                    <a:pt x="183" y="124"/>
                  </a:cubicBezTo>
                  <a:cubicBezTo>
                    <a:pt x="183" y="124"/>
                    <a:pt x="183" y="124"/>
                    <a:pt x="183" y="124"/>
                  </a:cubicBezTo>
                  <a:cubicBezTo>
                    <a:pt x="182" y="124"/>
                    <a:pt x="182" y="124"/>
                    <a:pt x="181" y="125"/>
                  </a:cubicBezTo>
                  <a:cubicBezTo>
                    <a:pt x="181" y="125"/>
                    <a:pt x="181" y="125"/>
                    <a:pt x="181" y="125"/>
                  </a:cubicBezTo>
                  <a:cubicBezTo>
                    <a:pt x="181" y="125"/>
                    <a:pt x="181" y="125"/>
                    <a:pt x="181" y="125"/>
                  </a:cubicBezTo>
                  <a:cubicBezTo>
                    <a:pt x="180" y="125"/>
                    <a:pt x="180" y="125"/>
                    <a:pt x="180" y="125"/>
                  </a:cubicBezTo>
                  <a:cubicBezTo>
                    <a:pt x="180" y="125"/>
                    <a:pt x="180" y="125"/>
                    <a:pt x="180" y="125"/>
                  </a:cubicBezTo>
                  <a:cubicBezTo>
                    <a:pt x="180" y="125"/>
                    <a:pt x="180" y="125"/>
                    <a:pt x="180" y="125"/>
                  </a:cubicBezTo>
                  <a:cubicBezTo>
                    <a:pt x="180" y="126"/>
                    <a:pt x="179" y="126"/>
                    <a:pt x="179" y="126"/>
                  </a:cubicBezTo>
                  <a:cubicBezTo>
                    <a:pt x="179" y="126"/>
                    <a:pt x="179" y="126"/>
                    <a:pt x="179" y="126"/>
                  </a:cubicBezTo>
                  <a:cubicBezTo>
                    <a:pt x="129" y="175"/>
                    <a:pt x="129" y="175"/>
                    <a:pt x="129" y="175"/>
                  </a:cubicBezTo>
                  <a:cubicBezTo>
                    <a:pt x="110" y="156"/>
                    <a:pt x="110" y="156"/>
                    <a:pt x="110" y="156"/>
                  </a:cubicBezTo>
                  <a:cubicBezTo>
                    <a:pt x="107" y="153"/>
                    <a:pt x="104" y="153"/>
                    <a:pt x="101" y="154"/>
                  </a:cubicBezTo>
                  <a:cubicBezTo>
                    <a:pt x="98" y="155"/>
                    <a:pt x="96" y="158"/>
                    <a:pt x="96" y="161"/>
                  </a:cubicBezTo>
                  <a:cubicBezTo>
                    <a:pt x="96" y="262"/>
                    <a:pt x="96" y="262"/>
                    <a:pt x="96" y="262"/>
                  </a:cubicBezTo>
                  <a:cubicBezTo>
                    <a:pt x="96" y="266"/>
                    <a:pt x="100" y="269"/>
                    <a:pt x="104" y="269"/>
                  </a:cubicBezTo>
                  <a:cubicBezTo>
                    <a:pt x="204" y="269"/>
                    <a:pt x="204" y="269"/>
                    <a:pt x="204" y="269"/>
                  </a:cubicBezTo>
                  <a:cubicBezTo>
                    <a:pt x="207" y="269"/>
                    <a:pt x="210" y="268"/>
                    <a:pt x="212" y="265"/>
                  </a:cubicBezTo>
                  <a:cubicBezTo>
                    <a:pt x="213" y="262"/>
                    <a:pt x="212" y="258"/>
                    <a:pt x="210" y="256"/>
                  </a:cubicBezTo>
                  <a:cubicBezTo>
                    <a:pt x="194" y="240"/>
                    <a:pt x="194" y="240"/>
                    <a:pt x="194" y="240"/>
                  </a:cubicBezTo>
                  <a:cubicBezTo>
                    <a:pt x="299" y="134"/>
                    <a:pt x="299" y="134"/>
                    <a:pt x="299" y="134"/>
                  </a:cubicBezTo>
                  <a:cubicBezTo>
                    <a:pt x="300" y="142"/>
                    <a:pt x="301" y="151"/>
                    <a:pt x="301" y="159"/>
                  </a:cubicBezTo>
                  <a:cubicBezTo>
                    <a:pt x="301" y="238"/>
                    <a:pt x="237" y="302"/>
                    <a:pt x="158" y="302"/>
                  </a:cubicBezTo>
                  <a:close/>
                </a:path>
              </a:pathLst>
            </a:custGeom>
            <a:solidFill>
              <a:schemeClr val="bg1"/>
            </a:solidFill>
            <a:ln w="6350">
              <a:solidFill>
                <a:schemeClr val="bg1"/>
              </a:solid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pic>
        <p:nvPicPr>
          <p:cNvPr id="295" name="Picture 294"/>
          <p:cNvPicPr>
            <a:picLocks noChangeAspect="1"/>
          </p:cNvPicPr>
          <p:nvPr/>
        </p:nvPicPr>
        <p:blipFill>
          <a:blip r:embed="rId4">
            <a:clrChange>
              <a:clrFrom>
                <a:srgbClr val="FFFDFC"/>
              </a:clrFrom>
              <a:clrTo>
                <a:srgbClr val="FFFDFC">
                  <a:alpha val="0"/>
                </a:srgbClr>
              </a:clrTo>
            </a:clrChange>
          </a:blip>
          <a:stretch>
            <a:fillRect/>
          </a:stretch>
        </p:blipFill>
        <p:spPr>
          <a:xfrm>
            <a:off x="1703329" y="1775122"/>
            <a:ext cx="237765" cy="317019"/>
          </a:xfrm>
          <a:prstGeom prst="rect">
            <a:avLst/>
          </a:prstGeom>
        </p:spPr>
      </p:pic>
      <p:pic>
        <p:nvPicPr>
          <p:cNvPr id="296" name="Picture 295"/>
          <p:cNvPicPr>
            <a:picLocks noChangeAspect="1"/>
          </p:cNvPicPr>
          <p:nvPr/>
        </p:nvPicPr>
        <p:blipFill>
          <a:blip r:embed="rId5">
            <a:clrChange>
              <a:clrFrom>
                <a:srgbClr val="FFFFFF"/>
              </a:clrFrom>
              <a:clrTo>
                <a:srgbClr val="FFFFFF">
                  <a:alpha val="0"/>
                </a:srgbClr>
              </a:clrTo>
            </a:clrChange>
          </a:blip>
          <a:stretch>
            <a:fillRect/>
          </a:stretch>
        </p:blipFill>
        <p:spPr>
          <a:xfrm>
            <a:off x="1653971" y="1367801"/>
            <a:ext cx="353599" cy="347502"/>
          </a:xfrm>
          <a:prstGeom prst="rect">
            <a:avLst/>
          </a:prstGeom>
        </p:spPr>
      </p:pic>
      <p:sp>
        <p:nvSpPr>
          <p:cNvPr id="107" name="Tekstvak 106"/>
          <p:cNvSpPr txBox="1"/>
          <p:nvPr/>
        </p:nvSpPr>
        <p:spPr>
          <a:xfrm>
            <a:off x="488316" y="333283"/>
            <a:ext cx="4075263" cy="707876"/>
          </a:xfrm>
          <a:prstGeom prst="rect">
            <a:avLst/>
          </a:prstGeom>
          <a:noFill/>
        </p:spPr>
        <p:txBody>
          <a:bodyPr wrap="none" lIns="91430" tIns="45715" rIns="91430" bIns="45715" rtlCol="0">
            <a:spAutoFit/>
          </a:bodyPr>
          <a:lstStyle/>
          <a:p>
            <a:r>
              <a:rPr lang="en-GB" sz="2000" b="1" dirty="0"/>
              <a:t>How is value created </a:t>
            </a:r>
            <a:r>
              <a:rPr lang="en-GB" sz="2000" dirty="0"/>
              <a:t>from flexibility?</a:t>
            </a:r>
          </a:p>
          <a:p>
            <a:endParaRPr lang="en-GB" sz="2000" dirty="0"/>
          </a:p>
        </p:txBody>
      </p:sp>
      <p:sp>
        <p:nvSpPr>
          <p:cNvPr id="4" name="Tekstvak 3"/>
          <p:cNvSpPr txBox="1"/>
          <p:nvPr/>
        </p:nvSpPr>
        <p:spPr>
          <a:xfrm>
            <a:off x="6246977" y="2092141"/>
            <a:ext cx="1760433" cy="1200318"/>
          </a:xfrm>
          <a:prstGeom prst="rect">
            <a:avLst/>
          </a:prstGeom>
          <a:noFill/>
        </p:spPr>
        <p:txBody>
          <a:bodyPr wrap="square" lIns="91430" tIns="45715" rIns="91430" bIns="45715" rtlCol="0">
            <a:spAutoFit/>
          </a:bodyPr>
          <a:lstStyle/>
          <a:p>
            <a:r>
              <a:rPr lang="en-GB" b="1" dirty="0" smtClean="0"/>
              <a:t>The aggregator</a:t>
            </a:r>
          </a:p>
          <a:p>
            <a:r>
              <a:rPr lang="en-GB" dirty="0" smtClean="0"/>
              <a:t>A new role,</a:t>
            </a:r>
          </a:p>
          <a:p>
            <a:r>
              <a:rPr lang="en-GB" dirty="0"/>
              <a:t>u</a:t>
            </a:r>
            <a:r>
              <a:rPr lang="en-GB" dirty="0" smtClean="0"/>
              <a:t>nlocking </a:t>
            </a:r>
          </a:p>
          <a:p>
            <a:r>
              <a:rPr lang="en-GB" dirty="0" smtClean="0"/>
              <a:t>flexibility</a:t>
            </a:r>
            <a:endParaRPr lang="en-GB" dirty="0"/>
          </a:p>
        </p:txBody>
      </p:sp>
    </p:spTree>
    <p:extLst>
      <p:ext uri="{BB962C8B-B14F-4D97-AF65-F5344CB8AC3E}">
        <p14:creationId xmlns:p14="http://schemas.microsoft.com/office/powerpoint/2010/main" val="177720086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1" name="Group 150"/>
          <p:cNvGrpSpPr/>
          <p:nvPr/>
        </p:nvGrpSpPr>
        <p:grpSpPr>
          <a:xfrm>
            <a:off x="64169" y="1823817"/>
            <a:ext cx="1371524" cy="1363876"/>
            <a:chOff x="1439447" y="1882140"/>
            <a:chExt cx="1107804" cy="1107804"/>
          </a:xfrm>
        </p:grpSpPr>
        <p:grpSp>
          <p:nvGrpSpPr>
            <p:cNvPr id="152" name="Group 151"/>
            <p:cNvGrpSpPr/>
            <p:nvPr/>
          </p:nvGrpSpPr>
          <p:grpSpPr>
            <a:xfrm>
              <a:off x="1439447" y="1882140"/>
              <a:ext cx="1107804" cy="1107804"/>
              <a:chOff x="789278" y="2166444"/>
              <a:chExt cx="2571636" cy="2571636"/>
            </a:xfrm>
          </p:grpSpPr>
          <p:sp>
            <p:nvSpPr>
              <p:cNvPr id="154" name="Oval 153"/>
              <p:cNvSpPr/>
              <p:nvPr/>
            </p:nvSpPr>
            <p:spPr>
              <a:xfrm>
                <a:off x="789278" y="2166444"/>
                <a:ext cx="2571636" cy="2571636"/>
              </a:xfrm>
              <a:prstGeom prst="ellipse">
                <a:avLst/>
              </a:prstGeom>
              <a:solidFill>
                <a:schemeClr val="bg1"/>
              </a:solid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155" name="Freeform 154"/>
              <p:cNvSpPr>
                <a:spLocks noEditPoints="1"/>
              </p:cNvSpPr>
              <p:nvPr/>
            </p:nvSpPr>
            <p:spPr bwMode="auto">
              <a:xfrm>
                <a:off x="2067324" y="2865280"/>
                <a:ext cx="904037" cy="859777"/>
              </a:xfrm>
              <a:custGeom>
                <a:avLst/>
                <a:gdLst>
                  <a:gd name="T0" fmla="*/ 734 w 1277"/>
                  <a:gd name="T1" fmla="*/ 57 h 1214"/>
                  <a:gd name="T2" fmla="*/ 751 w 1277"/>
                  <a:gd name="T3" fmla="*/ 60 h 1214"/>
                  <a:gd name="T4" fmla="*/ 785 w 1277"/>
                  <a:gd name="T5" fmla="*/ 73 h 1214"/>
                  <a:gd name="T6" fmla="*/ 800 w 1277"/>
                  <a:gd name="T7" fmla="*/ 76 h 1214"/>
                  <a:gd name="T8" fmla="*/ 826 w 1277"/>
                  <a:gd name="T9" fmla="*/ 76 h 1214"/>
                  <a:gd name="T10" fmla="*/ 847 w 1277"/>
                  <a:gd name="T11" fmla="*/ 68 h 1214"/>
                  <a:gd name="T12" fmla="*/ 858 w 1277"/>
                  <a:gd name="T13" fmla="*/ 60 h 1214"/>
                  <a:gd name="T14" fmla="*/ 870 w 1277"/>
                  <a:gd name="T15" fmla="*/ 50 h 1214"/>
                  <a:gd name="T16" fmla="*/ 870 w 1277"/>
                  <a:gd name="T17" fmla="*/ 50 h 1214"/>
                  <a:gd name="T18" fmla="*/ 873 w 1277"/>
                  <a:gd name="T19" fmla="*/ 48 h 1214"/>
                  <a:gd name="T20" fmla="*/ 882 w 1277"/>
                  <a:gd name="T21" fmla="*/ 39 h 1214"/>
                  <a:gd name="T22" fmla="*/ 908 w 1277"/>
                  <a:gd name="T23" fmla="*/ 18 h 1214"/>
                  <a:gd name="T24" fmla="*/ 956 w 1277"/>
                  <a:gd name="T25" fmla="*/ 1 h 1214"/>
                  <a:gd name="T26" fmla="*/ 971 w 1277"/>
                  <a:gd name="T27" fmla="*/ 5 h 1214"/>
                  <a:gd name="T28" fmla="*/ 1003 w 1277"/>
                  <a:gd name="T29" fmla="*/ 26 h 1214"/>
                  <a:gd name="T30" fmla="*/ 1020 w 1277"/>
                  <a:gd name="T31" fmla="*/ 51 h 1214"/>
                  <a:gd name="T32" fmla="*/ 1019 w 1277"/>
                  <a:gd name="T33" fmla="*/ 57 h 1214"/>
                  <a:gd name="T34" fmla="*/ 989 w 1277"/>
                  <a:gd name="T35" fmla="*/ 45 h 1214"/>
                  <a:gd name="T36" fmla="*/ 961 w 1277"/>
                  <a:gd name="T37" fmla="*/ 35 h 1214"/>
                  <a:gd name="T38" fmla="*/ 951 w 1277"/>
                  <a:gd name="T39" fmla="*/ 32 h 1214"/>
                  <a:gd name="T40" fmla="*/ 914 w 1277"/>
                  <a:gd name="T41" fmla="*/ 29 h 1214"/>
                  <a:gd name="T42" fmla="*/ 892 w 1277"/>
                  <a:gd name="T43" fmla="*/ 48 h 1214"/>
                  <a:gd name="T44" fmla="*/ 887 w 1277"/>
                  <a:gd name="T45" fmla="*/ 58 h 1214"/>
                  <a:gd name="T46" fmla="*/ 886 w 1277"/>
                  <a:gd name="T47" fmla="*/ 60 h 1214"/>
                  <a:gd name="T48" fmla="*/ 886 w 1277"/>
                  <a:gd name="T49" fmla="*/ 61 h 1214"/>
                  <a:gd name="T50" fmla="*/ 885 w 1277"/>
                  <a:gd name="T51" fmla="*/ 62 h 1214"/>
                  <a:gd name="T52" fmla="*/ 867 w 1277"/>
                  <a:gd name="T53" fmla="*/ 91 h 1214"/>
                  <a:gd name="T54" fmla="*/ 835 w 1277"/>
                  <a:gd name="T55" fmla="*/ 112 h 1214"/>
                  <a:gd name="T56" fmla="*/ 784 w 1277"/>
                  <a:gd name="T57" fmla="*/ 108 h 1214"/>
                  <a:gd name="T58" fmla="*/ 752 w 1277"/>
                  <a:gd name="T59" fmla="*/ 86 h 1214"/>
                  <a:gd name="T60" fmla="*/ 1277 w 1277"/>
                  <a:gd name="T61" fmla="*/ 910 h 1214"/>
                  <a:gd name="T62" fmla="*/ 0 w 1277"/>
                  <a:gd name="T63" fmla="*/ 1214 h 1214"/>
                  <a:gd name="T64" fmla="*/ 87 w 1277"/>
                  <a:gd name="T65" fmla="*/ 910 h 1214"/>
                  <a:gd name="T66" fmla="*/ 332 w 1277"/>
                  <a:gd name="T67" fmla="*/ 396 h 1214"/>
                  <a:gd name="T68" fmla="*/ 577 w 1277"/>
                  <a:gd name="T69" fmla="*/ 396 h 1214"/>
                  <a:gd name="T70" fmla="*/ 822 w 1277"/>
                  <a:gd name="T71" fmla="*/ 396 h 1214"/>
                  <a:gd name="T72" fmla="*/ 907 w 1277"/>
                  <a:gd name="T73" fmla="*/ 734 h 1214"/>
                  <a:gd name="T74" fmla="*/ 1093 w 1277"/>
                  <a:gd name="T75" fmla="*/ 136 h 1214"/>
                  <a:gd name="T76" fmla="*/ 1227 w 1277"/>
                  <a:gd name="T77" fmla="*/ 734 h 1214"/>
                  <a:gd name="T78" fmla="*/ 1277 w 1277"/>
                  <a:gd name="T79" fmla="*/ 910 h 1214"/>
                  <a:gd name="T80" fmla="*/ 208 w 1277"/>
                  <a:gd name="T81" fmla="*/ 778 h 1214"/>
                  <a:gd name="T82" fmla="*/ 400 w 1277"/>
                  <a:gd name="T83" fmla="*/ 956 h 1214"/>
                  <a:gd name="T84" fmla="*/ 732 w 1277"/>
                  <a:gd name="T85" fmla="*/ 778 h 1214"/>
                  <a:gd name="T86" fmla="*/ 540 w 1277"/>
                  <a:gd name="T87" fmla="*/ 956 h 1214"/>
                  <a:gd name="T88" fmla="*/ 732 w 1277"/>
                  <a:gd name="T89" fmla="*/ 778 h 1214"/>
                  <a:gd name="T90" fmla="*/ 876 w 1277"/>
                  <a:gd name="T91" fmla="*/ 778 h 1214"/>
                  <a:gd name="T92" fmla="*/ 1069 w 1277"/>
                  <a:gd name="T93" fmla="*/ 956 h 1214"/>
                  <a:gd name="T94" fmla="*/ 1069 w 1277"/>
                  <a:gd name="T95" fmla="*/ 778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7" h="1214">
                    <a:moveTo>
                      <a:pt x="741" y="71"/>
                    </a:moveTo>
                    <a:cubicBezTo>
                      <a:pt x="736" y="63"/>
                      <a:pt x="734" y="57"/>
                      <a:pt x="734" y="57"/>
                    </a:cubicBezTo>
                    <a:cubicBezTo>
                      <a:pt x="737" y="55"/>
                      <a:pt x="737" y="55"/>
                      <a:pt x="737" y="55"/>
                    </a:cubicBezTo>
                    <a:cubicBezTo>
                      <a:pt x="737" y="55"/>
                      <a:pt x="742" y="57"/>
                      <a:pt x="751" y="60"/>
                    </a:cubicBezTo>
                    <a:cubicBezTo>
                      <a:pt x="755" y="62"/>
                      <a:pt x="760" y="64"/>
                      <a:pt x="766" y="66"/>
                    </a:cubicBezTo>
                    <a:cubicBezTo>
                      <a:pt x="772" y="69"/>
                      <a:pt x="778" y="71"/>
                      <a:pt x="785" y="73"/>
                    </a:cubicBezTo>
                    <a:cubicBezTo>
                      <a:pt x="788" y="74"/>
                      <a:pt x="791" y="75"/>
                      <a:pt x="795" y="75"/>
                    </a:cubicBezTo>
                    <a:cubicBezTo>
                      <a:pt x="797" y="75"/>
                      <a:pt x="798" y="76"/>
                      <a:pt x="800" y="76"/>
                    </a:cubicBezTo>
                    <a:cubicBezTo>
                      <a:pt x="802" y="76"/>
                      <a:pt x="803" y="76"/>
                      <a:pt x="805" y="77"/>
                    </a:cubicBezTo>
                    <a:cubicBezTo>
                      <a:pt x="812" y="77"/>
                      <a:pt x="819" y="77"/>
                      <a:pt x="826" y="76"/>
                    </a:cubicBezTo>
                    <a:cubicBezTo>
                      <a:pt x="829" y="75"/>
                      <a:pt x="833" y="75"/>
                      <a:pt x="836" y="73"/>
                    </a:cubicBezTo>
                    <a:cubicBezTo>
                      <a:pt x="839" y="71"/>
                      <a:pt x="844" y="70"/>
                      <a:pt x="847" y="68"/>
                    </a:cubicBezTo>
                    <a:cubicBezTo>
                      <a:pt x="848" y="67"/>
                      <a:pt x="850" y="66"/>
                      <a:pt x="852" y="64"/>
                    </a:cubicBezTo>
                    <a:cubicBezTo>
                      <a:pt x="854" y="63"/>
                      <a:pt x="856" y="63"/>
                      <a:pt x="858" y="60"/>
                    </a:cubicBezTo>
                    <a:cubicBezTo>
                      <a:pt x="870" y="50"/>
                      <a:pt x="870" y="50"/>
                      <a:pt x="870" y="50"/>
                    </a:cubicBezTo>
                    <a:cubicBezTo>
                      <a:pt x="870" y="50"/>
                      <a:pt x="869" y="51"/>
                      <a:pt x="870" y="50"/>
                    </a:cubicBezTo>
                    <a:cubicBezTo>
                      <a:pt x="870" y="50"/>
                      <a:pt x="870" y="50"/>
                      <a:pt x="870" y="50"/>
                    </a:cubicBezTo>
                    <a:cubicBezTo>
                      <a:pt x="870" y="50"/>
                      <a:pt x="870" y="50"/>
                      <a:pt x="870" y="50"/>
                    </a:cubicBezTo>
                    <a:cubicBezTo>
                      <a:pt x="871" y="49"/>
                      <a:pt x="871" y="49"/>
                      <a:pt x="871" y="49"/>
                    </a:cubicBezTo>
                    <a:cubicBezTo>
                      <a:pt x="873" y="48"/>
                      <a:pt x="873" y="48"/>
                      <a:pt x="873" y="48"/>
                    </a:cubicBezTo>
                    <a:cubicBezTo>
                      <a:pt x="876" y="45"/>
                      <a:pt x="876" y="45"/>
                      <a:pt x="876" y="45"/>
                    </a:cubicBezTo>
                    <a:cubicBezTo>
                      <a:pt x="882" y="39"/>
                      <a:pt x="882" y="39"/>
                      <a:pt x="882" y="39"/>
                    </a:cubicBezTo>
                    <a:cubicBezTo>
                      <a:pt x="886" y="35"/>
                      <a:pt x="891" y="32"/>
                      <a:pt x="895" y="28"/>
                    </a:cubicBezTo>
                    <a:cubicBezTo>
                      <a:pt x="899" y="24"/>
                      <a:pt x="904" y="22"/>
                      <a:pt x="908" y="18"/>
                    </a:cubicBezTo>
                    <a:cubicBezTo>
                      <a:pt x="912" y="14"/>
                      <a:pt x="917" y="12"/>
                      <a:pt x="922" y="8"/>
                    </a:cubicBezTo>
                    <a:cubicBezTo>
                      <a:pt x="933" y="4"/>
                      <a:pt x="945" y="0"/>
                      <a:pt x="956" y="1"/>
                    </a:cubicBezTo>
                    <a:cubicBezTo>
                      <a:pt x="959" y="2"/>
                      <a:pt x="961" y="2"/>
                      <a:pt x="964" y="3"/>
                    </a:cubicBezTo>
                    <a:cubicBezTo>
                      <a:pt x="966" y="3"/>
                      <a:pt x="969" y="4"/>
                      <a:pt x="971" y="5"/>
                    </a:cubicBezTo>
                    <a:cubicBezTo>
                      <a:pt x="976" y="7"/>
                      <a:pt x="980" y="9"/>
                      <a:pt x="984" y="11"/>
                    </a:cubicBezTo>
                    <a:cubicBezTo>
                      <a:pt x="992" y="16"/>
                      <a:pt x="998" y="21"/>
                      <a:pt x="1003" y="26"/>
                    </a:cubicBezTo>
                    <a:cubicBezTo>
                      <a:pt x="1008" y="31"/>
                      <a:pt x="1012" y="36"/>
                      <a:pt x="1014" y="40"/>
                    </a:cubicBezTo>
                    <a:cubicBezTo>
                      <a:pt x="1017" y="44"/>
                      <a:pt x="1019" y="48"/>
                      <a:pt x="1020" y="51"/>
                    </a:cubicBezTo>
                    <a:cubicBezTo>
                      <a:pt x="1021" y="53"/>
                      <a:pt x="1021" y="55"/>
                      <a:pt x="1021" y="55"/>
                    </a:cubicBezTo>
                    <a:cubicBezTo>
                      <a:pt x="1019" y="57"/>
                      <a:pt x="1019" y="57"/>
                      <a:pt x="1019" y="57"/>
                    </a:cubicBezTo>
                    <a:cubicBezTo>
                      <a:pt x="1019" y="57"/>
                      <a:pt x="1013" y="55"/>
                      <a:pt x="1004" y="52"/>
                    </a:cubicBezTo>
                    <a:cubicBezTo>
                      <a:pt x="1000" y="50"/>
                      <a:pt x="995" y="48"/>
                      <a:pt x="989" y="45"/>
                    </a:cubicBezTo>
                    <a:cubicBezTo>
                      <a:pt x="984" y="43"/>
                      <a:pt x="977" y="41"/>
                      <a:pt x="971" y="38"/>
                    </a:cubicBezTo>
                    <a:cubicBezTo>
                      <a:pt x="968" y="37"/>
                      <a:pt x="964" y="36"/>
                      <a:pt x="961" y="35"/>
                    </a:cubicBezTo>
                    <a:cubicBezTo>
                      <a:pt x="959" y="35"/>
                      <a:pt x="957" y="34"/>
                      <a:pt x="956" y="33"/>
                    </a:cubicBezTo>
                    <a:cubicBezTo>
                      <a:pt x="954" y="33"/>
                      <a:pt x="952" y="33"/>
                      <a:pt x="951" y="32"/>
                    </a:cubicBezTo>
                    <a:cubicBezTo>
                      <a:pt x="944" y="30"/>
                      <a:pt x="936" y="28"/>
                      <a:pt x="927" y="27"/>
                    </a:cubicBezTo>
                    <a:cubicBezTo>
                      <a:pt x="923" y="27"/>
                      <a:pt x="918" y="27"/>
                      <a:pt x="914" y="29"/>
                    </a:cubicBezTo>
                    <a:cubicBezTo>
                      <a:pt x="910" y="31"/>
                      <a:pt x="905" y="33"/>
                      <a:pt x="902" y="36"/>
                    </a:cubicBezTo>
                    <a:cubicBezTo>
                      <a:pt x="898" y="40"/>
                      <a:pt x="895" y="43"/>
                      <a:pt x="892" y="48"/>
                    </a:cubicBezTo>
                    <a:cubicBezTo>
                      <a:pt x="889" y="54"/>
                      <a:pt x="889" y="54"/>
                      <a:pt x="889" y="54"/>
                    </a:cubicBezTo>
                    <a:cubicBezTo>
                      <a:pt x="887" y="58"/>
                      <a:pt x="887" y="58"/>
                      <a:pt x="887" y="58"/>
                    </a:cubicBezTo>
                    <a:cubicBezTo>
                      <a:pt x="886" y="60"/>
                      <a:pt x="886" y="60"/>
                      <a:pt x="886" y="60"/>
                    </a:cubicBezTo>
                    <a:cubicBezTo>
                      <a:pt x="886" y="60"/>
                      <a:pt x="886" y="60"/>
                      <a:pt x="886" y="60"/>
                    </a:cubicBezTo>
                    <a:cubicBezTo>
                      <a:pt x="886" y="61"/>
                      <a:pt x="886" y="61"/>
                      <a:pt x="886" y="61"/>
                    </a:cubicBezTo>
                    <a:cubicBezTo>
                      <a:pt x="886" y="61"/>
                      <a:pt x="886" y="61"/>
                      <a:pt x="886" y="61"/>
                    </a:cubicBezTo>
                    <a:cubicBezTo>
                      <a:pt x="886" y="61"/>
                      <a:pt x="886" y="61"/>
                      <a:pt x="886" y="61"/>
                    </a:cubicBezTo>
                    <a:cubicBezTo>
                      <a:pt x="886" y="61"/>
                      <a:pt x="885" y="62"/>
                      <a:pt x="885" y="62"/>
                    </a:cubicBezTo>
                    <a:cubicBezTo>
                      <a:pt x="879" y="77"/>
                      <a:pt x="879" y="77"/>
                      <a:pt x="879" y="77"/>
                    </a:cubicBezTo>
                    <a:cubicBezTo>
                      <a:pt x="876" y="81"/>
                      <a:pt x="871" y="87"/>
                      <a:pt x="867" y="91"/>
                    </a:cubicBezTo>
                    <a:cubicBezTo>
                      <a:pt x="863" y="97"/>
                      <a:pt x="858" y="100"/>
                      <a:pt x="853" y="104"/>
                    </a:cubicBezTo>
                    <a:cubicBezTo>
                      <a:pt x="847" y="107"/>
                      <a:pt x="841" y="109"/>
                      <a:pt x="835" y="112"/>
                    </a:cubicBezTo>
                    <a:cubicBezTo>
                      <a:pt x="823" y="116"/>
                      <a:pt x="810" y="116"/>
                      <a:pt x="799" y="113"/>
                    </a:cubicBezTo>
                    <a:cubicBezTo>
                      <a:pt x="793" y="112"/>
                      <a:pt x="788" y="111"/>
                      <a:pt x="784" y="108"/>
                    </a:cubicBezTo>
                    <a:cubicBezTo>
                      <a:pt x="779" y="106"/>
                      <a:pt x="775" y="104"/>
                      <a:pt x="771" y="101"/>
                    </a:cubicBezTo>
                    <a:cubicBezTo>
                      <a:pt x="763" y="96"/>
                      <a:pt x="757" y="91"/>
                      <a:pt x="752" y="86"/>
                    </a:cubicBezTo>
                    <a:cubicBezTo>
                      <a:pt x="748" y="81"/>
                      <a:pt x="744" y="76"/>
                      <a:pt x="741" y="71"/>
                    </a:cubicBezTo>
                    <a:close/>
                    <a:moveTo>
                      <a:pt x="1277" y="910"/>
                    </a:moveTo>
                    <a:cubicBezTo>
                      <a:pt x="1277" y="1214"/>
                      <a:pt x="1277" y="1214"/>
                      <a:pt x="1277" y="1214"/>
                    </a:cubicBezTo>
                    <a:cubicBezTo>
                      <a:pt x="0" y="1214"/>
                      <a:pt x="0" y="1214"/>
                      <a:pt x="0" y="1214"/>
                    </a:cubicBezTo>
                    <a:cubicBezTo>
                      <a:pt x="0" y="910"/>
                      <a:pt x="0" y="910"/>
                      <a:pt x="0" y="910"/>
                    </a:cubicBezTo>
                    <a:cubicBezTo>
                      <a:pt x="87" y="910"/>
                      <a:pt x="87" y="910"/>
                      <a:pt x="87" y="910"/>
                    </a:cubicBezTo>
                    <a:cubicBezTo>
                      <a:pt x="87" y="568"/>
                      <a:pt x="87" y="568"/>
                      <a:pt x="87" y="568"/>
                    </a:cubicBezTo>
                    <a:cubicBezTo>
                      <a:pt x="332" y="396"/>
                      <a:pt x="332" y="396"/>
                      <a:pt x="332" y="396"/>
                    </a:cubicBezTo>
                    <a:cubicBezTo>
                      <a:pt x="332" y="568"/>
                      <a:pt x="332" y="568"/>
                      <a:pt x="332" y="568"/>
                    </a:cubicBezTo>
                    <a:cubicBezTo>
                      <a:pt x="577" y="396"/>
                      <a:pt x="577" y="396"/>
                      <a:pt x="577" y="396"/>
                    </a:cubicBezTo>
                    <a:cubicBezTo>
                      <a:pt x="577" y="568"/>
                      <a:pt x="577" y="568"/>
                      <a:pt x="577" y="568"/>
                    </a:cubicBezTo>
                    <a:cubicBezTo>
                      <a:pt x="822" y="396"/>
                      <a:pt x="822" y="396"/>
                      <a:pt x="822" y="396"/>
                    </a:cubicBezTo>
                    <a:cubicBezTo>
                      <a:pt x="822" y="734"/>
                      <a:pt x="822" y="734"/>
                      <a:pt x="822" y="734"/>
                    </a:cubicBezTo>
                    <a:cubicBezTo>
                      <a:pt x="907" y="734"/>
                      <a:pt x="907" y="734"/>
                      <a:pt x="907" y="734"/>
                    </a:cubicBezTo>
                    <a:cubicBezTo>
                      <a:pt x="953" y="136"/>
                      <a:pt x="953" y="136"/>
                      <a:pt x="953" y="136"/>
                    </a:cubicBezTo>
                    <a:cubicBezTo>
                      <a:pt x="1093" y="136"/>
                      <a:pt x="1093" y="136"/>
                      <a:pt x="1093" y="136"/>
                    </a:cubicBezTo>
                    <a:cubicBezTo>
                      <a:pt x="1133" y="734"/>
                      <a:pt x="1133" y="734"/>
                      <a:pt x="1133" y="734"/>
                    </a:cubicBezTo>
                    <a:cubicBezTo>
                      <a:pt x="1227" y="734"/>
                      <a:pt x="1227" y="734"/>
                      <a:pt x="1227" y="734"/>
                    </a:cubicBezTo>
                    <a:cubicBezTo>
                      <a:pt x="1227" y="910"/>
                      <a:pt x="1227" y="910"/>
                      <a:pt x="1227" y="910"/>
                    </a:cubicBezTo>
                    <a:lnTo>
                      <a:pt x="1277" y="910"/>
                    </a:lnTo>
                    <a:close/>
                    <a:moveTo>
                      <a:pt x="400" y="778"/>
                    </a:moveTo>
                    <a:cubicBezTo>
                      <a:pt x="208" y="778"/>
                      <a:pt x="208" y="778"/>
                      <a:pt x="208" y="778"/>
                    </a:cubicBezTo>
                    <a:cubicBezTo>
                      <a:pt x="208" y="956"/>
                      <a:pt x="208" y="956"/>
                      <a:pt x="208" y="956"/>
                    </a:cubicBezTo>
                    <a:cubicBezTo>
                      <a:pt x="400" y="956"/>
                      <a:pt x="400" y="956"/>
                      <a:pt x="400" y="956"/>
                    </a:cubicBezTo>
                    <a:lnTo>
                      <a:pt x="400" y="778"/>
                    </a:lnTo>
                    <a:close/>
                    <a:moveTo>
                      <a:pt x="732" y="778"/>
                    </a:moveTo>
                    <a:cubicBezTo>
                      <a:pt x="540" y="778"/>
                      <a:pt x="540" y="778"/>
                      <a:pt x="540" y="778"/>
                    </a:cubicBezTo>
                    <a:cubicBezTo>
                      <a:pt x="540" y="956"/>
                      <a:pt x="540" y="956"/>
                      <a:pt x="540" y="956"/>
                    </a:cubicBezTo>
                    <a:cubicBezTo>
                      <a:pt x="732" y="956"/>
                      <a:pt x="732" y="956"/>
                      <a:pt x="732" y="956"/>
                    </a:cubicBezTo>
                    <a:lnTo>
                      <a:pt x="732" y="778"/>
                    </a:lnTo>
                    <a:close/>
                    <a:moveTo>
                      <a:pt x="1069" y="778"/>
                    </a:moveTo>
                    <a:cubicBezTo>
                      <a:pt x="876" y="778"/>
                      <a:pt x="876" y="778"/>
                      <a:pt x="876" y="778"/>
                    </a:cubicBezTo>
                    <a:cubicBezTo>
                      <a:pt x="876" y="956"/>
                      <a:pt x="876" y="956"/>
                      <a:pt x="876" y="956"/>
                    </a:cubicBezTo>
                    <a:cubicBezTo>
                      <a:pt x="1069" y="956"/>
                      <a:pt x="1069" y="956"/>
                      <a:pt x="1069" y="956"/>
                    </a:cubicBezTo>
                    <a:lnTo>
                      <a:pt x="1069" y="778"/>
                    </a:lnTo>
                    <a:close/>
                    <a:moveTo>
                      <a:pt x="1069" y="778"/>
                    </a:moveTo>
                    <a:cubicBezTo>
                      <a:pt x="1069" y="778"/>
                      <a:pt x="1069" y="778"/>
                      <a:pt x="1069" y="778"/>
                    </a:cubicBezTo>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56" name="Freeform 17"/>
              <p:cNvSpPr>
                <a:spLocks/>
              </p:cNvSpPr>
              <p:nvPr/>
            </p:nvSpPr>
            <p:spPr bwMode="auto">
              <a:xfrm flipH="1">
                <a:off x="1208949" y="3167301"/>
                <a:ext cx="632152" cy="579206"/>
              </a:xfrm>
              <a:custGeom>
                <a:avLst/>
                <a:gdLst>
                  <a:gd name="T0" fmla="*/ 166 w 167"/>
                  <a:gd name="T1" fmla="*/ 58 h 153"/>
                  <a:gd name="T2" fmla="*/ 147 w 167"/>
                  <a:gd name="T3" fmla="*/ 44 h 153"/>
                  <a:gd name="T4" fmla="*/ 147 w 167"/>
                  <a:gd name="T5" fmla="*/ 3 h 153"/>
                  <a:gd name="T6" fmla="*/ 144 w 167"/>
                  <a:gd name="T7" fmla="*/ 0 h 153"/>
                  <a:gd name="T8" fmla="*/ 125 w 167"/>
                  <a:gd name="T9" fmla="*/ 0 h 153"/>
                  <a:gd name="T10" fmla="*/ 123 w 167"/>
                  <a:gd name="T11" fmla="*/ 3 h 153"/>
                  <a:gd name="T12" fmla="*/ 123 w 167"/>
                  <a:gd name="T13" fmla="*/ 27 h 153"/>
                  <a:gd name="T14" fmla="*/ 85 w 167"/>
                  <a:gd name="T15" fmla="*/ 1 h 153"/>
                  <a:gd name="T16" fmla="*/ 82 w 167"/>
                  <a:gd name="T17" fmla="*/ 1 h 153"/>
                  <a:gd name="T18" fmla="*/ 1 w 167"/>
                  <a:gd name="T19" fmla="*/ 58 h 153"/>
                  <a:gd name="T20" fmla="*/ 0 w 167"/>
                  <a:gd name="T21" fmla="*/ 59 h 153"/>
                  <a:gd name="T22" fmla="*/ 1 w 167"/>
                  <a:gd name="T23" fmla="*/ 61 h 153"/>
                  <a:gd name="T24" fmla="*/ 12 w 167"/>
                  <a:gd name="T25" fmla="*/ 77 h 153"/>
                  <a:gd name="T26" fmla="*/ 14 w 167"/>
                  <a:gd name="T27" fmla="*/ 78 h 153"/>
                  <a:gd name="T28" fmla="*/ 15 w 167"/>
                  <a:gd name="T29" fmla="*/ 77 h 153"/>
                  <a:gd name="T30" fmla="*/ 20 w 167"/>
                  <a:gd name="T31" fmla="*/ 74 h 153"/>
                  <a:gd name="T32" fmla="*/ 20 w 167"/>
                  <a:gd name="T33" fmla="*/ 151 h 153"/>
                  <a:gd name="T34" fmla="*/ 23 w 167"/>
                  <a:gd name="T35" fmla="*/ 153 h 153"/>
                  <a:gd name="T36" fmla="*/ 65 w 167"/>
                  <a:gd name="T37" fmla="*/ 153 h 153"/>
                  <a:gd name="T38" fmla="*/ 68 w 167"/>
                  <a:gd name="T39" fmla="*/ 151 h 153"/>
                  <a:gd name="T40" fmla="*/ 68 w 167"/>
                  <a:gd name="T41" fmla="*/ 93 h 153"/>
                  <a:gd name="T42" fmla="*/ 100 w 167"/>
                  <a:gd name="T43" fmla="*/ 93 h 153"/>
                  <a:gd name="T44" fmla="*/ 100 w 167"/>
                  <a:gd name="T45" fmla="*/ 151 h 153"/>
                  <a:gd name="T46" fmla="*/ 102 w 167"/>
                  <a:gd name="T47" fmla="*/ 153 h 153"/>
                  <a:gd name="T48" fmla="*/ 144 w 167"/>
                  <a:gd name="T49" fmla="*/ 153 h 153"/>
                  <a:gd name="T50" fmla="*/ 147 w 167"/>
                  <a:gd name="T51" fmla="*/ 151 h 153"/>
                  <a:gd name="T52" fmla="*/ 147 w 167"/>
                  <a:gd name="T53" fmla="*/ 74 h 153"/>
                  <a:gd name="T54" fmla="*/ 152 w 167"/>
                  <a:gd name="T55" fmla="*/ 77 h 153"/>
                  <a:gd name="T56" fmla="*/ 155 w 167"/>
                  <a:gd name="T57" fmla="*/ 77 h 153"/>
                  <a:gd name="T58" fmla="*/ 166 w 167"/>
                  <a:gd name="T59" fmla="*/ 61 h 153"/>
                  <a:gd name="T60" fmla="*/ 167 w 167"/>
                  <a:gd name="T61" fmla="*/ 59 h 153"/>
                  <a:gd name="T62" fmla="*/ 166 w 167"/>
                  <a:gd name="T63" fmla="*/ 5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53">
                    <a:moveTo>
                      <a:pt x="166" y="58"/>
                    </a:moveTo>
                    <a:cubicBezTo>
                      <a:pt x="147" y="44"/>
                      <a:pt x="147" y="44"/>
                      <a:pt x="147" y="44"/>
                    </a:cubicBezTo>
                    <a:cubicBezTo>
                      <a:pt x="147" y="3"/>
                      <a:pt x="147" y="3"/>
                      <a:pt x="147" y="3"/>
                    </a:cubicBezTo>
                    <a:cubicBezTo>
                      <a:pt x="147" y="1"/>
                      <a:pt x="146" y="0"/>
                      <a:pt x="144" y="0"/>
                    </a:cubicBezTo>
                    <a:cubicBezTo>
                      <a:pt x="125" y="0"/>
                      <a:pt x="125" y="0"/>
                      <a:pt x="125" y="0"/>
                    </a:cubicBezTo>
                    <a:cubicBezTo>
                      <a:pt x="124" y="0"/>
                      <a:pt x="123" y="1"/>
                      <a:pt x="123" y="3"/>
                    </a:cubicBezTo>
                    <a:cubicBezTo>
                      <a:pt x="123" y="27"/>
                      <a:pt x="123" y="27"/>
                      <a:pt x="123" y="27"/>
                    </a:cubicBezTo>
                    <a:cubicBezTo>
                      <a:pt x="85" y="1"/>
                      <a:pt x="85" y="1"/>
                      <a:pt x="85" y="1"/>
                    </a:cubicBezTo>
                    <a:cubicBezTo>
                      <a:pt x="84" y="0"/>
                      <a:pt x="83" y="0"/>
                      <a:pt x="82" y="1"/>
                    </a:cubicBezTo>
                    <a:cubicBezTo>
                      <a:pt x="1" y="58"/>
                      <a:pt x="1" y="58"/>
                      <a:pt x="1" y="58"/>
                    </a:cubicBezTo>
                    <a:cubicBezTo>
                      <a:pt x="1" y="58"/>
                      <a:pt x="1" y="59"/>
                      <a:pt x="0" y="59"/>
                    </a:cubicBezTo>
                    <a:cubicBezTo>
                      <a:pt x="0" y="60"/>
                      <a:pt x="0" y="60"/>
                      <a:pt x="1" y="61"/>
                    </a:cubicBezTo>
                    <a:cubicBezTo>
                      <a:pt x="12" y="77"/>
                      <a:pt x="12" y="77"/>
                      <a:pt x="12" y="77"/>
                    </a:cubicBezTo>
                    <a:cubicBezTo>
                      <a:pt x="12" y="77"/>
                      <a:pt x="13" y="78"/>
                      <a:pt x="14" y="78"/>
                    </a:cubicBezTo>
                    <a:cubicBezTo>
                      <a:pt x="14" y="78"/>
                      <a:pt x="15" y="78"/>
                      <a:pt x="15" y="77"/>
                    </a:cubicBezTo>
                    <a:cubicBezTo>
                      <a:pt x="20" y="74"/>
                      <a:pt x="20" y="74"/>
                      <a:pt x="20" y="74"/>
                    </a:cubicBezTo>
                    <a:cubicBezTo>
                      <a:pt x="20" y="151"/>
                      <a:pt x="20" y="151"/>
                      <a:pt x="20" y="151"/>
                    </a:cubicBezTo>
                    <a:cubicBezTo>
                      <a:pt x="20" y="152"/>
                      <a:pt x="21" y="153"/>
                      <a:pt x="23" y="153"/>
                    </a:cubicBezTo>
                    <a:cubicBezTo>
                      <a:pt x="65" y="153"/>
                      <a:pt x="65" y="153"/>
                      <a:pt x="65" y="153"/>
                    </a:cubicBezTo>
                    <a:cubicBezTo>
                      <a:pt x="66" y="153"/>
                      <a:pt x="68" y="152"/>
                      <a:pt x="68" y="151"/>
                    </a:cubicBezTo>
                    <a:cubicBezTo>
                      <a:pt x="68" y="93"/>
                      <a:pt x="68" y="93"/>
                      <a:pt x="68" y="93"/>
                    </a:cubicBezTo>
                    <a:cubicBezTo>
                      <a:pt x="100" y="93"/>
                      <a:pt x="100" y="93"/>
                      <a:pt x="100" y="93"/>
                    </a:cubicBezTo>
                    <a:cubicBezTo>
                      <a:pt x="100" y="151"/>
                      <a:pt x="100" y="151"/>
                      <a:pt x="100" y="151"/>
                    </a:cubicBezTo>
                    <a:cubicBezTo>
                      <a:pt x="100" y="152"/>
                      <a:pt x="101" y="153"/>
                      <a:pt x="102" y="153"/>
                    </a:cubicBezTo>
                    <a:cubicBezTo>
                      <a:pt x="144" y="153"/>
                      <a:pt x="144" y="153"/>
                      <a:pt x="144" y="153"/>
                    </a:cubicBezTo>
                    <a:cubicBezTo>
                      <a:pt x="146" y="153"/>
                      <a:pt x="147" y="152"/>
                      <a:pt x="147" y="151"/>
                    </a:cubicBezTo>
                    <a:cubicBezTo>
                      <a:pt x="147" y="74"/>
                      <a:pt x="147" y="74"/>
                      <a:pt x="147" y="74"/>
                    </a:cubicBezTo>
                    <a:cubicBezTo>
                      <a:pt x="152" y="77"/>
                      <a:pt x="152" y="77"/>
                      <a:pt x="152" y="77"/>
                    </a:cubicBezTo>
                    <a:cubicBezTo>
                      <a:pt x="153" y="78"/>
                      <a:pt x="155" y="78"/>
                      <a:pt x="155" y="77"/>
                    </a:cubicBezTo>
                    <a:cubicBezTo>
                      <a:pt x="166" y="61"/>
                      <a:pt x="166" y="61"/>
                      <a:pt x="166" y="61"/>
                    </a:cubicBezTo>
                    <a:cubicBezTo>
                      <a:pt x="167" y="60"/>
                      <a:pt x="167" y="60"/>
                      <a:pt x="167" y="59"/>
                    </a:cubicBezTo>
                    <a:cubicBezTo>
                      <a:pt x="167" y="59"/>
                      <a:pt x="166" y="58"/>
                      <a:pt x="166" y="58"/>
                    </a:cubicBezTo>
                    <a:close/>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nvGrpSpPr>
              <p:cNvPr id="158" name="Group 157"/>
              <p:cNvGrpSpPr/>
              <p:nvPr/>
            </p:nvGrpSpPr>
            <p:grpSpPr>
              <a:xfrm>
                <a:off x="1617613" y="2523372"/>
                <a:ext cx="590096" cy="1470098"/>
                <a:chOff x="1525294" y="104182"/>
                <a:chExt cx="681830" cy="1698634"/>
              </a:xfrm>
              <a:solidFill>
                <a:schemeClr val="accent2"/>
              </a:solidFill>
            </p:grpSpPr>
            <p:sp>
              <p:nvSpPr>
                <p:cNvPr id="161" name="Freeform 3735"/>
                <p:cNvSpPr>
                  <a:spLocks/>
                </p:cNvSpPr>
                <p:nvPr/>
              </p:nvSpPr>
              <p:spPr bwMode="auto">
                <a:xfrm>
                  <a:off x="1525294" y="414342"/>
                  <a:ext cx="681830" cy="1388474"/>
                </a:xfrm>
                <a:custGeom>
                  <a:avLst/>
                  <a:gdLst>
                    <a:gd name="T0" fmla="*/ 52 w 221"/>
                    <a:gd name="T1" fmla="*/ 425 h 450"/>
                    <a:gd name="T2" fmla="*/ 77 w 221"/>
                    <a:gd name="T3" fmla="*/ 450 h 450"/>
                    <a:gd name="T4" fmla="*/ 102 w 221"/>
                    <a:gd name="T5" fmla="*/ 425 h 450"/>
                    <a:gd name="T6" fmla="*/ 102 w 221"/>
                    <a:gd name="T7" fmla="*/ 214 h 450"/>
                    <a:gd name="T8" fmla="*/ 119 w 221"/>
                    <a:gd name="T9" fmla="*/ 214 h 450"/>
                    <a:gd name="T10" fmla="*/ 119 w 221"/>
                    <a:gd name="T11" fmla="*/ 425 h 450"/>
                    <a:gd name="T12" fmla="*/ 144 w 221"/>
                    <a:gd name="T13" fmla="*/ 450 h 450"/>
                    <a:gd name="T14" fmla="*/ 169 w 221"/>
                    <a:gd name="T15" fmla="*/ 425 h 450"/>
                    <a:gd name="T16" fmla="*/ 169 w 221"/>
                    <a:gd name="T17" fmla="*/ 62 h 450"/>
                    <a:gd name="T18" fmla="*/ 186 w 221"/>
                    <a:gd name="T19" fmla="*/ 62 h 450"/>
                    <a:gd name="T20" fmla="*/ 186 w 221"/>
                    <a:gd name="T21" fmla="*/ 196 h 450"/>
                    <a:gd name="T22" fmla="*/ 221 w 221"/>
                    <a:gd name="T23" fmla="*/ 196 h 450"/>
                    <a:gd name="T24" fmla="*/ 221 w 221"/>
                    <a:gd name="T25" fmla="*/ 59 h 450"/>
                    <a:gd name="T26" fmla="*/ 163 w 221"/>
                    <a:gd name="T27" fmla="*/ 0 h 450"/>
                    <a:gd name="T28" fmla="*/ 57 w 221"/>
                    <a:gd name="T29" fmla="*/ 0 h 450"/>
                    <a:gd name="T30" fmla="*/ 0 w 221"/>
                    <a:gd name="T31" fmla="*/ 58 h 450"/>
                    <a:gd name="T32" fmla="*/ 0 w 221"/>
                    <a:gd name="T33" fmla="*/ 196 h 450"/>
                    <a:gd name="T34" fmla="*/ 35 w 221"/>
                    <a:gd name="T35" fmla="*/ 196 h 450"/>
                    <a:gd name="T36" fmla="*/ 35 w 221"/>
                    <a:gd name="T37" fmla="*/ 62 h 450"/>
                    <a:gd name="T38" fmla="*/ 52 w 221"/>
                    <a:gd name="T39" fmla="*/ 62 h 450"/>
                    <a:gd name="T40" fmla="*/ 52 w 221"/>
                    <a:gd name="T41" fmla="*/ 42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1" h="450">
                      <a:moveTo>
                        <a:pt x="52" y="425"/>
                      </a:moveTo>
                      <a:cubicBezTo>
                        <a:pt x="52" y="439"/>
                        <a:pt x="63" y="450"/>
                        <a:pt x="77" y="450"/>
                      </a:cubicBezTo>
                      <a:cubicBezTo>
                        <a:pt x="91" y="450"/>
                        <a:pt x="102" y="439"/>
                        <a:pt x="102" y="425"/>
                      </a:cubicBezTo>
                      <a:cubicBezTo>
                        <a:pt x="102" y="214"/>
                        <a:pt x="102" y="214"/>
                        <a:pt x="102" y="214"/>
                      </a:cubicBezTo>
                      <a:cubicBezTo>
                        <a:pt x="119" y="214"/>
                        <a:pt x="119" y="214"/>
                        <a:pt x="119" y="214"/>
                      </a:cubicBezTo>
                      <a:cubicBezTo>
                        <a:pt x="119" y="425"/>
                        <a:pt x="119" y="425"/>
                        <a:pt x="119" y="425"/>
                      </a:cubicBezTo>
                      <a:cubicBezTo>
                        <a:pt x="119" y="439"/>
                        <a:pt x="130" y="450"/>
                        <a:pt x="144" y="450"/>
                      </a:cubicBezTo>
                      <a:cubicBezTo>
                        <a:pt x="158" y="450"/>
                        <a:pt x="169" y="439"/>
                        <a:pt x="169" y="425"/>
                      </a:cubicBezTo>
                      <a:cubicBezTo>
                        <a:pt x="169" y="62"/>
                        <a:pt x="169" y="62"/>
                        <a:pt x="169" y="62"/>
                      </a:cubicBezTo>
                      <a:cubicBezTo>
                        <a:pt x="186" y="62"/>
                        <a:pt x="186" y="62"/>
                        <a:pt x="186" y="62"/>
                      </a:cubicBezTo>
                      <a:cubicBezTo>
                        <a:pt x="186" y="196"/>
                        <a:pt x="186" y="196"/>
                        <a:pt x="186" y="196"/>
                      </a:cubicBezTo>
                      <a:cubicBezTo>
                        <a:pt x="186" y="222"/>
                        <a:pt x="221" y="222"/>
                        <a:pt x="221" y="196"/>
                      </a:cubicBezTo>
                      <a:cubicBezTo>
                        <a:pt x="221" y="59"/>
                        <a:pt x="221" y="59"/>
                        <a:pt x="221" y="59"/>
                      </a:cubicBezTo>
                      <a:cubicBezTo>
                        <a:pt x="221" y="29"/>
                        <a:pt x="198" y="0"/>
                        <a:pt x="163" y="0"/>
                      </a:cubicBezTo>
                      <a:cubicBezTo>
                        <a:pt x="57" y="0"/>
                        <a:pt x="57" y="0"/>
                        <a:pt x="57" y="0"/>
                      </a:cubicBezTo>
                      <a:cubicBezTo>
                        <a:pt x="25" y="0"/>
                        <a:pt x="0" y="26"/>
                        <a:pt x="0" y="58"/>
                      </a:cubicBezTo>
                      <a:cubicBezTo>
                        <a:pt x="0" y="196"/>
                        <a:pt x="0" y="196"/>
                        <a:pt x="0" y="196"/>
                      </a:cubicBezTo>
                      <a:cubicBezTo>
                        <a:pt x="0" y="222"/>
                        <a:pt x="35" y="222"/>
                        <a:pt x="35" y="196"/>
                      </a:cubicBezTo>
                      <a:cubicBezTo>
                        <a:pt x="35" y="62"/>
                        <a:pt x="35" y="62"/>
                        <a:pt x="35" y="62"/>
                      </a:cubicBezTo>
                      <a:cubicBezTo>
                        <a:pt x="52" y="62"/>
                        <a:pt x="52" y="62"/>
                        <a:pt x="52" y="62"/>
                      </a:cubicBezTo>
                      <a:lnTo>
                        <a:pt x="52" y="425"/>
                      </a:lnTo>
                      <a:close/>
                    </a:path>
                  </a:pathLst>
                </a:cu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171" name="Oval 3736"/>
                <p:cNvSpPr>
                  <a:spLocks noChangeArrowheads="1"/>
                </p:cNvSpPr>
                <p:nvPr/>
              </p:nvSpPr>
              <p:spPr bwMode="auto">
                <a:xfrm>
                  <a:off x="1732064" y="104182"/>
                  <a:ext cx="274298" cy="276911"/>
                </a:xfrm>
                <a:prstGeom prst="ellipse">
                  <a:avLst/>
                </a:pr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grpSp>
        <p:sp>
          <p:nvSpPr>
            <p:cNvPr id="153" name="TextBox 152"/>
            <p:cNvSpPr txBox="1"/>
            <p:nvPr/>
          </p:nvSpPr>
          <p:spPr>
            <a:xfrm>
              <a:off x="1580183" y="2622992"/>
              <a:ext cx="680429" cy="237491"/>
            </a:xfrm>
            <a:prstGeom prst="rect">
              <a:avLst/>
            </a:prstGeom>
            <a:noFill/>
          </p:spPr>
          <p:txBody>
            <a:bodyPr wrap="none" rtlCol="0">
              <a:spAutoFit/>
            </a:bodyPr>
            <a:lstStyle/>
            <a:p>
              <a:r>
                <a:rPr lang="en-US" sz="1300" dirty="0"/>
                <a:t>Prosumer</a:t>
              </a:r>
            </a:p>
          </p:txBody>
        </p:sp>
      </p:grpSp>
      <p:grpSp>
        <p:nvGrpSpPr>
          <p:cNvPr id="182" name="Group 181"/>
          <p:cNvGrpSpPr/>
          <p:nvPr/>
        </p:nvGrpSpPr>
        <p:grpSpPr>
          <a:xfrm>
            <a:off x="3537113" y="1177530"/>
            <a:ext cx="5496748" cy="2653702"/>
            <a:chOff x="1820817" y="1177529"/>
            <a:chExt cx="5496748" cy="2653702"/>
          </a:xfrm>
        </p:grpSpPr>
        <p:grpSp>
          <p:nvGrpSpPr>
            <p:cNvPr id="186" name="Group 185"/>
            <p:cNvGrpSpPr/>
            <p:nvPr/>
          </p:nvGrpSpPr>
          <p:grpSpPr>
            <a:xfrm>
              <a:off x="2916010" y="1944151"/>
              <a:ext cx="1106423" cy="1106423"/>
              <a:chOff x="1737897" y="2842877"/>
              <a:chExt cx="1106423" cy="1106423"/>
            </a:xfrm>
          </p:grpSpPr>
          <p:sp>
            <p:nvSpPr>
              <p:cNvPr id="236" name="Oval 235"/>
              <p:cNvSpPr/>
              <p:nvPr/>
            </p:nvSpPr>
            <p:spPr>
              <a:xfrm>
                <a:off x="1737897" y="2842877"/>
                <a:ext cx="1106423" cy="1106423"/>
              </a:xfrm>
              <a:prstGeom prst="ellipse">
                <a:avLst/>
              </a:prstGeom>
              <a:solidFill>
                <a:schemeClr val="bg1"/>
              </a:solid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nvGrpSpPr>
              <p:cNvPr id="237" name="Group 59"/>
              <p:cNvGrpSpPr>
                <a:grpSpLocks noChangeAspect="1"/>
              </p:cNvGrpSpPr>
              <p:nvPr/>
            </p:nvGrpSpPr>
            <p:grpSpPr bwMode="auto">
              <a:xfrm>
                <a:off x="1863272" y="3142651"/>
                <a:ext cx="855672" cy="407711"/>
                <a:chOff x="2426" y="1865"/>
                <a:chExt cx="659" cy="314"/>
              </a:xfrm>
              <a:solidFill>
                <a:schemeClr val="accent2"/>
              </a:solidFill>
            </p:grpSpPr>
            <p:sp>
              <p:nvSpPr>
                <p:cNvPr id="239" name="Freeform 60"/>
                <p:cNvSpPr>
                  <a:spLocks noEditPoints="1"/>
                </p:cNvSpPr>
                <p:nvPr/>
              </p:nvSpPr>
              <p:spPr bwMode="auto">
                <a:xfrm>
                  <a:off x="2542" y="1865"/>
                  <a:ext cx="428" cy="314"/>
                </a:xfrm>
                <a:custGeom>
                  <a:avLst/>
                  <a:gdLst>
                    <a:gd name="T0" fmla="*/ 181 w 181"/>
                    <a:gd name="T1" fmla="*/ 25 h 133"/>
                    <a:gd name="T2" fmla="*/ 117 w 181"/>
                    <a:gd name="T3" fmla="*/ 4 h 133"/>
                    <a:gd name="T4" fmla="*/ 59 w 181"/>
                    <a:gd name="T5" fmla="*/ 0 h 133"/>
                    <a:gd name="T6" fmla="*/ 0 w 181"/>
                    <a:gd name="T7" fmla="*/ 22 h 133"/>
                    <a:gd name="T8" fmla="*/ 12 w 181"/>
                    <a:gd name="T9" fmla="*/ 91 h 133"/>
                    <a:gd name="T10" fmla="*/ 20 w 181"/>
                    <a:gd name="T11" fmla="*/ 109 h 133"/>
                    <a:gd name="T12" fmla="*/ 32 w 181"/>
                    <a:gd name="T13" fmla="*/ 113 h 133"/>
                    <a:gd name="T14" fmla="*/ 48 w 181"/>
                    <a:gd name="T15" fmla="*/ 119 h 133"/>
                    <a:gd name="T16" fmla="*/ 61 w 181"/>
                    <a:gd name="T17" fmla="*/ 130 h 133"/>
                    <a:gd name="T18" fmla="*/ 79 w 181"/>
                    <a:gd name="T19" fmla="*/ 130 h 133"/>
                    <a:gd name="T20" fmla="*/ 91 w 181"/>
                    <a:gd name="T21" fmla="*/ 133 h 133"/>
                    <a:gd name="T22" fmla="*/ 100 w 181"/>
                    <a:gd name="T23" fmla="*/ 127 h 133"/>
                    <a:gd name="T24" fmla="*/ 116 w 181"/>
                    <a:gd name="T25" fmla="*/ 128 h 133"/>
                    <a:gd name="T26" fmla="*/ 122 w 181"/>
                    <a:gd name="T27" fmla="*/ 122 h 133"/>
                    <a:gd name="T28" fmla="*/ 142 w 181"/>
                    <a:gd name="T29" fmla="*/ 117 h 133"/>
                    <a:gd name="T30" fmla="*/ 144 w 181"/>
                    <a:gd name="T31" fmla="*/ 115 h 133"/>
                    <a:gd name="T32" fmla="*/ 155 w 181"/>
                    <a:gd name="T33" fmla="*/ 116 h 133"/>
                    <a:gd name="T34" fmla="*/ 164 w 181"/>
                    <a:gd name="T35" fmla="*/ 101 h 133"/>
                    <a:gd name="T36" fmla="*/ 158 w 181"/>
                    <a:gd name="T37" fmla="*/ 108 h 133"/>
                    <a:gd name="T38" fmla="*/ 153 w 181"/>
                    <a:gd name="T39" fmla="*/ 112 h 133"/>
                    <a:gd name="T40" fmla="*/ 142 w 181"/>
                    <a:gd name="T41" fmla="*/ 108 h 133"/>
                    <a:gd name="T42" fmla="*/ 118 w 181"/>
                    <a:gd name="T43" fmla="*/ 81 h 133"/>
                    <a:gd name="T44" fmla="*/ 138 w 181"/>
                    <a:gd name="T45" fmla="*/ 110 h 133"/>
                    <a:gd name="T46" fmla="*/ 133 w 181"/>
                    <a:gd name="T47" fmla="*/ 118 h 133"/>
                    <a:gd name="T48" fmla="*/ 122 w 181"/>
                    <a:gd name="T49" fmla="*/ 115 h 133"/>
                    <a:gd name="T50" fmla="*/ 98 w 181"/>
                    <a:gd name="T51" fmla="*/ 88 h 133"/>
                    <a:gd name="T52" fmla="*/ 117 w 181"/>
                    <a:gd name="T53" fmla="*/ 117 h 133"/>
                    <a:gd name="T54" fmla="*/ 114 w 181"/>
                    <a:gd name="T55" fmla="*/ 123 h 133"/>
                    <a:gd name="T56" fmla="*/ 109 w 181"/>
                    <a:gd name="T57" fmla="*/ 125 h 133"/>
                    <a:gd name="T58" fmla="*/ 97 w 181"/>
                    <a:gd name="T59" fmla="*/ 118 h 133"/>
                    <a:gd name="T60" fmla="*/ 75 w 181"/>
                    <a:gd name="T61" fmla="*/ 95 h 133"/>
                    <a:gd name="T62" fmla="*/ 94 w 181"/>
                    <a:gd name="T63" fmla="*/ 127 h 133"/>
                    <a:gd name="T64" fmla="*/ 91 w 181"/>
                    <a:gd name="T65" fmla="*/ 128 h 133"/>
                    <a:gd name="T66" fmla="*/ 29 w 181"/>
                    <a:gd name="T67" fmla="*/ 88 h 133"/>
                    <a:gd name="T68" fmla="*/ 6 w 181"/>
                    <a:gd name="T69" fmla="*/ 86 h 133"/>
                    <a:gd name="T70" fmla="*/ 24 w 181"/>
                    <a:gd name="T71" fmla="*/ 28 h 133"/>
                    <a:gd name="T72" fmla="*/ 72 w 181"/>
                    <a:gd name="T73" fmla="*/ 8 h 133"/>
                    <a:gd name="T74" fmla="*/ 61 w 181"/>
                    <a:gd name="T75" fmla="*/ 40 h 133"/>
                    <a:gd name="T76" fmla="*/ 102 w 181"/>
                    <a:gd name="T77" fmla="*/ 32 h 133"/>
                    <a:gd name="T78" fmla="*/ 157 w 181"/>
                    <a:gd name="T79" fmla="*/ 94 h 133"/>
                    <a:gd name="T80" fmla="*/ 158 w 181"/>
                    <a:gd name="T81" fmla="*/ 10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33">
                      <a:moveTo>
                        <a:pt x="181" y="91"/>
                      </a:moveTo>
                      <a:cubicBezTo>
                        <a:pt x="181" y="25"/>
                        <a:pt x="181" y="25"/>
                        <a:pt x="181" y="25"/>
                      </a:cubicBezTo>
                      <a:cubicBezTo>
                        <a:pt x="159" y="25"/>
                        <a:pt x="159" y="25"/>
                        <a:pt x="159" y="25"/>
                      </a:cubicBezTo>
                      <a:cubicBezTo>
                        <a:pt x="117" y="4"/>
                        <a:pt x="117" y="4"/>
                        <a:pt x="117" y="4"/>
                      </a:cubicBezTo>
                      <a:cubicBezTo>
                        <a:pt x="81" y="4"/>
                        <a:pt x="81" y="4"/>
                        <a:pt x="81" y="4"/>
                      </a:cubicBezTo>
                      <a:cubicBezTo>
                        <a:pt x="59" y="0"/>
                        <a:pt x="59" y="0"/>
                        <a:pt x="59" y="0"/>
                      </a:cubicBezTo>
                      <a:cubicBezTo>
                        <a:pt x="23" y="23"/>
                        <a:pt x="23" y="23"/>
                        <a:pt x="23" y="23"/>
                      </a:cubicBezTo>
                      <a:cubicBezTo>
                        <a:pt x="0" y="22"/>
                        <a:pt x="0" y="22"/>
                        <a:pt x="0" y="22"/>
                      </a:cubicBezTo>
                      <a:cubicBezTo>
                        <a:pt x="1" y="90"/>
                        <a:pt x="1" y="90"/>
                        <a:pt x="1" y="90"/>
                      </a:cubicBezTo>
                      <a:cubicBezTo>
                        <a:pt x="12" y="91"/>
                        <a:pt x="12" y="91"/>
                        <a:pt x="12" y="91"/>
                      </a:cubicBezTo>
                      <a:cubicBezTo>
                        <a:pt x="12" y="94"/>
                        <a:pt x="11" y="100"/>
                        <a:pt x="12" y="102"/>
                      </a:cubicBezTo>
                      <a:cubicBezTo>
                        <a:pt x="13" y="104"/>
                        <a:pt x="18" y="109"/>
                        <a:pt x="20" y="109"/>
                      </a:cubicBezTo>
                      <a:cubicBezTo>
                        <a:pt x="23" y="109"/>
                        <a:pt x="31" y="104"/>
                        <a:pt x="31" y="104"/>
                      </a:cubicBezTo>
                      <a:cubicBezTo>
                        <a:pt x="31" y="104"/>
                        <a:pt x="32" y="111"/>
                        <a:pt x="32" y="113"/>
                      </a:cubicBezTo>
                      <a:cubicBezTo>
                        <a:pt x="31" y="115"/>
                        <a:pt x="35" y="120"/>
                        <a:pt x="38" y="120"/>
                      </a:cubicBezTo>
                      <a:cubicBezTo>
                        <a:pt x="41" y="120"/>
                        <a:pt x="48" y="119"/>
                        <a:pt x="48" y="119"/>
                      </a:cubicBezTo>
                      <a:cubicBezTo>
                        <a:pt x="48" y="119"/>
                        <a:pt x="49" y="125"/>
                        <a:pt x="52" y="127"/>
                      </a:cubicBezTo>
                      <a:cubicBezTo>
                        <a:pt x="54" y="129"/>
                        <a:pt x="60" y="130"/>
                        <a:pt x="61" y="130"/>
                      </a:cubicBezTo>
                      <a:cubicBezTo>
                        <a:pt x="63" y="129"/>
                        <a:pt x="68" y="127"/>
                        <a:pt x="72" y="125"/>
                      </a:cubicBezTo>
                      <a:cubicBezTo>
                        <a:pt x="76" y="128"/>
                        <a:pt x="79" y="130"/>
                        <a:pt x="79" y="130"/>
                      </a:cubicBezTo>
                      <a:cubicBezTo>
                        <a:pt x="80" y="131"/>
                        <a:pt x="86" y="133"/>
                        <a:pt x="91" y="133"/>
                      </a:cubicBezTo>
                      <a:cubicBezTo>
                        <a:pt x="91" y="133"/>
                        <a:pt x="91" y="133"/>
                        <a:pt x="91" y="133"/>
                      </a:cubicBezTo>
                      <a:cubicBezTo>
                        <a:pt x="94" y="133"/>
                        <a:pt x="97" y="132"/>
                        <a:pt x="98" y="130"/>
                      </a:cubicBezTo>
                      <a:cubicBezTo>
                        <a:pt x="99" y="129"/>
                        <a:pt x="99" y="128"/>
                        <a:pt x="100" y="127"/>
                      </a:cubicBezTo>
                      <a:cubicBezTo>
                        <a:pt x="102" y="129"/>
                        <a:pt x="106" y="130"/>
                        <a:pt x="109" y="130"/>
                      </a:cubicBezTo>
                      <a:cubicBezTo>
                        <a:pt x="112" y="130"/>
                        <a:pt x="114" y="129"/>
                        <a:pt x="116" y="128"/>
                      </a:cubicBezTo>
                      <a:cubicBezTo>
                        <a:pt x="118" y="127"/>
                        <a:pt x="121" y="125"/>
                        <a:pt x="122" y="122"/>
                      </a:cubicBezTo>
                      <a:cubicBezTo>
                        <a:pt x="122" y="122"/>
                        <a:pt x="122" y="122"/>
                        <a:pt x="122" y="122"/>
                      </a:cubicBezTo>
                      <a:cubicBezTo>
                        <a:pt x="125" y="123"/>
                        <a:pt x="130" y="125"/>
                        <a:pt x="135" y="122"/>
                      </a:cubicBezTo>
                      <a:cubicBezTo>
                        <a:pt x="137" y="122"/>
                        <a:pt x="141" y="120"/>
                        <a:pt x="142" y="117"/>
                      </a:cubicBezTo>
                      <a:cubicBezTo>
                        <a:pt x="143" y="117"/>
                        <a:pt x="143" y="115"/>
                        <a:pt x="143" y="114"/>
                      </a:cubicBezTo>
                      <a:cubicBezTo>
                        <a:pt x="144" y="115"/>
                        <a:pt x="144" y="115"/>
                        <a:pt x="144" y="115"/>
                      </a:cubicBezTo>
                      <a:cubicBezTo>
                        <a:pt x="145" y="116"/>
                        <a:pt x="145" y="116"/>
                        <a:pt x="145" y="116"/>
                      </a:cubicBezTo>
                      <a:cubicBezTo>
                        <a:pt x="145" y="116"/>
                        <a:pt x="152" y="117"/>
                        <a:pt x="155" y="116"/>
                      </a:cubicBezTo>
                      <a:cubicBezTo>
                        <a:pt x="159" y="116"/>
                        <a:pt x="162" y="112"/>
                        <a:pt x="163" y="110"/>
                      </a:cubicBezTo>
                      <a:cubicBezTo>
                        <a:pt x="163" y="109"/>
                        <a:pt x="164" y="106"/>
                        <a:pt x="164" y="101"/>
                      </a:cubicBezTo>
                      <a:lnTo>
                        <a:pt x="181" y="91"/>
                      </a:lnTo>
                      <a:close/>
                      <a:moveTo>
                        <a:pt x="158" y="108"/>
                      </a:moveTo>
                      <a:cubicBezTo>
                        <a:pt x="158" y="109"/>
                        <a:pt x="156" y="111"/>
                        <a:pt x="154" y="112"/>
                      </a:cubicBezTo>
                      <a:cubicBezTo>
                        <a:pt x="154" y="112"/>
                        <a:pt x="153" y="112"/>
                        <a:pt x="153" y="112"/>
                      </a:cubicBezTo>
                      <a:cubicBezTo>
                        <a:pt x="151" y="112"/>
                        <a:pt x="148" y="111"/>
                        <a:pt x="147" y="111"/>
                      </a:cubicBezTo>
                      <a:cubicBezTo>
                        <a:pt x="142" y="108"/>
                        <a:pt x="142" y="108"/>
                        <a:pt x="142" y="108"/>
                      </a:cubicBezTo>
                      <a:cubicBezTo>
                        <a:pt x="122" y="78"/>
                        <a:pt x="122" y="78"/>
                        <a:pt x="122" y="78"/>
                      </a:cubicBezTo>
                      <a:cubicBezTo>
                        <a:pt x="118" y="81"/>
                        <a:pt x="118" y="81"/>
                        <a:pt x="118" y="81"/>
                      </a:cubicBezTo>
                      <a:cubicBezTo>
                        <a:pt x="138" y="111"/>
                        <a:pt x="138" y="111"/>
                        <a:pt x="138" y="111"/>
                      </a:cubicBezTo>
                      <a:cubicBezTo>
                        <a:pt x="138" y="110"/>
                        <a:pt x="138" y="110"/>
                        <a:pt x="138" y="110"/>
                      </a:cubicBezTo>
                      <a:cubicBezTo>
                        <a:pt x="138" y="112"/>
                        <a:pt x="138" y="114"/>
                        <a:pt x="138" y="115"/>
                      </a:cubicBezTo>
                      <a:cubicBezTo>
                        <a:pt x="138" y="116"/>
                        <a:pt x="135" y="117"/>
                        <a:pt x="133" y="118"/>
                      </a:cubicBezTo>
                      <a:cubicBezTo>
                        <a:pt x="132" y="118"/>
                        <a:pt x="131" y="119"/>
                        <a:pt x="130" y="119"/>
                      </a:cubicBezTo>
                      <a:cubicBezTo>
                        <a:pt x="126" y="119"/>
                        <a:pt x="123" y="116"/>
                        <a:pt x="122" y="115"/>
                      </a:cubicBezTo>
                      <a:cubicBezTo>
                        <a:pt x="102" y="85"/>
                        <a:pt x="102" y="85"/>
                        <a:pt x="102" y="85"/>
                      </a:cubicBezTo>
                      <a:cubicBezTo>
                        <a:pt x="98" y="88"/>
                        <a:pt x="98" y="88"/>
                        <a:pt x="98" y="88"/>
                      </a:cubicBezTo>
                      <a:cubicBezTo>
                        <a:pt x="117" y="117"/>
                        <a:pt x="117" y="117"/>
                        <a:pt x="117" y="117"/>
                      </a:cubicBezTo>
                      <a:cubicBezTo>
                        <a:pt x="117" y="117"/>
                        <a:pt x="117" y="117"/>
                        <a:pt x="117" y="117"/>
                      </a:cubicBezTo>
                      <a:cubicBezTo>
                        <a:pt x="118" y="118"/>
                        <a:pt x="118" y="119"/>
                        <a:pt x="117" y="120"/>
                      </a:cubicBezTo>
                      <a:cubicBezTo>
                        <a:pt x="117" y="122"/>
                        <a:pt x="115" y="123"/>
                        <a:pt x="114" y="123"/>
                      </a:cubicBezTo>
                      <a:cubicBezTo>
                        <a:pt x="114" y="124"/>
                        <a:pt x="114" y="124"/>
                        <a:pt x="114" y="124"/>
                      </a:cubicBezTo>
                      <a:cubicBezTo>
                        <a:pt x="112" y="125"/>
                        <a:pt x="111" y="125"/>
                        <a:pt x="109" y="125"/>
                      </a:cubicBezTo>
                      <a:cubicBezTo>
                        <a:pt x="104" y="125"/>
                        <a:pt x="98" y="120"/>
                        <a:pt x="98" y="120"/>
                      </a:cubicBezTo>
                      <a:cubicBezTo>
                        <a:pt x="97" y="118"/>
                        <a:pt x="97" y="118"/>
                        <a:pt x="97" y="118"/>
                      </a:cubicBezTo>
                      <a:cubicBezTo>
                        <a:pt x="79" y="92"/>
                        <a:pt x="79" y="92"/>
                        <a:pt x="79" y="92"/>
                      </a:cubicBezTo>
                      <a:cubicBezTo>
                        <a:pt x="75" y="95"/>
                        <a:pt x="75" y="95"/>
                        <a:pt x="75" y="95"/>
                      </a:cubicBezTo>
                      <a:cubicBezTo>
                        <a:pt x="95" y="124"/>
                        <a:pt x="95" y="124"/>
                        <a:pt x="95" y="124"/>
                      </a:cubicBezTo>
                      <a:cubicBezTo>
                        <a:pt x="95" y="125"/>
                        <a:pt x="95" y="127"/>
                        <a:pt x="94" y="127"/>
                      </a:cubicBezTo>
                      <a:cubicBezTo>
                        <a:pt x="94" y="128"/>
                        <a:pt x="92" y="128"/>
                        <a:pt x="91" y="128"/>
                      </a:cubicBezTo>
                      <a:cubicBezTo>
                        <a:pt x="91" y="128"/>
                        <a:pt x="91" y="128"/>
                        <a:pt x="91" y="128"/>
                      </a:cubicBezTo>
                      <a:cubicBezTo>
                        <a:pt x="87" y="128"/>
                        <a:pt x="82" y="126"/>
                        <a:pt x="81" y="126"/>
                      </a:cubicBezTo>
                      <a:cubicBezTo>
                        <a:pt x="80" y="125"/>
                        <a:pt x="49" y="103"/>
                        <a:pt x="29" y="88"/>
                      </a:cubicBezTo>
                      <a:cubicBezTo>
                        <a:pt x="29" y="88"/>
                        <a:pt x="29" y="88"/>
                        <a:pt x="29" y="88"/>
                      </a:cubicBezTo>
                      <a:cubicBezTo>
                        <a:pt x="6" y="86"/>
                        <a:pt x="6" y="86"/>
                        <a:pt x="6" y="86"/>
                      </a:cubicBezTo>
                      <a:cubicBezTo>
                        <a:pt x="5" y="27"/>
                        <a:pt x="5" y="27"/>
                        <a:pt x="5" y="27"/>
                      </a:cubicBezTo>
                      <a:cubicBezTo>
                        <a:pt x="24" y="28"/>
                        <a:pt x="24" y="28"/>
                        <a:pt x="24" y="28"/>
                      </a:cubicBezTo>
                      <a:cubicBezTo>
                        <a:pt x="60" y="6"/>
                        <a:pt x="60" y="6"/>
                        <a:pt x="60" y="6"/>
                      </a:cubicBezTo>
                      <a:cubicBezTo>
                        <a:pt x="72" y="8"/>
                        <a:pt x="72" y="8"/>
                        <a:pt x="72" y="8"/>
                      </a:cubicBezTo>
                      <a:cubicBezTo>
                        <a:pt x="41" y="33"/>
                        <a:pt x="41" y="33"/>
                        <a:pt x="41" y="33"/>
                      </a:cubicBezTo>
                      <a:cubicBezTo>
                        <a:pt x="41" y="33"/>
                        <a:pt x="43" y="46"/>
                        <a:pt x="61" y="40"/>
                      </a:cubicBezTo>
                      <a:cubicBezTo>
                        <a:pt x="80" y="32"/>
                        <a:pt x="80" y="32"/>
                        <a:pt x="80" y="32"/>
                      </a:cubicBezTo>
                      <a:cubicBezTo>
                        <a:pt x="102" y="32"/>
                        <a:pt x="102" y="32"/>
                        <a:pt x="102" y="32"/>
                      </a:cubicBezTo>
                      <a:cubicBezTo>
                        <a:pt x="114" y="39"/>
                        <a:pt x="114" y="39"/>
                        <a:pt x="114" y="39"/>
                      </a:cubicBezTo>
                      <a:cubicBezTo>
                        <a:pt x="157" y="94"/>
                        <a:pt x="157" y="94"/>
                        <a:pt x="157" y="94"/>
                      </a:cubicBezTo>
                      <a:cubicBezTo>
                        <a:pt x="159" y="100"/>
                        <a:pt x="159" y="100"/>
                        <a:pt x="159" y="100"/>
                      </a:cubicBezTo>
                      <a:cubicBezTo>
                        <a:pt x="159" y="103"/>
                        <a:pt x="159" y="107"/>
                        <a:pt x="15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40" name="Freeform 61"/>
                <p:cNvSpPr>
                  <a:spLocks noEditPoints="1"/>
                </p:cNvSpPr>
                <p:nvPr/>
              </p:nvSpPr>
              <p:spPr bwMode="auto">
                <a:xfrm>
                  <a:off x="2426" y="1907"/>
                  <a:ext cx="92" cy="185"/>
                </a:xfrm>
                <a:custGeom>
                  <a:avLst/>
                  <a:gdLst>
                    <a:gd name="T0" fmla="*/ 0 w 39"/>
                    <a:gd name="T1" fmla="*/ 78 h 78"/>
                    <a:gd name="T2" fmla="*/ 39 w 39"/>
                    <a:gd name="T3" fmla="*/ 78 h 78"/>
                    <a:gd name="T4" fmla="*/ 39 w 39"/>
                    <a:gd name="T5" fmla="*/ 0 h 78"/>
                    <a:gd name="T6" fmla="*/ 0 w 39"/>
                    <a:gd name="T7" fmla="*/ 0 h 78"/>
                    <a:gd name="T8" fmla="*/ 0 w 39"/>
                    <a:gd name="T9" fmla="*/ 78 h 78"/>
                    <a:gd name="T10" fmla="*/ 19 w 39"/>
                    <a:gd name="T11" fmla="*/ 52 h 78"/>
                    <a:gd name="T12" fmla="*/ 27 w 39"/>
                    <a:gd name="T13" fmla="*/ 58 h 78"/>
                    <a:gd name="T14" fmla="*/ 19 w 39"/>
                    <a:gd name="T15" fmla="*/ 65 h 78"/>
                    <a:gd name="T16" fmla="*/ 12 w 39"/>
                    <a:gd name="T17" fmla="*/ 58 h 78"/>
                    <a:gd name="T18" fmla="*/ 19 w 39"/>
                    <a:gd name="T19"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78">
                      <a:moveTo>
                        <a:pt x="0" y="78"/>
                      </a:moveTo>
                      <a:cubicBezTo>
                        <a:pt x="39" y="78"/>
                        <a:pt x="39" y="78"/>
                        <a:pt x="39" y="78"/>
                      </a:cubicBezTo>
                      <a:cubicBezTo>
                        <a:pt x="39" y="0"/>
                        <a:pt x="39" y="0"/>
                        <a:pt x="39" y="0"/>
                      </a:cubicBezTo>
                      <a:cubicBezTo>
                        <a:pt x="0" y="0"/>
                        <a:pt x="0" y="0"/>
                        <a:pt x="0" y="0"/>
                      </a:cubicBezTo>
                      <a:lnTo>
                        <a:pt x="0" y="78"/>
                      </a:lnTo>
                      <a:close/>
                      <a:moveTo>
                        <a:pt x="19" y="52"/>
                      </a:moveTo>
                      <a:cubicBezTo>
                        <a:pt x="24" y="52"/>
                        <a:pt x="27" y="55"/>
                        <a:pt x="27" y="58"/>
                      </a:cubicBezTo>
                      <a:cubicBezTo>
                        <a:pt x="27" y="62"/>
                        <a:pt x="24" y="65"/>
                        <a:pt x="19" y="65"/>
                      </a:cubicBezTo>
                      <a:cubicBezTo>
                        <a:pt x="15" y="65"/>
                        <a:pt x="12" y="62"/>
                        <a:pt x="12" y="58"/>
                      </a:cubicBezTo>
                      <a:cubicBezTo>
                        <a:pt x="12" y="55"/>
                        <a:pt x="15"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41" name="Freeform 62"/>
                <p:cNvSpPr>
                  <a:spLocks noEditPoints="1"/>
                </p:cNvSpPr>
                <p:nvPr/>
              </p:nvSpPr>
              <p:spPr bwMode="auto">
                <a:xfrm>
                  <a:off x="2993" y="1907"/>
                  <a:ext cx="92" cy="185"/>
                </a:xfrm>
                <a:custGeom>
                  <a:avLst/>
                  <a:gdLst>
                    <a:gd name="T0" fmla="*/ 39 w 39"/>
                    <a:gd name="T1" fmla="*/ 0 h 78"/>
                    <a:gd name="T2" fmla="*/ 0 w 39"/>
                    <a:gd name="T3" fmla="*/ 0 h 78"/>
                    <a:gd name="T4" fmla="*/ 0 w 39"/>
                    <a:gd name="T5" fmla="*/ 78 h 78"/>
                    <a:gd name="T6" fmla="*/ 39 w 39"/>
                    <a:gd name="T7" fmla="*/ 78 h 78"/>
                    <a:gd name="T8" fmla="*/ 39 w 39"/>
                    <a:gd name="T9" fmla="*/ 0 h 78"/>
                    <a:gd name="T10" fmla="*/ 27 w 39"/>
                    <a:gd name="T11" fmla="*/ 58 h 78"/>
                    <a:gd name="T12" fmla="*/ 19 w 39"/>
                    <a:gd name="T13" fmla="*/ 65 h 78"/>
                    <a:gd name="T14" fmla="*/ 12 w 39"/>
                    <a:gd name="T15" fmla="*/ 58 h 78"/>
                    <a:gd name="T16" fmla="*/ 19 w 39"/>
                    <a:gd name="T17" fmla="*/ 52 h 78"/>
                    <a:gd name="T18" fmla="*/ 27 w 39"/>
                    <a:gd name="T19"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78">
                      <a:moveTo>
                        <a:pt x="39" y="0"/>
                      </a:moveTo>
                      <a:cubicBezTo>
                        <a:pt x="0" y="0"/>
                        <a:pt x="0" y="0"/>
                        <a:pt x="0" y="0"/>
                      </a:cubicBezTo>
                      <a:cubicBezTo>
                        <a:pt x="0" y="78"/>
                        <a:pt x="0" y="78"/>
                        <a:pt x="0" y="78"/>
                      </a:cubicBezTo>
                      <a:cubicBezTo>
                        <a:pt x="39" y="78"/>
                        <a:pt x="39" y="78"/>
                        <a:pt x="39" y="78"/>
                      </a:cubicBezTo>
                      <a:lnTo>
                        <a:pt x="39" y="0"/>
                      </a:lnTo>
                      <a:close/>
                      <a:moveTo>
                        <a:pt x="27" y="58"/>
                      </a:moveTo>
                      <a:cubicBezTo>
                        <a:pt x="27" y="62"/>
                        <a:pt x="23" y="65"/>
                        <a:pt x="19" y="65"/>
                      </a:cubicBezTo>
                      <a:cubicBezTo>
                        <a:pt x="15" y="65"/>
                        <a:pt x="12" y="62"/>
                        <a:pt x="12" y="58"/>
                      </a:cubicBezTo>
                      <a:cubicBezTo>
                        <a:pt x="12" y="55"/>
                        <a:pt x="15" y="52"/>
                        <a:pt x="19" y="52"/>
                      </a:cubicBezTo>
                      <a:cubicBezTo>
                        <a:pt x="23" y="52"/>
                        <a:pt x="27" y="55"/>
                        <a:pt x="2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sp>
            <p:nvSpPr>
              <p:cNvPr id="238" name="TextBox 237"/>
              <p:cNvSpPr txBox="1"/>
              <p:nvPr/>
            </p:nvSpPr>
            <p:spPr>
              <a:xfrm>
                <a:off x="1788655" y="3533182"/>
                <a:ext cx="1033668" cy="292388"/>
              </a:xfrm>
              <a:prstGeom prst="rect">
                <a:avLst/>
              </a:prstGeom>
              <a:noFill/>
            </p:spPr>
            <p:txBody>
              <a:bodyPr wrap="square" rtlCol="0" anchor="ctr">
                <a:spAutoFit/>
              </a:bodyPr>
              <a:lstStyle/>
              <a:p>
                <a:pPr algn="ctr"/>
                <a:r>
                  <a:rPr lang="nl-NL" sz="1300" dirty="0">
                    <a:latin typeface="Calibri" pitchFamily="34" charset="0"/>
                  </a:rPr>
                  <a:t>Aggregator</a:t>
                </a:r>
                <a:endParaRPr lang="en-US" sz="1300" dirty="0">
                  <a:latin typeface="Calibri" pitchFamily="34" charset="0"/>
                </a:endParaRPr>
              </a:p>
            </p:txBody>
          </p:sp>
        </p:grpSp>
        <p:grpSp>
          <p:nvGrpSpPr>
            <p:cNvPr id="187" name="Group 186"/>
            <p:cNvGrpSpPr/>
            <p:nvPr/>
          </p:nvGrpSpPr>
          <p:grpSpPr>
            <a:xfrm>
              <a:off x="5012221" y="1194227"/>
              <a:ext cx="730517" cy="781978"/>
              <a:chOff x="4313923" y="857910"/>
              <a:chExt cx="730517" cy="781978"/>
            </a:xfrm>
          </p:grpSpPr>
          <p:grpSp>
            <p:nvGrpSpPr>
              <p:cNvPr id="226" name="Group 225"/>
              <p:cNvGrpSpPr/>
              <p:nvPr/>
            </p:nvGrpSpPr>
            <p:grpSpPr>
              <a:xfrm>
                <a:off x="4313923" y="857910"/>
                <a:ext cx="730517" cy="730517"/>
                <a:chOff x="1737897" y="2842877"/>
                <a:chExt cx="1106423" cy="1106423"/>
              </a:xfrm>
            </p:grpSpPr>
            <p:sp>
              <p:nvSpPr>
                <p:cNvPr id="234" name="Oval 233"/>
                <p:cNvSpPr/>
                <p:nvPr/>
              </p:nvSpPr>
              <p:spPr>
                <a:xfrm>
                  <a:off x="1737897" y="2842877"/>
                  <a:ext cx="1106423" cy="1106423"/>
                </a:xfrm>
                <a:prstGeom prst="ellipse">
                  <a:avLst/>
                </a:prstGeom>
                <a:solidFill>
                  <a:schemeClr val="bg1"/>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235" name="TextBox 234"/>
                <p:cNvSpPr txBox="1"/>
                <p:nvPr/>
              </p:nvSpPr>
              <p:spPr>
                <a:xfrm>
                  <a:off x="1788655" y="3549841"/>
                  <a:ext cx="1033667" cy="396228"/>
                </a:xfrm>
                <a:prstGeom prst="rect">
                  <a:avLst/>
                </a:prstGeom>
                <a:noFill/>
              </p:spPr>
              <p:txBody>
                <a:bodyPr wrap="square" rtlCol="0" anchor="ctr">
                  <a:spAutoFit/>
                </a:bodyPr>
                <a:lstStyle/>
                <a:p>
                  <a:pPr algn="ctr"/>
                  <a:r>
                    <a:rPr lang="nl-NL" sz="1100" dirty="0">
                      <a:latin typeface="Calibri" pitchFamily="34" charset="0"/>
                    </a:rPr>
                    <a:t>BRP</a:t>
                  </a:r>
                  <a:endParaRPr lang="en-US" sz="1100" dirty="0">
                    <a:latin typeface="Calibri" pitchFamily="34" charset="0"/>
                  </a:endParaRPr>
                </a:p>
              </p:txBody>
            </p:sp>
          </p:grpSp>
          <p:sp>
            <p:nvSpPr>
              <p:cNvPr id="227" name="AutoShape 21"/>
              <p:cNvSpPr>
                <a:spLocks noChangeAspect="1" noChangeArrowheads="1" noTextEdit="1"/>
              </p:cNvSpPr>
              <p:nvPr/>
            </p:nvSpPr>
            <p:spPr bwMode="auto">
              <a:xfrm>
                <a:off x="4419600" y="1160463"/>
                <a:ext cx="5619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8" name="Group 187"/>
            <p:cNvGrpSpPr/>
            <p:nvPr/>
          </p:nvGrpSpPr>
          <p:grpSpPr>
            <a:xfrm>
              <a:off x="5012221" y="2140147"/>
              <a:ext cx="730517" cy="730517"/>
              <a:chOff x="4313923" y="1803830"/>
              <a:chExt cx="730517" cy="730517"/>
            </a:xfrm>
          </p:grpSpPr>
          <p:grpSp>
            <p:nvGrpSpPr>
              <p:cNvPr id="217" name="Group 216"/>
              <p:cNvGrpSpPr/>
              <p:nvPr/>
            </p:nvGrpSpPr>
            <p:grpSpPr>
              <a:xfrm>
                <a:off x="4313923" y="1803830"/>
                <a:ext cx="730517" cy="730517"/>
                <a:chOff x="1737897" y="2842877"/>
                <a:chExt cx="1106423" cy="1106423"/>
              </a:xfrm>
            </p:grpSpPr>
            <p:sp>
              <p:nvSpPr>
                <p:cNvPr id="224" name="Oval 223"/>
                <p:cNvSpPr/>
                <p:nvPr/>
              </p:nvSpPr>
              <p:spPr>
                <a:xfrm>
                  <a:off x="1737897" y="2842877"/>
                  <a:ext cx="1106423" cy="1106423"/>
                </a:xfrm>
                <a:prstGeom prst="ellipse">
                  <a:avLst/>
                </a:prstGeom>
                <a:solidFill>
                  <a:schemeClr val="bg1"/>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225" name="TextBox 224"/>
                <p:cNvSpPr txBox="1"/>
                <p:nvPr/>
              </p:nvSpPr>
              <p:spPr>
                <a:xfrm>
                  <a:off x="1788655" y="3549841"/>
                  <a:ext cx="1033667" cy="396228"/>
                </a:xfrm>
                <a:prstGeom prst="rect">
                  <a:avLst/>
                </a:prstGeom>
                <a:noFill/>
              </p:spPr>
              <p:txBody>
                <a:bodyPr wrap="square" rtlCol="0" anchor="ctr">
                  <a:spAutoFit/>
                </a:bodyPr>
                <a:lstStyle/>
                <a:p>
                  <a:pPr algn="ctr"/>
                  <a:r>
                    <a:rPr lang="nl-NL" sz="1100" dirty="0">
                      <a:latin typeface="Calibri" pitchFamily="34" charset="0"/>
                    </a:rPr>
                    <a:t>DSO</a:t>
                  </a:r>
                  <a:endParaRPr lang="en-US" sz="1100" dirty="0">
                    <a:latin typeface="Calibri" pitchFamily="34" charset="0"/>
                  </a:endParaRPr>
                </a:p>
              </p:txBody>
            </p:sp>
          </p:grpSp>
          <p:grpSp>
            <p:nvGrpSpPr>
              <p:cNvPr id="218" name="Group 30"/>
              <p:cNvGrpSpPr>
                <a:grpSpLocks noChangeAspect="1"/>
              </p:cNvGrpSpPr>
              <p:nvPr/>
            </p:nvGrpSpPr>
            <p:grpSpPr bwMode="auto">
              <a:xfrm>
                <a:off x="4452786" y="1930750"/>
                <a:ext cx="479622" cy="388884"/>
                <a:chOff x="2787" y="1209"/>
                <a:chExt cx="333" cy="270"/>
              </a:xfrm>
            </p:grpSpPr>
            <p:sp>
              <p:nvSpPr>
                <p:cNvPr id="219" name="AutoShape 29"/>
                <p:cNvSpPr>
                  <a:spLocks noChangeAspect="1" noChangeArrowheads="1" noTextEdit="1"/>
                </p:cNvSpPr>
                <p:nvPr/>
              </p:nvSpPr>
              <p:spPr bwMode="auto">
                <a:xfrm>
                  <a:off x="2787" y="1209"/>
                  <a:ext cx="333" cy="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36"/>
                <p:cNvSpPr>
                  <a:spLocks/>
                </p:cNvSpPr>
                <p:nvPr/>
              </p:nvSpPr>
              <p:spPr bwMode="auto">
                <a:xfrm>
                  <a:off x="2966" y="1310"/>
                  <a:ext cx="56" cy="56"/>
                </a:xfrm>
                <a:custGeom>
                  <a:avLst/>
                  <a:gdLst>
                    <a:gd name="T0" fmla="*/ 105 w 301"/>
                    <a:gd name="T1" fmla="*/ 0 h 305"/>
                    <a:gd name="T2" fmla="*/ 253 w 301"/>
                    <a:gd name="T3" fmla="*/ 68 h 305"/>
                    <a:gd name="T4" fmla="*/ 264 w 301"/>
                    <a:gd name="T5" fmla="*/ 80 h 305"/>
                    <a:gd name="T6" fmla="*/ 301 w 301"/>
                    <a:gd name="T7" fmla="*/ 278 h 305"/>
                    <a:gd name="T8" fmla="*/ 299 w 301"/>
                    <a:gd name="T9" fmla="*/ 283 h 305"/>
                    <a:gd name="T10" fmla="*/ 74 w 301"/>
                    <a:gd name="T11" fmla="*/ 305 h 305"/>
                    <a:gd name="T12" fmla="*/ 0 w 301"/>
                    <a:gd name="T13" fmla="*/ 194 h 305"/>
                    <a:gd name="T14" fmla="*/ 105 w 301"/>
                    <a:gd name="T15" fmla="*/ 0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305">
                      <a:moveTo>
                        <a:pt x="105" y="0"/>
                      </a:moveTo>
                      <a:cubicBezTo>
                        <a:pt x="156" y="23"/>
                        <a:pt x="205" y="45"/>
                        <a:pt x="253" y="68"/>
                      </a:cubicBezTo>
                      <a:cubicBezTo>
                        <a:pt x="258" y="70"/>
                        <a:pt x="264" y="75"/>
                        <a:pt x="264" y="80"/>
                      </a:cubicBezTo>
                      <a:cubicBezTo>
                        <a:pt x="277" y="146"/>
                        <a:pt x="289" y="212"/>
                        <a:pt x="301" y="278"/>
                      </a:cubicBezTo>
                      <a:cubicBezTo>
                        <a:pt x="301" y="279"/>
                        <a:pt x="300" y="281"/>
                        <a:pt x="299" y="283"/>
                      </a:cubicBezTo>
                      <a:cubicBezTo>
                        <a:pt x="225" y="290"/>
                        <a:pt x="150" y="297"/>
                        <a:pt x="74" y="305"/>
                      </a:cubicBezTo>
                      <a:cubicBezTo>
                        <a:pt x="64" y="257"/>
                        <a:pt x="39" y="221"/>
                        <a:pt x="0" y="194"/>
                      </a:cubicBezTo>
                      <a:cubicBezTo>
                        <a:pt x="35" y="129"/>
                        <a:pt x="69" y="66"/>
                        <a:pt x="10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43"/>
                <p:cNvSpPr>
                  <a:spLocks/>
                </p:cNvSpPr>
                <p:nvPr/>
              </p:nvSpPr>
              <p:spPr bwMode="auto">
                <a:xfrm>
                  <a:off x="2994" y="1309"/>
                  <a:ext cx="20" cy="9"/>
                </a:xfrm>
                <a:custGeom>
                  <a:avLst/>
                  <a:gdLst>
                    <a:gd name="T0" fmla="*/ 108 w 108"/>
                    <a:gd name="T1" fmla="*/ 50 h 50"/>
                    <a:gd name="T2" fmla="*/ 0 w 108"/>
                    <a:gd name="T3" fmla="*/ 0 h 50"/>
                    <a:gd name="T4" fmla="*/ 102 w 108"/>
                    <a:gd name="T5" fmla="*/ 9 h 50"/>
                    <a:gd name="T6" fmla="*/ 108 w 108"/>
                    <a:gd name="T7" fmla="*/ 50 h 50"/>
                  </a:gdLst>
                  <a:ahLst/>
                  <a:cxnLst>
                    <a:cxn ang="0">
                      <a:pos x="T0" y="T1"/>
                    </a:cxn>
                    <a:cxn ang="0">
                      <a:pos x="T2" y="T3"/>
                    </a:cxn>
                    <a:cxn ang="0">
                      <a:pos x="T4" y="T5"/>
                    </a:cxn>
                    <a:cxn ang="0">
                      <a:pos x="T6" y="T7"/>
                    </a:cxn>
                  </a:cxnLst>
                  <a:rect l="0" t="0" r="r" b="b"/>
                  <a:pathLst>
                    <a:path w="108" h="50">
                      <a:moveTo>
                        <a:pt x="108" y="50"/>
                      </a:moveTo>
                      <a:cubicBezTo>
                        <a:pt x="71" y="33"/>
                        <a:pt x="38" y="18"/>
                        <a:pt x="0" y="0"/>
                      </a:cubicBezTo>
                      <a:cubicBezTo>
                        <a:pt x="37" y="3"/>
                        <a:pt x="68" y="6"/>
                        <a:pt x="102" y="9"/>
                      </a:cubicBezTo>
                      <a:cubicBezTo>
                        <a:pt x="104" y="21"/>
                        <a:pt x="106" y="33"/>
                        <a:pt x="108"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44"/>
                <p:cNvSpPr>
                  <a:spLocks/>
                </p:cNvSpPr>
                <p:nvPr/>
              </p:nvSpPr>
              <p:spPr bwMode="auto">
                <a:xfrm>
                  <a:off x="2969" y="1295"/>
                  <a:ext cx="12" cy="8"/>
                </a:xfrm>
                <a:custGeom>
                  <a:avLst/>
                  <a:gdLst>
                    <a:gd name="T0" fmla="*/ 65 w 66"/>
                    <a:gd name="T1" fmla="*/ 44 h 44"/>
                    <a:gd name="T2" fmla="*/ 0 w 66"/>
                    <a:gd name="T3" fmla="*/ 16 h 44"/>
                    <a:gd name="T4" fmla="*/ 20 w 66"/>
                    <a:gd name="T5" fmla="*/ 0 h 44"/>
                    <a:gd name="T6" fmla="*/ 66 w 66"/>
                    <a:gd name="T7" fmla="*/ 42 h 44"/>
                    <a:gd name="T8" fmla="*/ 65 w 66"/>
                    <a:gd name="T9" fmla="*/ 44 h 44"/>
                  </a:gdLst>
                  <a:ahLst/>
                  <a:cxnLst>
                    <a:cxn ang="0">
                      <a:pos x="T0" y="T1"/>
                    </a:cxn>
                    <a:cxn ang="0">
                      <a:pos x="T2" y="T3"/>
                    </a:cxn>
                    <a:cxn ang="0">
                      <a:pos x="T4" y="T5"/>
                    </a:cxn>
                    <a:cxn ang="0">
                      <a:pos x="T6" y="T7"/>
                    </a:cxn>
                    <a:cxn ang="0">
                      <a:pos x="T8" y="T9"/>
                    </a:cxn>
                  </a:cxnLst>
                  <a:rect l="0" t="0" r="r" b="b"/>
                  <a:pathLst>
                    <a:path w="66" h="44">
                      <a:moveTo>
                        <a:pt x="65" y="44"/>
                      </a:moveTo>
                      <a:cubicBezTo>
                        <a:pt x="44" y="35"/>
                        <a:pt x="24" y="26"/>
                        <a:pt x="0" y="16"/>
                      </a:cubicBezTo>
                      <a:cubicBezTo>
                        <a:pt x="8" y="9"/>
                        <a:pt x="14" y="5"/>
                        <a:pt x="20" y="0"/>
                      </a:cubicBezTo>
                      <a:cubicBezTo>
                        <a:pt x="36" y="15"/>
                        <a:pt x="51" y="28"/>
                        <a:pt x="66" y="42"/>
                      </a:cubicBezTo>
                      <a:cubicBezTo>
                        <a:pt x="66" y="43"/>
                        <a:pt x="66" y="44"/>
                        <a:pt x="65"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9" name="Group 208"/>
            <p:cNvGrpSpPr/>
            <p:nvPr/>
          </p:nvGrpSpPr>
          <p:grpSpPr>
            <a:xfrm>
              <a:off x="5012221" y="3086066"/>
              <a:ext cx="730517" cy="730517"/>
              <a:chOff x="1737897" y="2842877"/>
              <a:chExt cx="1106423" cy="1106423"/>
            </a:xfrm>
          </p:grpSpPr>
          <p:sp>
            <p:nvSpPr>
              <p:cNvPr id="215" name="Oval 214"/>
              <p:cNvSpPr/>
              <p:nvPr/>
            </p:nvSpPr>
            <p:spPr>
              <a:xfrm>
                <a:off x="1737897" y="2842877"/>
                <a:ext cx="1106423" cy="1106423"/>
              </a:xfrm>
              <a:prstGeom prst="ellipse">
                <a:avLst/>
              </a:prstGeom>
              <a:solidFill>
                <a:schemeClr val="bg1"/>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216" name="TextBox 215"/>
              <p:cNvSpPr txBox="1"/>
              <p:nvPr/>
            </p:nvSpPr>
            <p:spPr>
              <a:xfrm>
                <a:off x="1788655" y="3549841"/>
                <a:ext cx="1033667" cy="396228"/>
              </a:xfrm>
              <a:prstGeom prst="rect">
                <a:avLst/>
              </a:prstGeom>
              <a:noFill/>
            </p:spPr>
            <p:txBody>
              <a:bodyPr wrap="square" rtlCol="0" anchor="ctr">
                <a:spAutoFit/>
              </a:bodyPr>
              <a:lstStyle/>
              <a:p>
                <a:pPr algn="ctr"/>
                <a:r>
                  <a:rPr lang="nl-NL" sz="1100" dirty="0">
                    <a:latin typeface="Calibri" pitchFamily="34" charset="0"/>
                  </a:rPr>
                  <a:t>TSO</a:t>
                </a:r>
                <a:endParaRPr lang="en-US" sz="1100" dirty="0">
                  <a:latin typeface="Calibri" pitchFamily="34" charset="0"/>
                </a:endParaRPr>
              </a:p>
            </p:txBody>
          </p:sp>
        </p:grpSp>
        <p:sp>
          <p:nvSpPr>
            <p:cNvPr id="190" name="Rectangle 189"/>
            <p:cNvSpPr/>
            <p:nvPr/>
          </p:nvSpPr>
          <p:spPr>
            <a:xfrm>
              <a:off x="6186325" y="1177529"/>
              <a:ext cx="1131240" cy="664862"/>
            </a:xfrm>
            <a:prstGeom prst="rect">
              <a:avLst/>
            </a:prstGeom>
            <a:solidFill>
              <a:srgbClr val="F159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t>Flex for</a:t>
              </a:r>
            </a:p>
            <a:p>
              <a:r>
                <a:rPr lang="en-US" sz="1200" dirty="0"/>
                <a:t>Portfolio</a:t>
              </a:r>
            </a:p>
            <a:p>
              <a:r>
                <a:rPr lang="en-US" sz="1200" dirty="0"/>
                <a:t>optimization</a:t>
              </a:r>
            </a:p>
          </p:txBody>
        </p:sp>
        <p:sp>
          <p:nvSpPr>
            <p:cNvPr id="191" name="Rectangle 190"/>
            <p:cNvSpPr/>
            <p:nvPr/>
          </p:nvSpPr>
          <p:spPr>
            <a:xfrm>
              <a:off x="6186325" y="2164931"/>
              <a:ext cx="1131240" cy="664862"/>
            </a:xfrm>
            <a:prstGeom prst="rect">
              <a:avLst/>
            </a:prstGeom>
            <a:solidFill>
              <a:srgbClr val="F159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t>Flex </a:t>
              </a:r>
            </a:p>
            <a:p>
              <a:r>
                <a:rPr lang="en-US" sz="1200" dirty="0"/>
                <a:t>For grid</a:t>
              </a:r>
            </a:p>
            <a:p>
              <a:r>
                <a:rPr lang="en-US" sz="1200" dirty="0"/>
                <a:t>management</a:t>
              </a:r>
            </a:p>
          </p:txBody>
        </p:sp>
        <p:sp>
          <p:nvSpPr>
            <p:cNvPr id="192" name="Rectangle 191"/>
            <p:cNvSpPr/>
            <p:nvPr/>
          </p:nvSpPr>
          <p:spPr>
            <a:xfrm>
              <a:off x="6186325" y="3166369"/>
              <a:ext cx="1131240" cy="664862"/>
            </a:xfrm>
            <a:prstGeom prst="rect">
              <a:avLst/>
            </a:prstGeom>
            <a:solidFill>
              <a:srgbClr val="F159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t>Flex to</a:t>
              </a:r>
            </a:p>
            <a:p>
              <a:r>
                <a:rPr lang="en-US" sz="1200" dirty="0"/>
                <a:t>maintain</a:t>
              </a:r>
            </a:p>
            <a:p>
              <a:r>
                <a:rPr lang="en-US" sz="1200" dirty="0"/>
                <a:t>balance</a:t>
              </a:r>
            </a:p>
          </p:txBody>
        </p:sp>
        <p:cxnSp>
          <p:nvCxnSpPr>
            <p:cNvPr id="193" name="Straight Connector 192"/>
            <p:cNvCxnSpPr/>
            <p:nvPr/>
          </p:nvCxnSpPr>
          <p:spPr>
            <a:xfrm flipH="1">
              <a:off x="4022433" y="1618106"/>
              <a:ext cx="884709" cy="532352"/>
            </a:xfrm>
            <a:prstGeom prst="line">
              <a:avLst/>
            </a:prstGeom>
            <a:ln w="12700">
              <a:solidFill>
                <a:srgbClr val="267DA5"/>
              </a:solidFill>
              <a:headEnd type="triangle" w="lg" len="lg"/>
              <a:tailEnd type="none" w="lg" len="lg"/>
            </a:ln>
            <a:effectLst/>
          </p:spPr>
          <p:style>
            <a:lnRef idx="2">
              <a:schemeClr val="accent1"/>
            </a:lnRef>
            <a:fillRef idx="0">
              <a:schemeClr val="accent1"/>
            </a:fillRef>
            <a:effectRef idx="1">
              <a:schemeClr val="accent1"/>
            </a:effectRef>
            <a:fontRef idx="minor">
              <a:schemeClr val="tx1"/>
            </a:fontRef>
          </p:style>
        </p:cxnSp>
        <p:sp>
          <p:nvSpPr>
            <p:cNvPr id="194" name="TextBox 193"/>
            <p:cNvSpPr txBox="1"/>
            <p:nvPr/>
          </p:nvSpPr>
          <p:spPr>
            <a:xfrm rot="19800000">
              <a:off x="4113111" y="1681917"/>
              <a:ext cx="574196" cy="276999"/>
            </a:xfrm>
            <a:prstGeom prst="rect">
              <a:avLst/>
            </a:prstGeom>
            <a:noFill/>
          </p:spPr>
          <p:txBody>
            <a:bodyPr wrap="none" rtlCol="0">
              <a:spAutoFit/>
            </a:bodyPr>
            <a:lstStyle/>
            <a:p>
              <a:r>
                <a:rPr lang="en-US" sz="1200" dirty="0">
                  <a:solidFill>
                    <a:srgbClr val="267DA5"/>
                  </a:solidFill>
                </a:rPr>
                <a:t>UFLEX</a:t>
              </a:r>
            </a:p>
          </p:txBody>
        </p:sp>
        <p:sp>
          <p:nvSpPr>
            <p:cNvPr id="195" name="Arc 194"/>
            <p:cNvSpPr/>
            <p:nvPr/>
          </p:nvSpPr>
          <p:spPr>
            <a:xfrm rot="3204072">
              <a:off x="4308588" y="1790182"/>
              <a:ext cx="427476" cy="427476"/>
            </a:xfrm>
            <a:prstGeom prst="arc">
              <a:avLst>
                <a:gd name="adj1" fmla="val 15622669"/>
                <a:gd name="adj2" fmla="val 6339044"/>
              </a:avLst>
            </a:prstGeom>
            <a:ln w="12700">
              <a:solidFill>
                <a:srgbClr val="267DA5"/>
              </a:solidFill>
              <a:tailEnd type="triangl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96" name="Straight Connector 195"/>
            <p:cNvCxnSpPr/>
            <p:nvPr/>
          </p:nvCxnSpPr>
          <p:spPr>
            <a:xfrm flipH="1" flipV="1">
              <a:off x="4022433" y="2863580"/>
              <a:ext cx="884709" cy="532352"/>
            </a:xfrm>
            <a:prstGeom prst="line">
              <a:avLst/>
            </a:prstGeom>
            <a:ln w="12700">
              <a:solidFill>
                <a:srgbClr val="267DA5"/>
              </a:solidFill>
              <a:headEnd type="triangle"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p:cNvCxnSpPr/>
            <p:nvPr/>
          </p:nvCxnSpPr>
          <p:spPr>
            <a:xfrm>
              <a:off x="4120510" y="2495130"/>
              <a:ext cx="822960" cy="0"/>
            </a:xfrm>
            <a:prstGeom prst="line">
              <a:avLst/>
            </a:prstGeom>
            <a:ln w="12700">
              <a:solidFill>
                <a:srgbClr val="267DA5"/>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98" name="Arc 197"/>
            <p:cNvSpPr/>
            <p:nvPr/>
          </p:nvSpPr>
          <p:spPr>
            <a:xfrm rot="5155773">
              <a:off x="4352120" y="2412778"/>
              <a:ext cx="427476" cy="427476"/>
            </a:xfrm>
            <a:prstGeom prst="arc">
              <a:avLst>
                <a:gd name="adj1" fmla="val 15622669"/>
                <a:gd name="adj2" fmla="val 6339044"/>
              </a:avLst>
            </a:prstGeom>
            <a:ln w="12700">
              <a:solidFill>
                <a:srgbClr val="267DA5"/>
              </a:solidFill>
              <a:tailEnd type="triangl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99" name="Arc 198"/>
            <p:cNvSpPr/>
            <p:nvPr/>
          </p:nvSpPr>
          <p:spPr>
            <a:xfrm rot="6932341">
              <a:off x="4221494" y="3051058"/>
              <a:ext cx="427476" cy="427476"/>
            </a:xfrm>
            <a:prstGeom prst="arc">
              <a:avLst>
                <a:gd name="adj1" fmla="val 15622669"/>
                <a:gd name="adj2" fmla="val 6339044"/>
              </a:avLst>
            </a:prstGeom>
            <a:ln w="12700">
              <a:solidFill>
                <a:srgbClr val="267DA5"/>
              </a:solidFill>
              <a:tailEnd type="triangl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00" name="TextBox 199"/>
            <p:cNvSpPr txBox="1"/>
            <p:nvPr/>
          </p:nvSpPr>
          <p:spPr>
            <a:xfrm>
              <a:off x="4302160" y="2263481"/>
              <a:ext cx="574196" cy="276999"/>
            </a:xfrm>
            <a:prstGeom prst="rect">
              <a:avLst/>
            </a:prstGeom>
            <a:noFill/>
          </p:spPr>
          <p:txBody>
            <a:bodyPr wrap="none" rtlCol="0">
              <a:spAutoFit/>
            </a:bodyPr>
            <a:lstStyle/>
            <a:p>
              <a:r>
                <a:rPr lang="en-US" sz="1200" dirty="0">
                  <a:solidFill>
                    <a:srgbClr val="267DA5"/>
                  </a:solidFill>
                </a:rPr>
                <a:t>UFLEX</a:t>
              </a:r>
            </a:p>
          </p:txBody>
        </p:sp>
        <p:sp>
          <p:nvSpPr>
            <p:cNvPr id="201" name="TextBox 200"/>
            <p:cNvSpPr txBox="1"/>
            <p:nvPr/>
          </p:nvSpPr>
          <p:spPr>
            <a:xfrm rot="1874601">
              <a:off x="4238614" y="2902070"/>
              <a:ext cx="574196" cy="276999"/>
            </a:xfrm>
            <a:prstGeom prst="rect">
              <a:avLst/>
            </a:prstGeom>
            <a:noFill/>
          </p:spPr>
          <p:txBody>
            <a:bodyPr wrap="none" rtlCol="0">
              <a:spAutoFit/>
            </a:bodyPr>
            <a:lstStyle/>
            <a:p>
              <a:r>
                <a:rPr lang="en-US" sz="1200" dirty="0">
                  <a:solidFill>
                    <a:srgbClr val="267DA5"/>
                  </a:solidFill>
                </a:rPr>
                <a:t>UFLEX</a:t>
              </a:r>
            </a:p>
          </p:txBody>
        </p:sp>
        <p:cxnSp>
          <p:nvCxnSpPr>
            <p:cNvPr id="202" name="Straight Connector 201"/>
            <p:cNvCxnSpPr/>
            <p:nvPr/>
          </p:nvCxnSpPr>
          <p:spPr>
            <a:xfrm flipV="1">
              <a:off x="1820817" y="2495130"/>
              <a:ext cx="1034354" cy="2232"/>
            </a:xfrm>
            <a:prstGeom prst="line">
              <a:avLst/>
            </a:prstGeom>
            <a:ln w="12700">
              <a:solidFill>
                <a:srgbClr val="267DA5"/>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203" name="TextBox 202"/>
            <p:cNvSpPr txBox="1"/>
            <p:nvPr/>
          </p:nvSpPr>
          <p:spPr>
            <a:xfrm>
              <a:off x="1851005" y="2263481"/>
              <a:ext cx="888385" cy="276999"/>
            </a:xfrm>
            <a:prstGeom prst="rect">
              <a:avLst/>
            </a:prstGeom>
            <a:noFill/>
          </p:spPr>
          <p:txBody>
            <a:bodyPr wrap="none" rtlCol="0">
              <a:spAutoFit/>
            </a:bodyPr>
            <a:lstStyle/>
            <a:p>
              <a:r>
                <a:rPr lang="en-US" sz="1200" dirty="0">
                  <a:solidFill>
                    <a:srgbClr val="267DA5"/>
                  </a:solidFill>
                </a:rPr>
                <a:t>FLEXIBILITY</a:t>
              </a:r>
            </a:p>
          </p:txBody>
        </p:sp>
        <p:sp>
          <p:nvSpPr>
            <p:cNvPr id="204" name="Arc 203"/>
            <p:cNvSpPr/>
            <p:nvPr/>
          </p:nvSpPr>
          <p:spPr>
            <a:xfrm rot="5155773">
              <a:off x="2103287" y="2412778"/>
              <a:ext cx="427476" cy="427476"/>
            </a:xfrm>
            <a:prstGeom prst="arc">
              <a:avLst>
                <a:gd name="adj1" fmla="val 15622669"/>
                <a:gd name="adj2" fmla="val 6339044"/>
              </a:avLst>
            </a:prstGeom>
            <a:ln w="12700">
              <a:solidFill>
                <a:srgbClr val="267DA5"/>
              </a:solidFill>
              <a:tailEnd type="triangl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05" name="Freeform 67"/>
            <p:cNvSpPr>
              <a:spLocks/>
            </p:cNvSpPr>
            <p:nvPr/>
          </p:nvSpPr>
          <p:spPr bwMode="auto">
            <a:xfrm rot="19842848">
              <a:off x="4476623" y="1967398"/>
              <a:ext cx="141491" cy="166941"/>
            </a:xfrm>
            <a:custGeom>
              <a:avLst/>
              <a:gdLst>
                <a:gd name="T0" fmla="*/ 0 w 1366"/>
                <a:gd name="T1" fmla="*/ 673 h 1612"/>
                <a:gd name="T2" fmla="*/ 36 w 1366"/>
                <a:gd name="T3" fmla="*/ 505 h 1612"/>
                <a:gd name="T4" fmla="*/ 118 w 1366"/>
                <a:gd name="T5" fmla="*/ 505 h 1612"/>
                <a:gd name="T6" fmla="*/ 270 w 1366"/>
                <a:gd name="T7" fmla="*/ 505 h 1612"/>
                <a:gd name="T8" fmla="*/ 291 w 1366"/>
                <a:gd name="T9" fmla="*/ 491 h 1612"/>
                <a:gd name="T10" fmla="*/ 852 w 1366"/>
                <a:gd name="T11" fmla="*/ 36 h 1612"/>
                <a:gd name="T12" fmla="*/ 1357 w 1366"/>
                <a:gd name="T13" fmla="*/ 142 h 1612"/>
                <a:gd name="T14" fmla="*/ 1365 w 1366"/>
                <a:gd name="T15" fmla="*/ 155 h 1612"/>
                <a:gd name="T16" fmla="*/ 1330 w 1366"/>
                <a:gd name="T17" fmla="*/ 319 h 1612"/>
                <a:gd name="T18" fmla="*/ 466 w 1366"/>
                <a:gd name="T19" fmla="*/ 505 h 1612"/>
                <a:gd name="T20" fmla="*/ 1280 w 1366"/>
                <a:gd name="T21" fmla="*/ 505 h 1612"/>
                <a:gd name="T22" fmla="*/ 1254 w 1366"/>
                <a:gd name="T23" fmla="*/ 673 h 1612"/>
                <a:gd name="T24" fmla="*/ 413 w 1366"/>
                <a:gd name="T25" fmla="*/ 673 h 1612"/>
                <a:gd name="T26" fmla="*/ 413 w 1366"/>
                <a:gd name="T27" fmla="*/ 841 h 1612"/>
                <a:gd name="T28" fmla="*/ 1215 w 1366"/>
                <a:gd name="T29" fmla="*/ 841 h 1612"/>
                <a:gd name="T30" fmla="*/ 1181 w 1366"/>
                <a:gd name="T31" fmla="*/ 1009 h 1612"/>
                <a:gd name="T32" fmla="*/ 475 w 1366"/>
                <a:gd name="T33" fmla="*/ 1009 h 1612"/>
                <a:gd name="T34" fmla="*/ 1324 w 1366"/>
                <a:gd name="T35" fmla="*/ 1192 h 1612"/>
                <a:gd name="T36" fmla="*/ 1326 w 1366"/>
                <a:gd name="T37" fmla="*/ 1207 h 1612"/>
                <a:gd name="T38" fmla="*/ 1326 w 1366"/>
                <a:gd name="T39" fmla="*/ 1373 h 1612"/>
                <a:gd name="T40" fmla="*/ 1310 w 1366"/>
                <a:gd name="T41" fmla="*/ 1399 h 1612"/>
                <a:gd name="T42" fmla="*/ 299 w 1366"/>
                <a:gd name="T43" fmla="*/ 1028 h 1612"/>
                <a:gd name="T44" fmla="*/ 270 w 1366"/>
                <a:gd name="T45" fmla="*/ 1009 h 1612"/>
                <a:gd name="T46" fmla="*/ 28 w 1366"/>
                <a:gd name="T47" fmla="*/ 1009 h 1612"/>
                <a:gd name="T48" fmla="*/ 5 w 1366"/>
                <a:gd name="T49" fmla="*/ 1009 h 1612"/>
                <a:gd name="T50" fmla="*/ 39 w 1366"/>
                <a:gd name="T51" fmla="*/ 841 h 1612"/>
                <a:gd name="T52" fmla="*/ 247 w 1366"/>
                <a:gd name="T53" fmla="*/ 841 h 1612"/>
                <a:gd name="T54" fmla="*/ 247 w 1366"/>
                <a:gd name="T55" fmla="*/ 673 h 1612"/>
                <a:gd name="T56" fmla="*/ 0 w 1366"/>
                <a:gd name="T57" fmla="*/ 673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6" h="1612">
                  <a:moveTo>
                    <a:pt x="0" y="673"/>
                  </a:moveTo>
                  <a:cubicBezTo>
                    <a:pt x="12" y="616"/>
                    <a:pt x="24" y="561"/>
                    <a:pt x="36" y="505"/>
                  </a:cubicBezTo>
                  <a:cubicBezTo>
                    <a:pt x="63" y="505"/>
                    <a:pt x="90" y="505"/>
                    <a:pt x="118" y="505"/>
                  </a:cubicBezTo>
                  <a:cubicBezTo>
                    <a:pt x="168" y="505"/>
                    <a:pt x="219" y="505"/>
                    <a:pt x="270" y="505"/>
                  </a:cubicBezTo>
                  <a:cubicBezTo>
                    <a:pt x="281" y="505"/>
                    <a:pt x="286" y="502"/>
                    <a:pt x="291" y="491"/>
                  </a:cubicBezTo>
                  <a:cubicBezTo>
                    <a:pt x="400" y="244"/>
                    <a:pt x="586" y="88"/>
                    <a:pt x="852" y="36"/>
                  </a:cubicBezTo>
                  <a:cubicBezTo>
                    <a:pt x="1034" y="0"/>
                    <a:pt x="1202" y="44"/>
                    <a:pt x="1357" y="142"/>
                  </a:cubicBezTo>
                  <a:cubicBezTo>
                    <a:pt x="1361" y="144"/>
                    <a:pt x="1366" y="151"/>
                    <a:pt x="1365" y="155"/>
                  </a:cubicBezTo>
                  <a:cubicBezTo>
                    <a:pt x="1354" y="210"/>
                    <a:pt x="1342" y="264"/>
                    <a:pt x="1330" y="319"/>
                  </a:cubicBezTo>
                  <a:cubicBezTo>
                    <a:pt x="965" y="37"/>
                    <a:pt x="580" y="270"/>
                    <a:pt x="466" y="505"/>
                  </a:cubicBezTo>
                  <a:cubicBezTo>
                    <a:pt x="736" y="505"/>
                    <a:pt x="1006" y="505"/>
                    <a:pt x="1280" y="505"/>
                  </a:cubicBezTo>
                  <a:cubicBezTo>
                    <a:pt x="1271" y="562"/>
                    <a:pt x="1262" y="616"/>
                    <a:pt x="1254" y="673"/>
                  </a:cubicBezTo>
                  <a:cubicBezTo>
                    <a:pt x="974" y="673"/>
                    <a:pt x="695" y="673"/>
                    <a:pt x="413" y="673"/>
                  </a:cubicBezTo>
                  <a:cubicBezTo>
                    <a:pt x="413" y="729"/>
                    <a:pt x="413" y="784"/>
                    <a:pt x="413" y="841"/>
                  </a:cubicBezTo>
                  <a:cubicBezTo>
                    <a:pt x="682" y="841"/>
                    <a:pt x="948" y="841"/>
                    <a:pt x="1215" y="841"/>
                  </a:cubicBezTo>
                  <a:cubicBezTo>
                    <a:pt x="1204" y="898"/>
                    <a:pt x="1193" y="953"/>
                    <a:pt x="1181" y="1009"/>
                  </a:cubicBezTo>
                  <a:cubicBezTo>
                    <a:pt x="945" y="1009"/>
                    <a:pt x="710" y="1009"/>
                    <a:pt x="475" y="1009"/>
                  </a:cubicBezTo>
                  <a:cubicBezTo>
                    <a:pt x="583" y="1282"/>
                    <a:pt x="998" y="1453"/>
                    <a:pt x="1324" y="1192"/>
                  </a:cubicBezTo>
                  <a:cubicBezTo>
                    <a:pt x="1325" y="1198"/>
                    <a:pt x="1326" y="1202"/>
                    <a:pt x="1326" y="1207"/>
                  </a:cubicBezTo>
                  <a:cubicBezTo>
                    <a:pt x="1326" y="1263"/>
                    <a:pt x="1325" y="1318"/>
                    <a:pt x="1326" y="1373"/>
                  </a:cubicBezTo>
                  <a:cubicBezTo>
                    <a:pt x="1327" y="1387"/>
                    <a:pt x="1321" y="1393"/>
                    <a:pt x="1310" y="1399"/>
                  </a:cubicBezTo>
                  <a:cubicBezTo>
                    <a:pt x="898" y="1612"/>
                    <a:pt x="462" y="1404"/>
                    <a:pt x="299" y="1028"/>
                  </a:cubicBezTo>
                  <a:cubicBezTo>
                    <a:pt x="293" y="1013"/>
                    <a:pt x="286" y="1008"/>
                    <a:pt x="270" y="1009"/>
                  </a:cubicBezTo>
                  <a:cubicBezTo>
                    <a:pt x="190" y="1009"/>
                    <a:pt x="109" y="1009"/>
                    <a:pt x="28" y="1009"/>
                  </a:cubicBezTo>
                  <a:cubicBezTo>
                    <a:pt x="21" y="1009"/>
                    <a:pt x="14" y="1009"/>
                    <a:pt x="5" y="1009"/>
                  </a:cubicBezTo>
                  <a:cubicBezTo>
                    <a:pt x="16" y="952"/>
                    <a:pt x="27" y="898"/>
                    <a:pt x="39" y="841"/>
                  </a:cubicBezTo>
                  <a:cubicBezTo>
                    <a:pt x="109" y="841"/>
                    <a:pt x="179" y="841"/>
                    <a:pt x="247" y="841"/>
                  </a:cubicBezTo>
                  <a:cubicBezTo>
                    <a:pt x="247" y="785"/>
                    <a:pt x="247" y="730"/>
                    <a:pt x="247" y="673"/>
                  </a:cubicBezTo>
                  <a:cubicBezTo>
                    <a:pt x="166" y="673"/>
                    <a:pt x="84" y="673"/>
                    <a:pt x="0" y="673"/>
                  </a:cubicBezTo>
                  <a:close/>
                </a:path>
              </a:pathLst>
            </a:custGeom>
            <a:solidFill>
              <a:srgbClr val="F1592A"/>
            </a:solidFill>
            <a:ln>
              <a:noFill/>
            </a:ln>
          </p:spPr>
          <p:txBody>
            <a:bodyPr vert="horz" wrap="square" lIns="91440" tIns="45720" rIns="91440" bIns="45720" numCol="1" anchor="t" anchorCtr="0" compatLnSpc="1">
              <a:prstTxWarp prst="textNoShape">
                <a:avLst/>
              </a:prstTxWarp>
            </a:bodyPr>
            <a:lstStyle/>
            <a:p>
              <a:endParaRPr lang="en-US"/>
            </a:p>
          </p:txBody>
        </p:sp>
        <p:sp>
          <p:nvSpPr>
            <p:cNvPr id="206" name="Freeform 67"/>
            <p:cNvSpPr>
              <a:spLocks/>
            </p:cNvSpPr>
            <p:nvPr/>
          </p:nvSpPr>
          <p:spPr bwMode="auto">
            <a:xfrm>
              <a:off x="4495112" y="2585919"/>
              <a:ext cx="141491" cy="166941"/>
            </a:xfrm>
            <a:custGeom>
              <a:avLst/>
              <a:gdLst>
                <a:gd name="T0" fmla="*/ 0 w 1366"/>
                <a:gd name="T1" fmla="*/ 673 h 1612"/>
                <a:gd name="T2" fmla="*/ 36 w 1366"/>
                <a:gd name="T3" fmla="*/ 505 h 1612"/>
                <a:gd name="T4" fmla="*/ 118 w 1366"/>
                <a:gd name="T5" fmla="*/ 505 h 1612"/>
                <a:gd name="T6" fmla="*/ 270 w 1366"/>
                <a:gd name="T7" fmla="*/ 505 h 1612"/>
                <a:gd name="T8" fmla="*/ 291 w 1366"/>
                <a:gd name="T9" fmla="*/ 491 h 1612"/>
                <a:gd name="T10" fmla="*/ 852 w 1366"/>
                <a:gd name="T11" fmla="*/ 36 h 1612"/>
                <a:gd name="T12" fmla="*/ 1357 w 1366"/>
                <a:gd name="T13" fmla="*/ 142 h 1612"/>
                <a:gd name="T14" fmla="*/ 1365 w 1366"/>
                <a:gd name="T15" fmla="*/ 155 h 1612"/>
                <a:gd name="T16" fmla="*/ 1330 w 1366"/>
                <a:gd name="T17" fmla="*/ 319 h 1612"/>
                <a:gd name="T18" fmla="*/ 466 w 1366"/>
                <a:gd name="T19" fmla="*/ 505 h 1612"/>
                <a:gd name="T20" fmla="*/ 1280 w 1366"/>
                <a:gd name="T21" fmla="*/ 505 h 1612"/>
                <a:gd name="T22" fmla="*/ 1254 w 1366"/>
                <a:gd name="T23" fmla="*/ 673 h 1612"/>
                <a:gd name="T24" fmla="*/ 413 w 1366"/>
                <a:gd name="T25" fmla="*/ 673 h 1612"/>
                <a:gd name="T26" fmla="*/ 413 w 1366"/>
                <a:gd name="T27" fmla="*/ 841 h 1612"/>
                <a:gd name="T28" fmla="*/ 1215 w 1366"/>
                <a:gd name="T29" fmla="*/ 841 h 1612"/>
                <a:gd name="T30" fmla="*/ 1181 w 1366"/>
                <a:gd name="T31" fmla="*/ 1009 h 1612"/>
                <a:gd name="T32" fmla="*/ 475 w 1366"/>
                <a:gd name="T33" fmla="*/ 1009 h 1612"/>
                <a:gd name="T34" fmla="*/ 1324 w 1366"/>
                <a:gd name="T35" fmla="*/ 1192 h 1612"/>
                <a:gd name="T36" fmla="*/ 1326 w 1366"/>
                <a:gd name="T37" fmla="*/ 1207 h 1612"/>
                <a:gd name="T38" fmla="*/ 1326 w 1366"/>
                <a:gd name="T39" fmla="*/ 1373 h 1612"/>
                <a:gd name="T40" fmla="*/ 1310 w 1366"/>
                <a:gd name="T41" fmla="*/ 1399 h 1612"/>
                <a:gd name="T42" fmla="*/ 299 w 1366"/>
                <a:gd name="T43" fmla="*/ 1028 h 1612"/>
                <a:gd name="T44" fmla="*/ 270 w 1366"/>
                <a:gd name="T45" fmla="*/ 1009 h 1612"/>
                <a:gd name="T46" fmla="*/ 28 w 1366"/>
                <a:gd name="T47" fmla="*/ 1009 h 1612"/>
                <a:gd name="T48" fmla="*/ 5 w 1366"/>
                <a:gd name="T49" fmla="*/ 1009 h 1612"/>
                <a:gd name="T50" fmla="*/ 39 w 1366"/>
                <a:gd name="T51" fmla="*/ 841 h 1612"/>
                <a:gd name="T52" fmla="*/ 247 w 1366"/>
                <a:gd name="T53" fmla="*/ 841 h 1612"/>
                <a:gd name="T54" fmla="*/ 247 w 1366"/>
                <a:gd name="T55" fmla="*/ 673 h 1612"/>
                <a:gd name="T56" fmla="*/ 0 w 1366"/>
                <a:gd name="T57" fmla="*/ 673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6" h="1612">
                  <a:moveTo>
                    <a:pt x="0" y="673"/>
                  </a:moveTo>
                  <a:cubicBezTo>
                    <a:pt x="12" y="616"/>
                    <a:pt x="24" y="561"/>
                    <a:pt x="36" y="505"/>
                  </a:cubicBezTo>
                  <a:cubicBezTo>
                    <a:pt x="63" y="505"/>
                    <a:pt x="90" y="505"/>
                    <a:pt x="118" y="505"/>
                  </a:cubicBezTo>
                  <a:cubicBezTo>
                    <a:pt x="168" y="505"/>
                    <a:pt x="219" y="505"/>
                    <a:pt x="270" y="505"/>
                  </a:cubicBezTo>
                  <a:cubicBezTo>
                    <a:pt x="281" y="505"/>
                    <a:pt x="286" y="502"/>
                    <a:pt x="291" y="491"/>
                  </a:cubicBezTo>
                  <a:cubicBezTo>
                    <a:pt x="400" y="244"/>
                    <a:pt x="586" y="88"/>
                    <a:pt x="852" y="36"/>
                  </a:cubicBezTo>
                  <a:cubicBezTo>
                    <a:pt x="1034" y="0"/>
                    <a:pt x="1202" y="44"/>
                    <a:pt x="1357" y="142"/>
                  </a:cubicBezTo>
                  <a:cubicBezTo>
                    <a:pt x="1361" y="144"/>
                    <a:pt x="1366" y="151"/>
                    <a:pt x="1365" y="155"/>
                  </a:cubicBezTo>
                  <a:cubicBezTo>
                    <a:pt x="1354" y="210"/>
                    <a:pt x="1342" y="264"/>
                    <a:pt x="1330" y="319"/>
                  </a:cubicBezTo>
                  <a:cubicBezTo>
                    <a:pt x="965" y="37"/>
                    <a:pt x="580" y="270"/>
                    <a:pt x="466" y="505"/>
                  </a:cubicBezTo>
                  <a:cubicBezTo>
                    <a:pt x="736" y="505"/>
                    <a:pt x="1006" y="505"/>
                    <a:pt x="1280" y="505"/>
                  </a:cubicBezTo>
                  <a:cubicBezTo>
                    <a:pt x="1271" y="562"/>
                    <a:pt x="1262" y="616"/>
                    <a:pt x="1254" y="673"/>
                  </a:cubicBezTo>
                  <a:cubicBezTo>
                    <a:pt x="974" y="673"/>
                    <a:pt x="695" y="673"/>
                    <a:pt x="413" y="673"/>
                  </a:cubicBezTo>
                  <a:cubicBezTo>
                    <a:pt x="413" y="729"/>
                    <a:pt x="413" y="784"/>
                    <a:pt x="413" y="841"/>
                  </a:cubicBezTo>
                  <a:cubicBezTo>
                    <a:pt x="682" y="841"/>
                    <a:pt x="948" y="841"/>
                    <a:pt x="1215" y="841"/>
                  </a:cubicBezTo>
                  <a:cubicBezTo>
                    <a:pt x="1204" y="898"/>
                    <a:pt x="1193" y="953"/>
                    <a:pt x="1181" y="1009"/>
                  </a:cubicBezTo>
                  <a:cubicBezTo>
                    <a:pt x="945" y="1009"/>
                    <a:pt x="710" y="1009"/>
                    <a:pt x="475" y="1009"/>
                  </a:cubicBezTo>
                  <a:cubicBezTo>
                    <a:pt x="583" y="1282"/>
                    <a:pt x="998" y="1453"/>
                    <a:pt x="1324" y="1192"/>
                  </a:cubicBezTo>
                  <a:cubicBezTo>
                    <a:pt x="1325" y="1198"/>
                    <a:pt x="1326" y="1202"/>
                    <a:pt x="1326" y="1207"/>
                  </a:cubicBezTo>
                  <a:cubicBezTo>
                    <a:pt x="1326" y="1263"/>
                    <a:pt x="1325" y="1318"/>
                    <a:pt x="1326" y="1373"/>
                  </a:cubicBezTo>
                  <a:cubicBezTo>
                    <a:pt x="1327" y="1387"/>
                    <a:pt x="1321" y="1393"/>
                    <a:pt x="1310" y="1399"/>
                  </a:cubicBezTo>
                  <a:cubicBezTo>
                    <a:pt x="898" y="1612"/>
                    <a:pt x="462" y="1404"/>
                    <a:pt x="299" y="1028"/>
                  </a:cubicBezTo>
                  <a:cubicBezTo>
                    <a:pt x="293" y="1013"/>
                    <a:pt x="286" y="1008"/>
                    <a:pt x="270" y="1009"/>
                  </a:cubicBezTo>
                  <a:cubicBezTo>
                    <a:pt x="190" y="1009"/>
                    <a:pt x="109" y="1009"/>
                    <a:pt x="28" y="1009"/>
                  </a:cubicBezTo>
                  <a:cubicBezTo>
                    <a:pt x="21" y="1009"/>
                    <a:pt x="14" y="1009"/>
                    <a:pt x="5" y="1009"/>
                  </a:cubicBezTo>
                  <a:cubicBezTo>
                    <a:pt x="16" y="952"/>
                    <a:pt x="27" y="898"/>
                    <a:pt x="39" y="841"/>
                  </a:cubicBezTo>
                  <a:cubicBezTo>
                    <a:pt x="109" y="841"/>
                    <a:pt x="179" y="841"/>
                    <a:pt x="247" y="841"/>
                  </a:cubicBezTo>
                  <a:cubicBezTo>
                    <a:pt x="247" y="785"/>
                    <a:pt x="247" y="730"/>
                    <a:pt x="247" y="673"/>
                  </a:cubicBezTo>
                  <a:cubicBezTo>
                    <a:pt x="166" y="673"/>
                    <a:pt x="84" y="673"/>
                    <a:pt x="0" y="673"/>
                  </a:cubicBezTo>
                  <a:close/>
                </a:path>
              </a:pathLst>
            </a:custGeom>
            <a:solidFill>
              <a:srgbClr val="F1592A"/>
            </a:solidFill>
            <a:ln>
              <a:noFill/>
            </a:ln>
          </p:spPr>
          <p:txBody>
            <a:bodyPr vert="horz" wrap="square" lIns="91440" tIns="45720" rIns="91440" bIns="45720" numCol="1" anchor="t" anchorCtr="0" compatLnSpc="1">
              <a:prstTxWarp prst="textNoShape">
                <a:avLst/>
              </a:prstTxWarp>
            </a:bodyPr>
            <a:lstStyle/>
            <a:p>
              <a:endParaRPr lang="en-US"/>
            </a:p>
          </p:txBody>
        </p:sp>
        <p:sp>
          <p:nvSpPr>
            <p:cNvPr id="207" name="Freeform 67"/>
            <p:cNvSpPr>
              <a:spLocks/>
            </p:cNvSpPr>
            <p:nvPr/>
          </p:nvSpPr>
          <p:spPr bwMode="auto">
            <a:xfrm rot="1800000">
              <a:off x="4323296" y="3223866"/>
              <a:ext cx="141491" cy="166941"/>
            </a:xfrm>
            <a:custGeom>
              <a:avLst/>
              <a:gdLst>
                <a:gd name="T0" fmla="*/ 0 w 1366"/>
                <a:gd name="T1" fmla="*/ 673 h 1612"/>
                <a:gd name="T2" fmla="*/ 36 w 1366"/>
                <a:gd name="T3" fmla="*/ 505 h 1612"/>
                <a:gd name="T4" fmla="*/ 118 w 1366"/>
                <a:gd name="T5" fmla="*/ 505 h 1612"/>
                <a:gd name="T6" fmla="*/ 270 w 1366"/>
                <a:gd name="T7" fmla="*/ 505 h 1612"/>
                <a:gd name="T8" fmla="*/ 291 w 1366"/>
                <a:gd name="T9" fmla="*/ 491 h 1612"/>
                <a:gd name="T10" fmla="*/ 852 w 1366"/>
                <a:gd name="T11" fmla="*/ 36 h 1612"/>
                <a:gd name="T12" fmla="*/ 1357 w 1366"/>
                <a:gd name="T13" fmla="*/ 142 h 1612"/>
                <a:gd name="T14" fmla="*/ 1365 w 1366"/>
                <a:gd name="T15" fmla="*/ 155 h 1612"/>
                <a:gd name="T16" fmla="*/ 1330 w 1366"/>
                <a:gd name="T17" fmla="*/ 319 h 1612"/>
                <a:gd name="T18" fmla="*/ 466 w 1366"/>
                <a:gd name="T19" fmla="*/ 505 h 1612"/>
                <a:gd name="T20" fmla="*/ 1280 w 1366"/>
                <a:gd name="T21" fmla="*/ 505 h 1612"/>
                <a:gd name="T22" fmla="*/ 1254 w 1366"/>
                <a:gd name="T23" fmla="*/ 673 h 1612"/>
                <a:gd name="T24" fmla="*/ 413 w 1366"/>
                <a:gd name="T25" fmla="*/ 673 h 1612"/>
                <a:gd name="T26" fmla="*/ 413 w 1366"/>
                <a:gd name="T27" fmla="*/ 841 h 1612"/>
                <a:gd name="T28" fmla="*/ 1215 w 1366"/>
                <a:gd name="T29" fmla="*/ 841 h 1612"/>
                <a:gd name="T30" fmla="*/ 1181 w 1366"/>
                <a:gd name="T31" fmla="*/ 1009 h 1612"/>
                <a:gd name="T32" fmla="*/ 475 w 1366"/>
                <a:gd name="T33" fmla="*/ 1009 h 1612"/>
                <a:gd name="T34" fmla="*/ 1324 w 1366"/>
                <a:gd name="T35" fmla="*/ 1192 h 1612"/>
                <a:gd name="T36" fmla="*/ 1326 w 1366"/>
                <a:gd name="T37" fmla="*/ 1207 h 1612"/>
                <a:gd name="T38" fmla="*/ 1326 w 1366"/>
                <a:gd name="T39" fmla="*/ 1373 h 1612"/>
                <a:gd name="T40" fmla="*/ 1310 w 1366"/>
                <a:gd name="T41" fmla="*/ 1399 h 1612"/>
                <a:gd name="T42" fmla="*/ 299 w 1366"/>
                <a:gd name="T43" fmla="*/ 1028 h 1612"/>
                <a:gd name="T44" fmla="*/ 270 w 1366"/>
                <a:gd name="T45" fmla="*/ 1009 h 1612"/>
                <a:gd name="T46" fmla="*/ 28 w 1366"/>
                <a:gd name="T47" fmla="*/ 1009 h 1612"/>
                <a:gd name="T48" fmla="*/ 5 w 1366"/>
                <a:gd name="T49" fmla="*/ 1009 h 1612"/>
                <a:gd name="T50" fmla="*/ 39 w 1366"/>
                <a:gd name="T51" fmla="*/ 841 h 1612"/>
                <a:gd name="T52" fmla="*/ 247 w 1366"/>
                <a:gd name="T53" fmla="*/ 841 h 1612"/>
                <a:gd name="T54" fmla="*/ 247 w 1366"/>
                <a:gd name="T55" fmla="*/ 673 h 1612"/>
                <a:gd name="T56" fmla="*/ 0 w 1366"/>
                <a:gd name="T57" fmla="*/ 673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6" h="1612">
                  <a:moveTo>
                    <a:pt x="0" y="673"/>
                  </a:moveTo>
                  <a:cubicBezTo>
                    <a:pt x="12" y="616"/>
                    <a:pt x="24" y="561"/>
                    <a:pt x="36" y="505"/>
                  </a:cubicBezTo>
                  <a:cubicBezTo>
                    <a:pt x="63" y="505"/>
                    <a:pt x="90" y="505"/>
                    <a:pt x="118" y="505"/>
                  </a:cubicBezTo>
                  <a:cubicBezTo>
                    <a:pt x="168" y="505"/>
                    <a:pt x="219" y="505"/>
                    <a:pt x="270" y="505"/>
                  </a:cubicBezTo>
                  <a:cubicBezTo>
                    <a:pt x="281" y="505"/>
                    <a:pt x="286" y="502"/>
                    <a:pt x="291" y="491"/>
                  </a:cubicBezTo>
                  <a:cubicBezTo>
                    <a:pt x="400" y="244"/>
                    <a:pt x="586" y="88"/>
                    <a:pt x="852" y="36"/>
                  </a:cubicBezTo>
                  <a:cubicBezTo>
                    <a:pt x="1034" y="0"/>
                    <a:pt x="1202" y="44"/>
                    <a:pt x="1357" y="142"/>
                  </a:cubicBezTo>
                  <a:cubicBezTo>
                    <a:pt x="1361" y="144"/>
                    <a:pt x="1366" y="151"/>
                    <a:pt x="1365" y="155"/>
                  </a:cubicBezTo>
                  <a:cubicBezTo>
                    <a:pt x="1354" y="210"/>
                    <a:pt x="1342" y="264"/>
                    <a:pt x="1330" y="319"/>
                  </a:cubicBezTo>
                  <a:cubicBezTo>
                    <a:pt x="965" y="37"/>
                    <a:pt x="580" y="270"/>
                    <a:pt x="466" y="505"/>
                  </a:cubicBezTo>
                  <a:cubicBezTo>
                    <a:pt x="736" y="505"/>
                    <a:pt x="1006" y="505"/>
                    <a:pt x="1280" y="505"/>
                  </a:cubicBezTo>
                  <a:cubicBezTo>
                    <a:pt x="1271" y="562"/>
                    <a:pt x="1262" y="616"/>
                    <a:pt x="1254" y="673"/>
                  </a:cubicBezTo>
                  <a:cubicBezTo>
                    <a:pt x="974" y="673"/>
                    <a:pt x="695" y="673"/>
                    <a:pt x="413" y="673"/>
                  </a:cubicBezTo>
                  <a:cubicBezTo>
                    <a:pt x="413" y="729"/>
                    <a:pt x="413" y="784"/>
                    <a:pt x="413" y="841"/>
                  </a:cubicBezTo>
                  <a:cubicBezTo>
                    <a:pt x="682" y="841"/>
                    <a:pt x="948" y="841"/>
                    <a:pt x="1215" y="841"/>
                  </a:cubicBezTo>
                  <a:cubicBezTo>
                    <a:pt x="1204" y="898"/>
                    <a:pt x="1193" y="953"/>
                    <a:pt x="1181" y="1009"/>
                  </a:cubicBezTo>
                  <a:cubicBezTo>
                    <a:pt x="945" y="1009"/>
                    <a:pt x="710" y="1009"/>
                    <a:pt x="475" y="1009"/>
                  </a:cubicBezTo>
                  <a:cubicBezTo>
                    <a:pt x="583" y="1282"/>
                    <a:pt x="998" y="1453"/>
                    <a:pt x="1324" y="1192"/>
                  </a:cubicBezTo>
                  <a:cubicBezTo>
                    <a:pt x="1325" y="1198"/>
                    <a:pt x="1326" y="1202"/>
                    <a:pt x="1326" y="1207"/>
                  </a:cubicBezTo>
                  <a:cubicBezTo>
                    <a:pt x="1326" y="1263"/>
                    <a:pt x="1325" y="1318"/>
                    <a:pt x="1326" y="1373"/>
                  </a:cubicBezTo>
                  <a:cubicBezTo>
                    <a:pt x="1327" y="1387"/>
                    <a:pt x="1321" y="1393"/>
                    <a:pt x="1310" y="1399"/>
                  </a:cubicBezTo>
                  <a:cubicBezTo>
                    <a:pt x="898" y="1612"/>
                    <a:pt x="462" y="1404"/>
                    <a:pt x="299" y="1028"/>
                  </a:cubicBezTo>
                  <a:cubicBezTo>
                    <a:pt x="293" y="1013"/>
                    <a:pt x="286" y="1008"/>
                    <a:pt x="270" y="1009"/>
                  </a:cubicBezTo>
                  <a:cubicBezTo>
                    <a:pt x="190" y="1009"/>
                    <a:pt x="109" y="1009"/>
                    <a:pt x="28" y="1009"/>
                  </a:cubicBezTo>
                  <a:cubicBezTo>
                    <a:pt x="21" y="1009"/>
                    <a:pt x="14" y="1009"/>
                    <a:pt x="5" y="1009"/>
                  </a:cubicBezTo>
                  <a:cubicBezTo>
                    <a:pt x="16" y="952"/>
                    <a:pt x="27" y="898"/>
                    <a:pt x="39" y="841"/>
                  </a:cubicBezTo>
                  <a:cubicBezTo>
                    <a:pt x="109" y="841"/>
                    <a:pt x="179" y="841"/>
                    <a:pt x="247" y="841"/>
                  </a:cubicBezTo>
                  <a:cubicBezTo>
                    <a:pt x="247" y="785"/>
                    <a:pt x="247" y="730"/>
                    <a:pt x="247" y="673"/>
                  </a:cubicBezTo>
                  <a:cubicBezTo>
                    <a:pt x="166" y="673"/>
                    <a:pt x="84" y="673"/>
                    <a:pt x="0" y="673"/>
                  </a:cubicBezTo>
                  <a:close/>
                </a:path>
              </a:pathLst>
            </a:custGeom>
            <a:solidFill>
              <a:srgbClr val="F1592A"/>
            </a:solidFill>
            <a:ln>
              <a:noFill/>
            </a:ln>
          </p:spPr>
          <p:txBody>
            <a:bodyPr vert="horz" wrap="square" lIns="91440" tIns="45720" rIns="91440" bIns="45720" numCol="1" anchor="t" anchorCtr="0" compatLnSpc="1">
              <a:prstTxWarp prst="textNoShape">
                <a:avLst/>
              </a:prstTxWarp>
            </a:bodyPr>
            <a:lstStyle/>
            <a:p>
              <a:endParaRPr lang="en-US"/>
            </a:p>
          </p:txBody>
        </p:sp>
        <p:sp>
          <p:nvSpPr>
            <p:cNvPr id="208" name="Freeform 67"/>
            <p:cNvSpPr>
              <a:spLocks/>
            </p:cNvSpPr>
            <p:nvPr/>
          </p:nvSpPr>
          <p:spPr bwMode="auto">
            <a:xfrm>
              <a:off x="2261308" y="2585919"/>
              <a:ext cx="141491" cy="166941"/>
            </a:xfrm>
            <a:custGeom>
              <a:avLst/>
              <a:gdLst>
                <a:gd name="T0" fmla="*/ 0 w 1366"/>
                <a:gd name="T1" fmla="*/ 673 h 1612"/>
                <a:gd name="T2" fmla="*/ 36 w 1366"/>
                <a:gd name="T3" fmla="*/ 505 h 1612"/>
                <a:gd name="T4" fmla="*/ 118 w 1366"/>
                <a:gd name="T5" fmla="*/ 505 h 1612"/>
                <a:gd name="T6" fmla="*/ 270 w 1366"/>
                <a:gd name="T7" fmla="*/ 505 h 1612"/>
                <a:gd name="T8" fmla="*/ 291 w 1366"/>
                <a:gd name="T9" fmla="*/ 491 h 1612"/>
                <a:gd name="T10" fmla="*/ 852 w 1366"/>
                <a:gd name="T11" fmla="*/ 36 h 1612"/>
                <a:gd name="T12" fmla="*/ 1357 w 1366"/>
                <a:gd name="T13" fmla="*/ 142 h 1612"/>
                <a:gd name="T14" fmla="*/ 1365 w 1366"/>
                <a:gd name="T15" fmla="*/ 155 h 1612"/>
                <a:gd name="T16" fmla="*/ 1330 w 1366"/>
                <a:gd name="T17" fmla="*/ 319 h 1612"/>
                <a:gd name="T18" fmla="*/ 466 w 1366"/>
                <a:gd name="T19" fmla="*/ 505 h 1612"/>
                <a:gd name="T20" fmla="*/ 1280 w 1366"/>
                <a:gd name="T21" fmla="*/ 505 h 1612"/>
                <a:gd name="T22" fmla="*/ 1254 w 1366"/>
                <a:gd name="T23" fmla="*/ 673 h 1612"/>
                <a:gd name="T24" fmla="*/ 413 w 1366"/>
                <a:gd name="T25" fmla="*/ 673 h 1612"/>
                <a:gd name="T26" fmla="*/ 413 w 1366"/>
                <a:gd name="T27" fmla="*/ 841 h 1612"/>
                <a:gd name="T28" fmla="*/ 1215 w 1366"/>
                <a:gd name="T29" fmla="*/ 841 h 1612"/>
                <a:gd name="T30" fmla="*/ 1181 w 1366"/>
                <a:gd name="T31" fmla="*/ 1009 h 1612"/>
                <a:gd name="T32" fmla="*/ 475 w 1366"/>
                <a:gd name="T33" fmla="*/ 1009 h 1612"/>
                <a:gd name="T34" fmla="*/ 1324 w 1366"/>
                <a:gd name="T35" fmla="*/ 1192 h 1612"/>
                <a:gd name="T36" fmla="*/ 1326 w 1366"/>
                <a:gd name="T37" fmla="*/ 1207 h 1612"/>
                <a:gd name="T38" fmla="*/ 1326 w 1366"/>
                <a:gd name="T39" fmla="*/ 1373 h 1612"/>
                <a:gd name="T40" fmla="*/ 1310 w 1366"/>
                <a:gd name="T41" fmla="*/ 1399 h 1612"/>
                <a:gd name="T42" fmla="*/ 299 w 1366"/>
                <a:gd name="T43" fmla="*/ 1028 h 1612"/>
                <a:gd name="T44" fmla="*/ 270 w 1366"/>
                <a:gd name="T45" fmla="*/ 1009 h 1612"/>
                <a:gd name="T46" fmla="*/ 28 w 1366"/>
                <a:gd name="T47" fmla="*/ 1009 h 1612"/>
                <a:gd name="T48" fmla="*/ 5 w 1366"/>
                <a:gd name="T49" fmla="*/ 1009 h 1612"/>
                <a:gd name="T50" fmla="*/ 39 w 1366"/>
                <a:gd name="T51" fmla="*/ 841 h 1612"/>
                <a:gd name="T52" fmla="*/ 247 w 1366"/>
                <a:gd name="T53" fmla="*/ 841 h 1612"/>
                <a:gd name="T54" fmla="*/ 247 w 1366"/>
                <a:gd name="T55" fmla="*/ 673 h 1612"/>
                <a:gd name="T56" fmla="*/ 0 w 1366"/>
                <a:gd name="T57" fmla="*/ 673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6" h="1612">
                  <a:moveTo>
                    <a:pt x="0" y="673"/>
                  </a:moveTo>
                  <a:cubicBezTo>
                    <a:pt x="12" y="616"/>
                    <a:pt x="24" y="561"/>
                    <a:pt x="36" y="505"/>
                  </a:cubicBezTo>
                  <a:cubicBezTo>
                    <a:pt x="63" y="505"/>
                    <a:pt x="90" y="505"/>
                    <a:pt x="118" y="505"/>
                  </a:cubicBezTo>
                  <a:cubicBezTo>
                    <a:pt x="168" y="505"/>
                    <a:pt x="219" y="505"/>
                    <a:pt x="270" y="505"/>
                  </a:cubicBezTo>
                  <a:cubicBezTo>
                    <a:pt x="281" y="505"/>
                    <a:pt x="286" y="502"/>
                    <a:pt x="291" y="491"/>
                  </a:cubicBezTo>
                  <a:cubicBezTo>
                    <a:pt x="400" y="244"/>
                    <a:pt x="586" y="88"/>
                    <a:pt x="852" y="36"/>
                  </a:cubicBezTo>
                  <a:cubicBezTo>
                    <a:pt x="1034" y="0"/>
                    <a:pt x="1202" y="44"/>
                    <a:pt x="1357" y="142"/>
                  </a:cubicBezTo>
                  <a:cubicBezTo>
                    <a:pt x="1361" y="144"/>
                    <a:pt x="1366" y="151"/>
                    <a:pt x="1365" y="155"/>
                  </a:cubicBezTo>
                  <a:cubicBezTo>
                    <a:pt x="1354" y="210"/>
                    <a:pt x="1342" y="264"/>
                    <a:pt x="1330" y="319"/>
                  </a:cubicBezTo>
                  <a:cubicBezTo>
                    <a:pt x="965" y="37"/>
                    <a:pt x="580" y="270"/>
                    <a:pt x="466" y="505"/>
                  </a:cubicBezTo>
                  <a:cubicBezTo>
                    <a:pt x="736" y="505"/>
                    <a:pt x="1006" y="505"/>
                    <a:pt x="1280" y="505"/>
                  </a:cubicBezTo>
                  <a:cubicBezTo>
                    <a:pt x="1271" y="562"/>
                    <a:pt x="1262" y="616"/>
                    <a:pt x="1254" y="673"/>
                  </a:cubicBezTo>
                  <a:cubicBezTo>
                    <a:pt x="974" y="673"/>
                    <a:pt x="695" y="673"/>
                    <a:pt x="413" y="673"/>
                  </a:cubicBezTo>
                  <a:cubicBezTo>
                    <a:pt x="413" y="729"/>
                    <a:pt x="413" y="784"/>
                    <a:pt x="413" y="841"/>
                  </a:cubicBezTo>
                  <a:cubicBezTo>
                    <a:pt x="682" y="841"/>
                    <a:pt x="948" y="841"/>
                    <a:pt x="1215" y="841"/>
                  </a:cubicBezTo>
                  <a:cubicBezTo>
                    <a:pt x="1204" y="898"/>
                    <a:pt x="1193" y="953"/>
                    <a:pt x="1181" y="1009"/>
                  </a:cubicBezTo>
                  <a:cubicBezTo>
                    <a:pt x="945" y="1009"/>
                    <a:pt x="710" y="1009"/>
                    <a:pt x="475" y="1009"/>
                  </a:cubicBezTo>
                  <a:cubicBezTo>
                    <a:pt x="583" y="1282"/>
                    <a:pt x="998" y="1453"/>
                    <a:pt x="1324" y="1192"/>
                  </a:cubicBezTo>
                  <a:cubicBezTo>
                    <a:pt x="1325" y="1198"/>
                    <a:pt x="1326" y="1202"/>
                    <a:pt x="1326" y="1207"/>
                  </a:cubicBezTo>
                  <a:cubicBezTo>
                    <a:pt x="1326" y="1263"/>
                    <a:pt x="1325" y="1318"/>
                    <a:pt x="1326" y="1373"/>
                  </a:cubicBezTo>
                  <a:cubicBezTo>
                    <a:pt x="1327" y="1387"/>
                    <a:pt x="1321" y="1393"/>
                    <a:pt x="1310" y="1399"/>
                  </a:cubicBezTo>
                  <a:cubicBezTo>
                    <a:pt x="898" y="1612"/>
                    <a:pt x="462" y="1404"/>
                    <a:pt x="299" y="1028"/>
                  </a:cubicBezTo>
                  <a:cubicBezTo>
                    <a:pt x="293" y="1013"/>
                    <a:pt x="286" y="1008"/>
                    <a:pt x="270" y="1009"/>
                  </a:cubicBezTo>
                  <a:cubicBezTo>
                    <a:pt x="190" y="1009"/>
                    <a:pt x="109" y="1009"/>
                    <a:pt x="28" y="1009"/>
                  </a:cubicBezTo>
                  <a:cubicBezTo>
                    <a:pt x="21" y="1009"/>
                    <a:pt x="14" y="1009"/>
                    <a:pt x="5" y="1009"/>
                  </a:cubicBezTo>
                  <a:cubicBezTo>
                    <a:pt x="16" y="952"/>
                    <a:pt x="27" y="898"/>
                    <a:pt x="39" y="841"/>
                  </a:cubicBezTo>
                  <a:cubicBezTo>
                    <a:pt x="109" y="841"/>
                    <a:pt x="179" y="841"/>
                    <a:pt x="247" y="841"/>
                  </a:cubicBezTo>
                  <a:cubicBezTo>
                    <a:pt x="247" y="785"/>
                    <a:pt x="247" y="730"/>
                    <a:pt x="247" y="673"/>
                  </a:cubicBezTo>
                  <a:cubicBezTo>
                    <a:pt x="166" y="673"/>
                    <a:pt x="84" y="673"/>
                    <a:pt x="0" y="673"/>
                  </a:cubicBezTo>
                  <a:close/>
                </a:path>
              </a:pathLst>
            </a:custGeom>
            <a:solidFill>
              <a:srgbClr val="F1592A"/>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43" name="Rechthoek 18"/>
          <p:cNvSpPr/>
          <p:nvPr/>
        </p:nvSpPr>
        <p:spPr>
          <a:xfrm>
            <a:off x="2067152" y="1019263"/>
            <a:ext cx="428084" cy="1429973"/>
          </a:xfrm>
          <a:prstGeom prst="rect">
            <a:avLst/>
          </a:prstGeom>
          <a:solidFill>
            <a:srgbClr val="F1592A"/>
          </a:solidFill>
          <a:ln w="25400">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a:p>
        </p:txBody>
      </p:sp>
      <p:sp>
        <p:nvSpPr>
          <p:cNvPr id="244" name="Rechthoek 18"/>
          <p:cNvSpPr/>
          <p:nvPr/>
        </p:nvSpPr>
        <p:spPr>
          <a:xfrm>
            <a:off x="1523800" y="1019263"/>
            <a:ext cx="1903142" cy="1429973"/>
          </a:xfrm>
          <a:prstGeom prst="rect">
            <a:avLst/>
          </a:prstGeom>
          <a:noFill/>
          <a:ln w="25400">
            <a:solidFill>
              <a:srgbClr val="F1592A"/>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a:p>
        </p:txBody>
      </p:sp>
      <p:sp>
        <p:nvSpPr>
          <p:cNvPr id="246" name="TextBox 99"/>
          <p:cNvSpPr txBox="1"/>
          <p:nvPr/>
        </p:nvSpPr>
        <p:spPr>
          <a:xfrm>
            <a:off x="2484601" y="1072427"/>
            <a:ext cx="875294" cy="400099"/>
          </a:xfrm>
          <a:prstGeom prst="rect">
            <a:avLst/>
          </a:prstGeom>
          <a:noFill/>
        </p:spPr>
        <p:txBody>
          <a:bodyPr wrap="square" lIns="91430" tIns="45715" rIns="91430" bIns="45715" rtlCol="0">
            <a:spAutoFit/>
          </a:bodyPr>
          <a:lstStyle>
            <a:defPPr>
              <a:defRPr lang="nl-NL"/>
            </a:defPPr>
            <a:lvl1pPr>
              <a:lnSpc>
                <a:spcPts val="1200"/>
              </a:lnSpc>
              <a:defRPr sz="1200">
                <a:latin typeface="Calibri" pitchFamily="34" charset="0"/>
              </a:defRPr>
            </a:lvl1pPr>
          </a:lstStyle>
          <a:p>
            <a:r>
              <a:rPr lang="nl-NL" dirty="0"/>
              <a:t>Cooling </a:t>
            </a:r>
          </a:p>
          <a:p>
            <a:r>
              <a:rPr lang="nl-NL" dirty="0"/>
              <a:t>S</a:t>
            </a:r>
            <a:r>
              <a:rPr lang="nl-NL" dirty="0" smtClean="0"/>
              <a:t>ystems</a:t>
            </a:r>
            <a:endParaRPr lang="en-US" dirty="0"/>
          </a:p>
        </p:txBody>
      </p:sp>
      <p:sp>
        <p:nvSpPr>
          <p:cNvPr id="247" name="TextBox 79"/>
          <p:cNvSpPr txBox="1"/>
          <p:nvPr/>
        </p:nvSpPr>
        <p:spPr>
          <a:xfrm>
            <a:off x="2484602" y="1982112"/>
            <a:ext cx="893437" cy="400099"/>
          </a:xfrm>
          <a:prstGeom prst="rect">
            <a:avLst/>
          </a:prstGeom>
          <a:noFill/>
        </p:spPr>
        <p:txBody>
          <a:bodyPr wrap="square" lIns="91430" tIns="45715" rIns="91430" bIns="45715" rtlCol="0">
            <a:spAutoFit/>
          </a:bodyPr>
          <a:lstStyle>
            <a:defPPr>
              <a:defRPr lang="nl-NL"/>
            </a:defPPr>
            <a:lvl1pPr>
              <a:lnSpc>
                <a:spcPts val="1200"/>
              </a:lnSpc>
              <a:defRPr sz="1200">
                <a:latin typeface="Calibri" pitchFamily="34" charset="0"/>
              </a:defRPr>
            </a:lvl1pPr>
          </a:lstStyle>
          <a:p>
            <a:r>
              <a:rPr lang="nl-NL" dirty="0"/>
              <a:t>Production </a:t>
            </a:r>
            <a:r>
              <a:rPr lang="nl-NL" dirty="0" smtClean="0"/>
              <a:t>Process</a:t>
            </a:r>
            <a:endParaRPr lang="nl-NL" dirty="0"/>
          </a:p>
        </p:txBody>
      </p:sp>
      <p:sp>
        <p:nvSpPr>
          <p:cNvPr id="248" name="TextBox 100"/>
          <p:cNvSpPr txBox="1"/>
          <p:nvPr/>
        </p:nvSpPr>
        <p:spPr>
          <a:xfrm>
            <a:off x="2484602" y="1511320"/>
            <a:ext cx="969339" cy="400099"/>
          </a:xfrm>
          <a:prstGeom prst="rect">
            <a:avLst/>
          </a:prstGeom>
          <a:noFill/>
        </p:spPr>
        <p:txBody>
          <a:bodyPr wrap="square" lIns="91430" tIns="45715" rIns="91430" bIns="45715" rtlCol="0">
            <a:spAutoFit/>
          </a:bodyPr>
          <a:lstStyle/>
          <a:p>
            <a:pPr>
              <a:lnSpc>
                <a:spcPts val="1200"/>
              </a:lnSpc>
            </a:pPr>
            <a:r>
              <a:rPr lang="nl-NL" sz="1200" dirty="0">
                <a:latin typeface="Calibri" pitchFamily="34" charset="0"/>
              </a:rPr>
              <a:t>Emergency Generators</a:t>
            </a:r>
          </a:p>
        </p:txBody>
      </p:sp>
      <p:grpSp>
        <p:nvGrpSpPr>
          <p:cNvPr id="249" name="Group 20"/>
          <p:cNvGrpSpPr>
            <a:grpSpLocks noChangeAspect="1"/>
          </p:cNvGrpSpPr>
          <p:nvPr/>
        </p:nvGrpSpPr>
        <p:grpSpPr bwMode="auto">
          <a:xfrm>
            <a:off x="2131204" y="1604900"/>
            <a:ext cx="344982" cy="226143"/>
            <a:chOff x="1014" y="789"/>
            <a:chExt cx="3739" cy="2451"/>
          </a:xfrm>
          <a:solidFill>
            <a:schemeClr val="bg1"/>
          </a:solidFill>
        </p:grpSpPr>
        <p:sp>
          <p:nvSpPr>
            <p:cNvPr id="265" name="Freeform 21"/>
            <p:cNvSpPr>
              <a:spLocks noEditPoints="1"/>
            </p:cNvSpPr>
            <p:nvPr/>
          </p:nvSpPr>
          <p:spPr bwMode="auto">
            <a:xfrm>
              <a:off x="1014" y="789"/>
              <a:ext cx="2713" cy="2451"/>
            </a:xfrm>
            <a:custGeom>
              <a:avLst/>
              <a:gdLst>
                <a:gd name="T0" fmla="*/ 1541 w 1638"/>
                <a:gd name="T1" fmla="*/ 1264 h 1480"/>
                <a:gd name="T2" fmla="*/ 1534 w 1638"/>
                <a:gd name="T3" fmla="*/ 1477 h 1480"/>
                <a:gd name="T4" fmla="*/ 1331 w 1638"/>
                <a:gd name="T5" fmla="*/ 1479 h 1480"/>
                <a:gd name="T6" fmla="*/ 1226 w 1638"/>
                <a:gd name="T7" fmla="*/ 1379 h 1480"/>
                <a:gd name="T8" fmla="*/ 663 w 1638"/>
                <a:gd name="T9" fmla="*/ 1335 h 1480"/>
                <a:gd name="T10" fmla="*/ 628 w 1638"/>
                <a:gd name="T11" fmla="*/ 1420 h 1480"/>
                <a:gd name="T12" fmla="*/ 350 w 1638"/>
                <a:gd name="T13" fmla="*/ 1479 h 1480"/>
                <a:gd name="T14" fmla="*/ 260 w 1638"/>
                <a:gd name="T15" fmla="*/ 1341 h 1480"/>
                <a:gd name="T16" fmla="*/ 41 w 1638"/>
                <a:gd name="T17" fmla="*/ 1142 h 1480"/>
                <a:gd name="T18" fmla="*/ 271 w 1638"/>
                <a:gd name="T19" fmla="*/ 1117 h 1480"/>
                <a:gd name="T20" fmla="*/ 334 w 1638"/>
                <a:gd name="T21" fmla="*/ 1070 h 1480"/>
                <a:gd name="T22" fmla="*/ 258 w 1638"/>
                <a:gd name="T23" fmla="*/ 1023 h 1480"/>
                <a:gd name="T24" fmla="*/ 2 w 1638"/>
                <a:gd name="T25" fmla="*/ 1000 h 1480"/>
                <a:gd name="T26" fmla="*/ 24 w 1638"/>
                <a:gd name="T27" fmla="*/ 924 h 1480"/>
                <a:gd name="T28" fmla="*/ 311 w 1638"/>
                <a:gd name="T29" fmla="*/ 920 h 1480"/>
                <a:gd name="T30" fmla="*/ 310 w 1638"/>
                <a:gd name="T31" fmla="*/ 860 h 1480"/>
                <a:gd name="T32" fmla="*/ 27 w 1638"/>
                <a:gd name="T33" fmla="*/ 856 h 1480"/>
                <a:gd name="T34" fmla="*/ 1 w 1638"/>
                <a:gd name="T35" fmla="*/ 778 h 1480"/>
                <a:gd name="T36" fmla="*/ 271 w 1638"/>
                <a:gd name="T37" fmla="*/ 757 h 1480"/>
                <a:gd name="T38" fmla="*/ 272 w 1638"/>
                <a:gd name="T39" fmla="*/ 663 h 1480"/>
                <a:gd name="T40" fmla="*/ 1 w 1638"/>
                <a:gd name="T41" fmla="*/ 639 h 1480"/>
                <a:gd name="T42" fmla="*/ 22 w 1638"/>
                <a:gd name="T43" fmla="*/ 540 h 1480"/>
                <a:gd name="T44" fmla="*/ 282 w 1638"/>
                <a:gd name="T45" fmla="*/ 541 h 1480"/>
                <a:gd name="T46" fmla="*/ 283 w 1638"/>
                <a:gd name="T47" fmla="*/ 448 h 1480"/>
                <a:gd name="T48" fmla="*/ 23 w 1638"/>
                <a:gd name="T49" fmla="*/ 448 h 1480"/>
                <a:gd name="T50" fmla="*/ 1 w 1638"/>
                <a:gd name="T51" fmla="*/ 370 h 1480"/>
                <a:gd name="T52" fmla="*/ 277 w 1638"/>
                <a:gd name="T53" fmla="*/ 349 h 1480"/>
                <a:gd name="T54" fmla="*/ 334 w 1638"/>
                <a:gd name="T55" fmla="*/ 315 h 1480"/>
                <a:gd name="T56" fmla="*/ 277 w 1638"/>
                <a:gd name="T57" fmla="*/ 279 h 1480"/>
                <a:gd name="T58" fmla="*/ 15 w 1638"/>
                <a:gd name="T59" fmla="*/ 257 h 1480"/>
                <a:gd name="T60" fmla="*/ 473 w 1638"/>
                <a:gd name="T61" fmla="*/ 17 h 1480"/>
                <a:gd name="T62" fmla="*/ 585 w 1638"/>
                <a:gd name="T63" fmla="*/ 61 h 1480"/>
                <a:gd name="T64" fmla="*/ 1630 w 1638"/>
                <a:gd name="T65" fmla="*/ 344 h 1480"/>
                <a:gd name="T66" fmla="*/ 1635 w 1638"/>
                <a:gd name="T67" fmla="*/ 987 h 1480"/>
                <a:gd name="T68" fmla="*/ 1492 w 1638"/>
                <a:gd name="T69" fmla="*/ 1260 h 1480"/>
                <a:gd name="T70" fmla="*/ 994 w 1638"/>
                <a:gd name="T71" fmla="*/ 1223 h 1480"/>
                <a:gd name="T72" fmla="*/ 992 w 1638"/>
                <a:gd name="T73" fmla="*/ 192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38" h="1480">
                  <a:moveTo>
                    <a:pt x="1492" y="1260"/>
                  </a:moveTo>
                  <a:cubicBezTo>
                    <a:pt x="1510" y="1262"/>
                    <a:pt x="1526" y="1260"/>
                    <a:pt x="1541" y="1264"/>
                  </a:cubicBezTo>
                  <a:cubicBezTo>
                    <a:pt x="1584" y="1274"/>
                    <a:pt x="1608" y="1297"/>
                    <a:pt x="1613" y="1341"/>
                  </a:cubicBezTo>
                  <a:cubicBezTo>
                    <a:pt x="1621" y="1405"/>
                    <a:pt x="1600" y="1459"/>
                    <a:pt x="1534" y="1477"/>
                  </a:cubicBezTo>
                  <a:cubicBezTo>
                    <a:pt x="1525" y="1479"/>
                    <a:pt x="1515" y="1479"/>
                    <a:pt x="1505" y="1479"/>
                  </a:cubicBezTo>
                  <a:cubicBezTo>
                    <a:pt x="1447" y="1480"/>
                    <a:pt x="1389" y="1479"/>
                    <a:pt x="1331" y="1479"/>
                  </a:cubicBezTo>
                  <a:cubicBezTo>
                    <a:pt x="1264" y="1479"/>
                    <a:pt x="1240" y="1459"/>
                    <a:pt x="1228" y="1393"/>
                  </a:cubicBezTo>
                  <a:cubicBezTo>
                    <a:pt x="1227" y="1389"/>
                    <a:pt x="1227" y="1384"/>
                    <a:pt x="1226" y="1379"/>
                  </a:cubicBezTo>
                  <a:cubicBezTo>
                    <a:pt x="1223" y="1335"/>
                    <a:pt x="1223" y="1335"/>
                    <a:pt x="1179" y="1335"/>
                  </a:cubicBezTo>
                  <a:cubicBezTo>
                    <a:pt x="1007" y="1335"/>
                    <a:pt x="835" y="1336"/>
                    <a:pt x="663" y="1335"/>
                  </a:cubicBezTo>
                  <a:cubicBezTo>
                    <a:pt x="645" y="1335"/>
                    <a:pt x="635" y="1336"/>
                    <a:pt x="638" y="1359"/>
                  </a:cubicBezTo>
                  <a:cubicBezTo>
                    <a:pt x="641" y="1379"/>
                    <a:pt x="635" y="1400"/>
                    <a:pt x="628" y="1420"/>
                  </a:cubicBezTo>
                  <a:cubicBezTo>
                    <a:pt x="612" y="1458"/>
                    <a:pt x="583" y="1479"/>
                    <a:pt x="542" y="1479"/>
                  </a:cubicBezTo>
                  <a:cubicBezTo>
                    <a:pt x="478" y="1480"/>
                    <a:pt x="414" y="1480"/>
                    <a:pt x="350" y="1479"/>
                  </a:cubicBezTo>
                  <a:cubicBezTo>
                    <a:pt x="307" y="1479"/>
                    <a:pt x="283" y="1460"/>
                    <a:pt x="271" y="1420"/>
                  </a:cubicBezTo>
                  <a:cubicBezTo>
                    <a:pt x="263" y="1394"/>
                    <a:pt x="261" y="1367"/>
                    <a:pt x="260" y="1341"/>
                  </a:cubicBezTo>
                  <a:cubicBezTo>
                    <a:pt x="260" y="1324"/>
                    <a:pt x="252" y="1317"/>
                    <a:pt x="237" y="1311"/>
                  </a:cubicBezTo>
                  <a:cubicBezTo>
                    <a:pt x="149" y="1282"/>
                    <a:pt x="84" y="1224"/>
                    <a:pt x="41" y="1142"/>
                  </a:cubicBezTo>
                  <a:cubicBezTo>
                    <a:pt x="28" y="1118"/>
                    <a:pt x="29" y="1117"/>
                    <a:pt x="55" y="1117"/>
                  </a:cubicBezTo>
                  <a:cubicBezTo>
                    <a:pt x="127" y="1117"/>
                    <a:pt x="199" y="1117"/>
                    <a:pt x="271" y="1117"/>
                  </a:cubicBezTo>
                  <a:cubicBezTo>
                    <a:pt x="278" y="1117"/>
                    <a:pt x="285" y="1117"/>
                    <a:pt x="291" y="1116"/>
                  </a:cubicBezTo>
                  <a:cubicBezTo>
                    <a:pt x="315" y="1113"/>
                    <a:pt x="334" y="1093"/>
                    <a:pt x="334" y="1070"/>
                  </a:cubicBezTo>
                  <a:cubicBezTo>
                    <a:pt x="334" y="1047"/>
                    <a:pt x="315" y="1027"/>
                    <a:pt x="290" y="1024"/>
                  </a:cubicBezTo>
                  <a:cubicBezTo>
                    <a:pt x="280" y="1023"/>
                    <a:pt x="269" y="1023"/>
                    <a:pt x="258" y="1023"/>
                  </a:cubicBezTo>
                  <a:cubicBezTo>
                    <a:pt x="181" y="1023"/>
                    <a:pt x="103" y="1023"/>
                    <a:pt x="26" y="1024"/>
                  </a:cubicBezTo>
                  <a:cubicBezTo>
                    <a:pt x="8" y="1024"/>
                    <a:pt x="1" y="1018"/>
                    <a:pt x="2" y="1000"/>
                  </a:cubicBezTo>
                  <a:cubicBezTo>
                    <a:pt x="3" y="982"/>
                    <a:pt x="3" y="964"/>
                    <a:pt x="1" y="946"/>
                  </a:cubicBezTo>
                  <a:cubicBezTo>
                    <a:pt x="0" y="929"/>
                    <a:pt x="8" y="924"/>
                    <a:pt x="24" y="924"/>
                  </a:cubicBezTo>
                  <a:cubicBezTo>
                    <a:pt x="108" y="925"/>
                    <a:pt x="193" y="925"/>
                    <a:pt x="278" y="925"/>
                  </a:cubicBezTo>
                  <a:cubicBezTo>
                    <a:pt x="289" y="925"/>
                    <a:pt x="300" y="924"/>
                    <a:pt x="311" y="920"/>
                  </a:cubicBezTo>
                  <a:cubicBezTo>
                    <a:pt x="325" y="915"/>
                    <a:pt x="334" y="906"/>
                    <a:pt x="334" y="891"/>
                  </a:cubicBezTo>
                  <a:cubicBezTo>
                    <a:pt x="334" y="874"/>
                    <a:pt x="325" y="865"/>
                    <a:pt x="310" y="860"/>
                  </a:cubicBezTo>
                  <a:cubicBezTo>
                    <a:pt x="300" y="856"/>
                    <a:pt x="288" y="855"/>
                    <a:pt x="277" y="855"/>
                  </a:cubicBezTo>
                  <a:cubicBezTo>
                    <a:pt x="194" y="855"/>
                    <a:pt x="110" y="855"/>
                    <a:pt x="27" y="856"/>
                  </a:cubicBezTo>
                  <a:cubicBezTo>
                    <a:pt x="7" y="856"/>
                    <a:pt x="0" y="850"/>
                    <a:pt x="1" y="830"/>
                  </a:cubicBezTo>
                  <a:cubicBezTo>
                    <a:pt x="3" y="813"/>
                    <a:pt x="2" y="795"/>
                    <a:pt x="1" y="778"/>
                  </a:cubicBezTo>
                  <a:cubicBezTo>
                    <a:pt x="0" y="761"/>
                    <a:pt x="7" y="756"/>
                    <a:pt x="23" y="756"/>
                  </a:cubicBezTo>
                  <a:cubicBezTo>
                    <a:pt x="106" y="757"/>
                    <a:pt x="189" y="757"/>
                    <a:pt x="271" y="757"/>
                  </a:cubicBezTo>
                  <a:cubicBezTo>
                    <a:pt x="311" y="757"/>
                    <a:pt x="334" y="740"/>
                    <a:pt x="334" y="710"/>
                  </a:cubicBezTo>
                  <a:cubicBezTo>
                    <a:pt x="334" y="681"/>
                    <a:pt x="311" y="663"/>
                    <a:pt x="272" y="663"/>
                  </a:cubicBezTo>
                  <a:cubicBezTo>
                    <a:pt x="190" y="663"/>
                    <a:pt x="108" y="663"/>
                    <a:pt x="26" y="664"/>
                  </a:cubicBezTo>
                  <a:cubicBezTo>
                    <a:pt x="7" y="664"/>
                    <a:pt x="0" y="658"/>
                    <a:pt x="1" y="639"/>
                  </a:cubicBezTo>
                  <a:cubicBezTo>
                    <a:pt x="3" y="613"/>
                    <a:pt x="2" y="587"/>
                    <a:pt x="1" y="561"/>
                  </a:cubicBezTo>
                  <a:cubicBezTo>
                    <a:pt x="1" y="545"/>
                    <a:pt x="7" y="540"/>
                    <a:pt x="22" y="540"/>
                  </a:cubicBezTo>
                  <a:cubicBezTo>
                    <a:pt x="102" y="541"/>
                    <a:pt x="182" y="541"/>
                    <a:pt x="262" y="541"/>
                  </a:cubicBezTo>
                  <a:cubicBezTo>
                    <a:pt x="269" y="541"/>
                    <a:pt x="276" y="541"/>
                    <a:pt x="282" y="541"/>
                  </a:cubicBezTo>
                  <a:cubicBezTo>
                    <a:pt x="313" y="540"/>
                    <a:pt x="334" y="520"/>
                    <a:pt x="334" y="493"/>
                  </a:cubicBezTo>
                  <a:cubicBezTo>
                    <a:pt x="333" y="468"/>
                    <a:pt x="312" y="448"/>
                    <a:pt x="283" y="448"/>
                  </a:cubicBezTo>
                  <a:cubicBezTo>
                    <a:pt x="260" y="447"/>
                    <a:pt x="238" y="447"/>
                    <a:pt x="215" y="447"/>
                  </a:cubicBezTo>
                  <a:cubicBezTo>
                    <a:pt x="151" y="447"/>
                    <a:pt x="87" y="447"/>
                    <a:pt x="23" y="448"/>
                  </a:cubicBezTo>
                  <a:cubicBezTo>
                    <a:pt x="6" y="448"/>
                    <a:pt x="0" y="442"/>
                    <a:pt x="1" y="426"/>
                  </a:cubicBezTo>
                  <a:cubicBezTo>
                    <a:pt x="2" y="407"/>
                    <a:pt x="2" y="388"/>
                    <a:pt x="1" y="370"/>
                  </a:cubicBezTo>
                  <a:cubicBezTo>
                    <a:pt x="0" y="353"/>
                    <a:pt x="7" y="348"/>
                    <a:pt x="23" y="348"/>
                  </a:cubicBezTo>
                  <a:cubicBezTo>
                    <a:pt x="108" y="349"/>
                    <a:pt x="193" y="349"/>
                    <a:pt x="277" y="349"/>
                  </a:cubicBezTo>
                  <a:cubicBezTo>
                    <a:pt x="288" y="349"/>
                    <a:pt x="299" y="348"/>
                    <a:pt x="309" y="345"/>
                  </a:cubicBezTo>
                  <a:cubicBezTo>
                    <a:pt x="324" y="341"/>
                    <a:pt x="333" y="331"/>
                    <a:pt x="334" y="315"/>
                  </a:cubicBezTo>
                  <a:cubicBezTo>
                    <a:pt x="334" y="298"/>
                    <a:pt x="325" y="288"/>
                    <a:pt x="309" y="283"/>
                  </a:cubicBezTo>
                  <a:cubicBezTo>
                    <a:pt x="299" y="280"/>
                    <a:pt x="288" y="279"/>
                    <a:pt x="277" y="279"/>
                  </a:cubicBezTo>
                  <a:cubicBezTo>
                    <a:pt x="196" y="279"/>
                    <a:pt x="115" y="279"/>
                    <a:pt x="33" y="279"/>
                  </a:cubicBezTo>
                  <a:cubicBezTo>
                    <a:pt x="11" y="279"/>
                    <a:pt x="10" y="278"/>
                    <a:pt x="15" y="257"/>
                  </a:cubicBezTo>
                  <a:cubicBezTo>
                    <a:pt x="51" y="109"/>
                    <a:pt x="186" y="2"/>
                    <a:pt x="339" y="1"/>
                  </a:cubicBezTo>
                  <a:cubicBezTo>
                    <a:pt x="384" y="0"/>
                    <a:pt x="429" y="2"/>
                    <a:pt x="473" y="17"/>
                  </a:cubicBezTo>
                  <a:cubicBezTo>
                    <a:pt x="491" y="23"/>
                    <a:pt x="510" y="30"/>
                    <a:pt x="525" y="43"/>
                  </a:cubicBezTo>
                  <a:cubicBezTo>
                    <a:pt x="543" y="58"/>
                    <a:pt x="563" y="61"/>
                    <a:pt x="585" y="61"/>
                  </a:cubicBezTo>
                  <a:cubicBezTo>
                    <a:pt x="817" y="60"/>
                    <a:pt x="1049" y="60"/>
                    <a:pt x="1281" y="61"/>
                  </a:cubicBezTo>
                  <a:cubicBezTo>
                    <a:pt x="1455" y="61"/>
                    <a:pt x="1594" y="174"/>
                    <a:pt x="1630" y="344"/>
                  </a:cubicBezTo>
                  <a:cubicBezTo>
                    <a:pt x="1634" y="362"/>
                    <a:pt x="1636" y="379"/>
                    <a:pt x="1636" y="397"/>
                  </a:cubicBezTo>
                  <a:cubicBezTo>
                    <a:pt x="1636" y="594"/>
                    <a:pt x="1638" y="791"/>
                    <a:pt x="1635" y="987"/>
                  </a:cubicBezTo>
                  <a:cubicBezTo>
                    <a:pt x="1634" y="1080"/>
                    <a:pt x="1601" y="1163"/>
                    <a:pt x="1532" y="1229"/>
                  </a:cubicBezTo>
                  <a:cubicBezTo>
                    <a:pt x="1520" y="1239"/>
                    <a:pt x="1507" y="1248"/>
                    <a:pt x="1492" y="1260"/>
                  </a:cubicBezTo>
                  <a:close/>
                  <a:moveTo>
                    <a:pt x="479" y="708"/>
                  </a:moveTo>
                  <a:cubicBezTo>
                    <a:pt x="475" y="973"/>
                    <a:pt x="689" y="1223"/>
                    <a:pt x="994" y="1223"/>
                  </a:cubicBezTo>
                  <a:cubicBezTo>
                    <a:pt x="1296" y="1224"/>
                    <a:pt x="1511" y="977"/>
                    <a:pt x="1510" y="707"/>
                  </a:cubicBezTo>
                  <a:cubicBezTo>
                    <a:pt x="1509" y="422"/>
                    <a:pt x="1278" y="190"/>
                    <a:pt x="992" y="192"/>
                  </a:cubicBezTo>
                  <a:cubicBezTo>
                    <a:pt x="694" y="193"/>
                    <a:pt x="474" y="440"/>
                    <a:pt x="479" y="7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22"/>
            <p:cNvSpPr>
              <a:spLocks/>
            </p:cNvSpPr>
            <p:nvPr/>
          </p:nvSpPr>
          <p:spPr bwMode="auto">
            <a:xfrm>
              <a:off x="3992" y="1509"/>
              <a:ext cx="761" cy="1304"/>
            </a:xfrm>
            <a:custGeom>
              <a:avLst/>
              <a:gdLst>
                <a:gd name="T0" fmla="*/ 13 w 459"/>
                <a:gd name="T1" fmla="*/ 784 h 787"/>
                <a:gd name="T2" fmla="*/ 50 w 459"/>
                <a:gd name="T3" fmla="*/ 705 h 787"/>
                <a:gd name="T4" fmla="*/ 177 w 459"/>
                <a:gd name="T5" fmla="*/ 433 h 787"/>
                <a:gd name="T6" fmla="*/ 155 w 459"/>
                <a:gd name="T7" fmla="*/ 400 h 787"/>
                <a:gd name="T8" fmla="*/ 43 w 459"/>
                <a:gd name="T9" fmla="*/ 400 h 787"/>
                <a:gd name="T10" fmla="*/ 14 w 459"/>
                <a:gd name="T11" fmla="*/ 355 h 787"/>
                <a:gd name="T12" fmla="*/ 154 w 459"/>
                <a:gd name="T13" fmla="*/ 55 h 787"/>
                <a:gd name="T14" fmla="*/ 178 w 459"/>
                <a:gd name="T15" fmla="*/ 34 h 787"/>
                <a:gd name="T16" fmla="*/ 319 w 459"/>
                <a:gd name="T17" fmla="*/ 6 h 787"/>
                <a:gd name="T18" fmla="*/ 336 w 459"/>
                <a:gd name="T19" fmla="*/ 5 h 787"/>
                <a:gd name="T20" fmla="*/ 332 w 459"/>
                <a:gd name="T21" fmla="*/ 22 h 787"/>
                <a:gd name="T22" fmla="*/ 245 w 459"/>
                <a:gd name="T23" fmla="*/ 200 h 787"/>
                <a:gd name="T24" fmla="*/ 238 w 459"/>
                <a:gd name="T25" fmla="*/ 214 h 787"/>
                <a:gd name="T26" fmla="*/ 257 w 459"/>
                <a:gd name="T27" fmla="*/ 243 h 787"/>
                <a:gd name="T28" fmla="*/ 404 w 459"/>
                <a:gd name="T29" fmla="*/ 243 h 787"/>
                <a:gd name="T30" fmla="*/ 424 w 459"/>
                <a:gd name="T31" fmla="*/ 243 h 787"/>
                <a:gd name="T32" fmla="*/ 454 w 459"/>
                <a:gd name="T33" fmla="*/ 256 h 787"/>
                <a:gd name="T34" fmla="*/ 443 w 459"/>
                <a:gd name="T35" fmla="*/ 284 h 787"/>
                <a:gd name="T36" fmla="*/ 322 w 459"/>
                <a:gd name="T37" fmla="*/ 428 h 787"/>
                <a:gd name="T38" fmla="*/ 32 w 459"/>
                <a:gd name="T39" fmla="*/ 771 h 787"/>
                <a:gd name="T40" fmla="*/ 17 w 459"/>
                <a:gd name="T41" fmla="*/ 787 h 787"/>
                <a:gd name="T42" fmla="*/ 13 w 459"/>
                <a:gd name="T43" fmla="*/ 784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9" h="787">
                  <a:moveTo>
                    <a:pt x="13" y="784"/>
                  </a:moveTo>
                  <a:cubicBezTo>
                    <a:pt x="25" y="758"/>
                    <a:pt x="38" y="731"/>
                    <a:pt x="50" y="705"/>
                  </a:cubicBezTo>
                  <a:cubicBezTo>
                    <a:pt x="92" y="614"/>
                    <a:pt x="135" y="524"/>
                    <a:pt x="177" y="433"/>
                  </a:cubicBezTo>
                  <a:cubicBezTo>
                    <a:pt x="190" y="405"/>
                    <a:pt x="187" y="400"/>
                    <a:pt x="155" y="400"/>
                  </a:cubicBezTo>
                  <a:cubicBezTo>
                    <a:pt x="118" y="400"/>
                    <a:pt x="80" y="400"/>
                    <a:pt x="43" y="400"/>
                  </a:cubicBezTo>
                  <a:cubicBezTo>
                    <a:pt x="10" y="399"/>
                    <a:pt x="0" y="384"/>
                    <a:pt x="14" y="355"/>
                  </a:cubicBezTo>
                  <a:cubicBezTo>
                    <a:pt x="60" y="255"/>
                    <a:pt x="107" y="155"/>
                    <a:pt x="154" y="55"/>
                  </a:cubicBezTo>
                  <a:cubicBezTo>
                    <a:pt x="159" y="43"/>
                    <a:pt x="166" y="36"/>
                    <a:pt x="178" y="34"/>
                  </a:cubicBezTo>
                  <a:cubicBezTo>
                    <a:pt x="226" y="25"/>
                    <a:pt x="272" y="15"/>
                    <a:pt x="319" y="6"/>
                  </a:cubicBezTo>
                  <a:cubicBezTo>
                    <a:pt x="325" y="5"/>
                    <a:pt x="332" y="0"/>
                    <a:pt x="336" y="5"/>
                  </a:cubicBezTo>
                  <a:cubicBezTo>
                    <a:pt x="340" y="11"/>
                    <a:pt x="335" y="17"/>
                    <a:pt x="332" y="22"/>
                  </a:cubicBezTo>
                  <a:cubicBezTo>
                    <a:pt x="303" y="81"/>
                    <a:pt x="274" y="140"/>
                    <a:pt x="245" y="200"/>
                  </a:cubicBezTo>
                  <a:cubicBezTo>
                    <a:pt x="243" y="204"/>
                    <a:pt x="241" y="209"/>
                    <a:pt x="238" y="214"/>
                  </a:cubicBezTo>
                  <a:cubicBezTo>
                    <a:pt x="230" y="235"/>
                    <a:pt x="234" y="243"/>
                    <a:pt x="257" y="243"/>
                  </a:cubicBezTo>
                  <a:cubicBezTo>
                    <a:pt x="306" y="243"/>
                    <a:pt x="355" y="243"/>
                    <a:pt x="404" y="243"/>
                  </a:cubicBezTo>
                  <a:cubicBezTo>
                    <a:pt x="411" y="243"/>
                    <a:pt x="418" y="242"/>
                    <a:pt x="424" y="243"/>
                  </a:cubicBezTo>
                  <a:cubicBezTo>
                    <a:pt x="435" y="245"/>
                    <a:pt x="449" y="243"/>
                    <a:pt x="454" y="256"/>
                  </a:cubicBezTo>
                  <a:cubicBezTo>
                    <a:pt x="459" y="267"/>
                    <a:pt x="450" y="276"/>
                    <a:pt x="443" y="284"/>
                  </a:cubicBezTo>
                  <a:cubicBezTo>
                    <a:pt x="403" y="332"/>
                    <a:pt x="363" y="380"/>
                    <a:pt x="322" y="428"/>
                  </a:cubicBezTo>
                  <a:cubicBezTo>
                    <a:pt x="225" y="542"/>
                    <a:pt x="129" y="657"/>
                    <a:pt x="32" y="771"/>
                  </a:cubicBezTo>
                  <a:cubicBezTo>
                    <a:pt x="27" y="776"/>
                    <a:pt x="22" y="782"/>
                    <a:pt x="17" y="787"/>
                  </a:cubicBezTo>
                  <a:cubicBezTo>
                    <a:pt x="16" y="786"/>
                    <a:pt x="15" y="785"/>
                    <a:pt x="13" y="7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4"/>
            <p:cNvSpPr>
              <a:spLocks noEditPoints="1"/>
            </p:cNvSpPr>
            <p:nvPr/>
          </p:nvSpPr>
          <p:spPr bwMode="auto">
            <a:xfrm>
              <a:off x="1902" y="1201"/>
              <a:ext cx="1517" cy="1524"/>
            </a:xfrm>
            <a:custGeom>
              <a:avLst/>
              <a:gdLst>
                <a:gd name="T0" fmla="*/ 458 w 916"/>
                <a:gd name="T1" fmla="*/ 4 h 920"/>
                <a:gd name="T2" fmla="*/ 916 w 916"/>
                <a:gd name="T3" fmla="*/ 460 h 920"/>
                <a:gd name="T4" fmla="*/ 457 w 916"/>
                <a:gd name="T5" fmla="*/ 919 h 920"/>
                <a:gd name="T6" fmla="*/ 0 w 916"/>
                <a:gd name="T7" fmla="*/ 461 h 920"/>
                <a:gd name="T8" fmla="*/ 458 w 916"/>
                <a:gd name="T9" fmla="*/ 4 h 920"/>
                <a:gd name="T10" fmla="*/ 827 w 916"/>
                <a:gd name="T11" fmla="*/ 462 h 920"/>
                <a:gd name="T12" fmla="*/ 458 w 916"/>
                <a:gd name="T13" fmla="*/ 91 h 920"/>
                <a:gd name="T14" fmla="*/ 89 w 916"/>
                <a:gd name="T15" fmla="*/ 458 h 920"/>
                <a:gd name="T16" fmla="*/ 458 w 916"/>
                <a:gd name="T17" fmla="*/ 831 h 920"/>
                <a:gd name="T18" fmla="*/ 827 w 916"/>
                <a:gd name="T19" fmla="*/ 46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6" h="920">
                  <a:moveTo>
                    <a:pt x="458" y="4"/>
                  </a:moveTo>
                  <a:cubicBezTo>
                    <a:pt x="712" y="4"/>
                    <a:pt x="916" y="207"/>
                    <a:pt x="916" y="460"/>
                  </a:cubicBezTo>
                  <a:cubicBezTo>
                    <a:pt x="916" y="715"/>
                    <a:pt x="712" y="917"/>
                    <a:pt x="457" y="919"/>
                  </a:cubicBezTo>
                  <a:cubicBezTo>
                    <a:pt x="223" y="920"/>
                    <a:pt x="0" y="732"/>
                    <a:pt x="0" y="461"/>
                  </a:cubicBezTo>
                  <a:cubicBezTo>
                    <a:pt x="0" y="188"/>
                    <a:pt x="225" y="0"/>
                    <a:pt x="458" y="4"/>
                  </a:cubicBezTo>
                  <a:close/>
                  <a:moveTo>
                    <a:pt x="827" y="462"/>
                  </a:moveTo>
                  <a:cubicBezTo>
                    <a:pt x="832" y="278"/>
                    <a:pt x="683" y="91"/>
                    <a:pt x="458" y="91"/>
                  </a:cubicBezTo>
                  <a:cubicBezTo>
                    <a:pt x="245" y="92"/>
                    <a:pt x="90" y="261"/>
                    <a:pt x="89" y="458"/>
                  </a:cubicBezTo>
                  <a:cubicBezTo>
                    <a:pt x="87" y="660"/>
                    <a:pt x="245" y="831"/>
                    <a:pt x="458" y="831"/>
                  </a:cubicBezTo>
                  <a:cubicBezTo>
                    <a:pt x="685" y="830"/>
                    <a:pt x="831" y="642"/>
                    <a:pt x="827" y="4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5"/>
            <p:cNvSpPr>
              <a:spLocks noEditPoints="1"/>
            </p:cNvSpPr>
            <p:nvPr/>
          </p:nvSpPr>
          <p:spPr bwMode="auto">
            <a:xfrm>
              <a:off x="2150" y="1454"/>
              <a:ext cx="1029" cy="1027"/>
            </a:xfrm>
            <a:custGeom>
              <a:avLst/>
              <a:gdLst>
                <a:gd name="T0" fmla="*/ 336 w 621"/>
                <a:gd name="T1" fmla="*/ 568 h 620"/>
                <a:gd name="T2" fmla="*/ 336 w 621"/>
                <a:gd name="T3" fmla="*/ 566 h 620"/>
                <a:gd name="T4" fmla="*/ 338 w 621"/>
                <a:gd name="T5" fmla="*/ 525 h 620"/>
                <a:gd name="T6" fmla="*/ 378 w 621"/>
                <a:gd name="T7" fmla="*/ 519 h 620"/>
                <a:gd name="T8" fmla="*/ 400 w 621"/>
                <a:gd name="T9" fmla="*/ 479 h 620"/>
                <a:gd name="T10" fmla="*/ 386 w 621"/>
                <a:gd name="T11" fmla="*/ 460 h 620"/>
                <a:gd name="T12" fmla="*/ 235 w 621"/>
                <a:gd name="T13" fmla="*/ 461 h 620"/>
                <a:gd name="T14" fmla="*/ 222 w 621"/>
                <a:gd name="T15" fmla="*/ 476 h 620"/>
                <a:gd name="T16" fmla="*/ 246 w 621"/>
                <a:gd name="T17" fmla="*/ 519 h 620"/>
                <a:gd name="T18" fmla="*/ 285 w 621"/>
                <a:gd name="T19" fmla="*/ 562 h 620"/>
                <a:gd name="T20" fmla="*/ 285 w 621"/>
                <a:gd name="T21" fmla="*/ 580 h 620"/>
                <a:gd name="T22" fmla="*/ 246 w 621"/>
                <a:gd name="T23" fmla="*/ 612 h 620"/>
                <a:gd name="T24" fmla="*/ 3 w 621"/>
                <a:gd name="T25" fmla="*/ 343 h 620"/>
                <a:gd name="T26" fmla="*/ 20 w 621"/>
                <a:gd name="T27" fmla="*/ 323 h 620"/>
                <a:gd name="T28" fmla="*/ 82 w 621"/>
                <a:gd name="T29" fmla="*/ 323 h 620"/>
                <a:gd name="T30" fmla="*/ 98 w 621"/>
                <a:gd name="T31" fmla="*/ 339 h 620"/>
                <a:gd name="T32" fmla="*/ 100 w 621"/>
                <a:gd name="T33" fmla="*/ 363 h 620"/>
                <a:gd name="T34" fmla="*/ 150 w 621"/>
                <a:gd name="T35" fmla="*/ 382 h 620"/>
                <a:gd name="T36" fmla="*/ 182 w 621"/>
                <a:gd name="T37" fmla="*/ 317 h 620"/>
                <a:gd name="T38" fmla="*/ 154 w 621"/>
                <a:gd name="T39" fmla="*/ 219 h 620"/>
                <a:gd name="T40" fmla="*/ 114 w 621"/>
                <a:gd name="T41" fmla="*/ 207 h 620"/>
                <a:gd name="T42" fmla="*/ 98 w 621"/>
                <a:gd name="T43" fmla="*/ 241 h 620"/>
                <a:gd name="T44" fmla="*/ 64 w 621"/>
                <a:gd name="T45" fmla="*/ 273 h 620"/>
                <a:gd name="T46" fmla="*/ 24 w 621"/>
                <a:gd name="T47" fmla="*/ 273 h 620"/>
                <a:gd name="T48" fmla="*/ 5 w 621"/>
                <a:gd name="T49" fmla="*/ 248 h 620"/>
                <a:gd name="T50" fmla="*/ 158 w 621"/>
                <a:gd name="T51" fmla="*/ 39 h 620"/>
                <a:gd name="T52" fmla="*/ 263 w 621"/>
                <a:gd name="T53" fmla="*/ 3 h 620"/>
                <a:gd name="T54" fmla="*/ 285 w 621"/>
                <a:gd name="T55" fmla="*/ 22 h 620"/>
                <a:gd name="T56" fmla="*/ 285 w 621"/>
                <a:gd name="T57" fmla="*/ 82 h 620"/>
                <a:gd name="T58" fmla="*/ 267 w 621"/>
                <a:gd name="T59" fmla="*/ 100 h 620"/>
                <a:gd name="T60" fmla="*/ 245 w 621"/>
                <a:gd name="T61" fmla="*/ 100 h 620"/>
                <a:gd name="T62" fmla="*/ 216 w 621"/>
                <a:gd name="T63" fmla="*/ 115 h 620"/>
                <a:gd name="T64" fmla="*/ 223 w 621"/>
                <a:gd name="T65" fmla="*/ 147 h 620"/>
                <a:gd name="T66" fmla="*/ 259 w 621"/>
                <a:gd name="T67" fmla="*/ 174 h 620"/>
                <a:gd name="T68" fmla="*/ 355 w 621"/>
                <a:gd name="T69" fmla="*/ 175 h 620"/>
                <a:gd name="T70" fmla="*/ 390 w 621"/>
                <a:gd name="T71" fmla="*/ 152 h 620"/>
                <a:gd name="T72" fmla="*/ 399 w 621"/>
                <a:gd name="T73" fmla="*/ 113 h 620"/>
                <a:gd name="T74" fmla="*/ 371 w 621"/>
                <a:gd name="T75" fmla="*/ 98 h 620"/>
                <a:gd name="T76" fmla="*/ 338 w 621"/>
                <a:gd name="T77" fmla="*/ 94 h 620"/>
                <a:gd name="T78" fmla="*/ 336 w 621"/>
                <a:gd name="T79" fmla="*/ 57 h 620"/>
                <a:gd name="T80" fmla="*/ 336 w 621"/>
                <a:gd name="T81" fmla="*/ 25 h 620"/>
                <a:gd name="T82" fmla="*/ 361 w 621"/>
                <a:gd name="T83" fmla="*/ 4 h 620"/>
                <a:gd name="T84" fmla="*/ 612 w 621"/>
                <a:gd name="T85" fmla="*/ 249 h 620"/>
                <a:gd name="T86" fmla="*/ 594 w 621"/>
                <a:gd name="T87" fmla="*/ 273 h 620"/>
                <a:gd name="T88" fmla="*/ 538 w 621"/>
                <a:gd name="T89" fmla="*/ 273 h 620"/>
                <a:gd name="T90" fmla="*/ 516 w 621"/>
                <a:gd name="T91" fmla="*/ 252 h 620"/>
                <a:gd name="T92" fmla="*/ 516 w 621"/>
                <a:gd name="T93" fmla="*/ 232 h 620"/>
                <a:gd name="T94" fmla="*/ 471 w 621"/>
                <a:gd name="T95" fmla="*/ 210 h 620"/>
                <a:gd name="T96" fmla="*/ 446 w 621"/>
                <a:gd name="T97" fmla="*/ 238 h 620"/>
                <a:gd name="T98" fmla="*/ 446 w 621"/>
                <a:gd name="T99" fmla="*/ 354 h 620"/>
                <a:gd name="T100" fmla="*/ 468 w 621"/>
                <a:gd name="T101" fmla="*/ 380 h 620"/>
                <a:gd name="T102" fmla="*/ 518 w 621"/>
                <a:gd name="T103" fmla="*/ 361 h 620"/>
                <a:gd name="T104" fmla="*/ 563 w 621"/>
                <a:gd name="T105" fmla="*/ 324 h 620"/>
                <a:gd name="T106" fmla="*/ 577 w 621"/>
                <a:gd name="T107" fmla="*/ 324 h 620"/>
                <a:gd name="T108" fmla="*/ 613 w 621"/>
                <a:gd name="T109" fmla="*/ 368 h 620"/>
                <a:gd name="T110" fmla="*/ 362 w 621"/>
                <a:gd name="T111" fmla="*/ 614 h 620"/>
                <a:gd name="T112" fmla="*/ 336 w 621"/>
                <a:gd name="T113" fmla="*/ 592 h 620"/>
                <a:gd name="T114" fmla="*/ 336 w 621"/>
                <a:gd name="T115" fmla="*/ 568 h 620"/>
                <a:gd name="T116" fmla="*/ 309 w 621"/>
                <a:gd name="T117" fmla="*/ 256 h 620"/>
                <a:gd name="T118" fmla="*/ 267 w 621"/>
                <a:gd name="T119" fmla="*/ 296 h 620"/>
                <a:gd name="T120" fmla="*/ 308 w 621"/>
                <a:gd name="T121" fmla="*/ 336 h 620"/>
                <a:gd name="T122" fmla="*/ 348 w 621"/>
                <a:gd name="T123" fmla="*/ 296 h 620"/>
                <a:gd name="T124" fmla="*/ 309 w 621"/>
                <a:gd name="T125"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1" h="620">
                  <a:moveTo>
                    <a:pt x="336" y="568"/>
                  </a:moveTo>
                  <a:cubicBezTo>
                    <a:pt x="336" y="568"/>
                    <a:pt x="336" y="567"/>
                    <a:pt x="336" y="566"/>
                  </a:cubicBezTo>
                  <a:cubicBezTo>
                    <a:pt x="336" y="552"/>
                    <a:pt x="331" y="536"/>
                    <a:pt x="338" y="525"/>
                  </a:cubicBezTo>
                  <a:cubicBezTo>
                    <a:pt x="347" y="512"/>
                    <a:pt x="364" y="521"/>
                    <a:pt x="378" y="519"/>
                  </a:cubicBezTo>
                  <a:cubicBezTo>
                    <a:pt x="401" y="515"/>
                    <a:pt x="410" y="500"/>
                    <a:pt x="400" y="479"/>
                  </a:cubicBezTo>
                  <a:cubicBezTo>
                    <a:pt x="397" y="471"/>
                    <a:pt x="392" y="465"/>
                    <a:pt x="386" y="460"/>
                  </a:cubicBezTo>
                  <a:cubicBezTo>
                    <a:pt x="349" y="427"/>
                    <a:pt x="271" y="428"/>
                    <a:pt x="235" y="461"/>
                  </a:cubicBezTo>
                  <a:cubicBezTo>
                    <a:pt x="230" y="465"/>
                    <a:pt x="226" y="470"/>
                    <a:pt x="222" y="476"/>
                  </a:cubicBezTo>
                  <a:cubicBezTo>
                    <a:pt x="210" y="499"/>
                    <a:pt x="220" y="517"/>
                    <a:pt x="246" y="519"/>
                  </a:cubicBezTo>
                  <a:cubicBezTo>
                    <a:pt x="285" y="522"/>
                    <a:pt x="285" y="522"/>
                    <a:pt x="285" y="562"/>
                  </a:cubicBezTo>
                  <a:cubicBezTo>
                    <a:pt x="285" y="568"/>
                    <a:pt x="285" y="574"/>
                    <a:pt x="285" y="580"/>
                  </a:cubicBezTo>
                  <a:cubicBezTo>
                    <a:pt x="285" y="620"/>
                    <a:pt x="285" y="620"/>
                    <a:pt x="246" y="612"/>
                  </a:cubicBezTo>
                  <a:cubicBezTo>
                    <a:pt x="115" y="584"/>
                    <a:pt x="16" y="474"/>
                    <a:pt x="3" y="343"/>
                  </a:cubicBezTo>
                  <a:cubicBezTo>
                    <a:pt x="1" y="329"/>
                    <a:pt x="4" y="322"/>
                    <a:pt x="20" y="323"/>
                  </a:cubicBezTo>
                  <a:cubicBezTo>
                    <a:pt x="41" y="323"/>
                    <a:pt x="61" y="323"/>
                    <a:pt x="82" y="323"/>
                  </a:cubicBezTo>
                  <a:cubicBezTo>
                    <a:pt x="94" y="323"/>
                    <a:pt x="99" y="328"/>
                    <a:pt x="98" y="339"/>
                  </a:cubicBezTo>
                  <a:cubicBezTo>
                    <a:pt x="98" y="347"/>
                    <a:pt x="99" y="355"/>
                    <a:pt x="100" y="363"/>
                  </a:cubicBezTo>
                  <a:cubicBezTo>
                    <a:pt x="105" y="393"/>
                    <a:pt x="126" y="401"/>
                    <a:pt x="150" y="382"/>
                  </a:cubicBezTo>
                  <a:cubicBezTo>
                    <a:pt x="171" y="365"/>
                    <a:pt x="179" y="342"/>
                    <a:pt x="182" y="317"/>
                  </a:cubicBezTo>
                  <a:cubicBezTo>
                    <a:pt x="187" y="281"/>
                    <a:pt x="181" y="247"/>
                    <a:pt x="154" y="219"/>
                  </a:cubicBezTo>
                  <a:cubicBezTo>
                    <a:pt x="143" y="208"/>
                    <a:pt x="130" y="201"/>
                    <a:pt x="114" y="207"/>
                  </a:cubicBezTo>
                  <a:cubicBezTo>
                    <a:pt x="100" y="213"/>
                    <a:pt x="98" y="227"/>
                    <a:pt x="98" y="241"/>
                  </a:cubicBezTo>
                  <a:cubicBezTo>
                    <a:pt x="98" y="270"/>
                    <a:pt x="104" y="273"/>
                    <a:pt x="64" y="273"/>
                  </a:cubicBezTo>
                  <a:cubicBezTo>
                    <a:pt x="51" y="272"/>
                    <a:pt x="38" y="273"/>
                    <a:pt x="24" y="273"/>
                  </a:cubicBezTo>
                  <a:cubicBezTo>
                    <a:pt x="2" y="272"/>
                    <a:pt x="0" y="270"/>
                    <a:pt x="5" y="248"/>
                  </a:cubicBezTo>
                  <a:cubicBezTo>
                    <a:pt x="25" y="156"/>
                    <a:pt x="75" y="85"/>
                    <a:pt x="158" y="39"/>
                  </a:cubicBezTo>
                  <a:cubicBezTo>
                    <a:pt x="191" y="20"/>
                    <a:pt x="226" y="9"/>
                    <a:pt x="263" y="3"/>
                  </a:cubicBezTo>
                  <a:cubicBezTo>
                    <a:pt x="279" y="1"/>
                    <a:pt x="286" y="5"/>
                    <a:pt x="285" y="22"/>
                  </a:cubicBezTo>
                  <a:cubicBezTo>
                    <a:pt x="284" y="42"/>
                    <a:pt x="285" y="62"/>
                    <a:pt x="285" y="82"/>
                  </a:cubicBezTo>
                  <a:cubicBezTo>
                    <a:pt x="285" y="94"/>
                    <a:pt x="279" y="100"/>
                    <a:pt x="267" y="100"/>
                  </a:cubicBezTo>
                  <a:cubicBezTo>
                    <a:pt x="259" y="100"/>
                    <a:pt x="252" y="100"/>
                    <a:pt x="245" y="100"/>
                  </a:cubicBezTo>
                  <a:cubicBezTo>
                    <a:pt x="233" y="101"/>
                    <a:pt x="222" y="102"/>
                    <a:pt x="216" y="115"/>
                  </a:cubicBezTo>
                  <a:cubicBezTo>
                    <a:pt x="212" y="127"/>
                    <a:pt x="216" y="137"/>
                    <a:pt x="223" y="147"/>
                  </a:cubicBezTo>
                  <a:cubicBezTo>
                    <a:pt x="232" y="160"/>
                    <a:pt x="245" y="168"/>
                    <a:pt x="259" y="174"/>
                  </a:cubicBezTo>
                  <a:cubicBezTo>
                    <a:pt x="291" y="186"/>
                    <a:pt x="323" y="187"/>
                    <a:pt x="355" y="175"/>
                  </a:cubicBezTo>
                  <a:cubicBezTo>
                    <a:pt x="368" y="170"/>
                    <a:pt x="380" y="163"/>
                    <a:pt x="390" y="152"/>
                  </a:cubicBezTo>
                  <a:cubicBezTo>
                    <a:pt x="400" y="141"/>
                    <a:pt x="404" y="127"/>
                    <a:pt x="399" y="113"/>
                  </a:cubicBezTo>
                  <a:cubicBezTo>
                    <a:pt x="395" y="100"/>
                    <a:pt x="381" y="101"/>
                    <a:pt x="371" y="98"/>
                  </a:cubicBezTo>
                  <a:cubicBezTo>
                    <a:pt x="360" y="95"/>
                    <a:pt x="345" y="103"/>
                    <a:pt x="338" y="94"/>
                  </a:cubicBezTo>
                  <a:cubicBezTo>
                    <a:pt x="331" y="84"/>
                    <a:pt x="336" y="69"/>
                    <a:pt x="336" y="57"/>
                  </a:cubicBezTo>
                  <a:cubicBezTo>
                    <a:pt x="335" y="46"/>
                    <a:pt x="336" y="35"/>
                    <a:pt x="336" y="25"/>
                  </a:cubicBezTo>
                  <a:cubicBezTo>
                    <a:pt x="336" y="1"/>
                    <a:pt x="338" y="0"/>
                    <a:pt x="361" y="4"/>
                  </a:cubicBezTo>
                  <a:cubicBezTo>
                    <a:pt x="486" y="24"/>
                    <a:pt x="589" y="124"/>
                    <a:pt x="612" y="249"/>
                  </a:cubicBezTo>
                  <a:cubicBezTo>
                    <a:pt x="615" y="266"/>
                    <a:pt x="611" y="273"/>
                    <a:pt x="594" y="273"/>
                  </a:cubicBezTo>
                  <a:cubicBezTo>
                    <a:pt x="575" y="272"/>
                    <a:pt x="556" y="272"/>
                    <a:pt x="538" y="273"/>
                  </a:cubicBezTo>
                  <a:cubicBezTo>
                    <a:pt x="523" y="273"/>
                    <a:pt x="515" y="268"/>
                    <a:pt x="516" y="252"/>
                  </a:cubicBezTo>
                  <a:cubicBezTo>
                    <a:pt x="517" y="245"/>
                    <a:pt x="516" y="239"/>
                    <a:pt x="516" y="232"/>
                  </a:cubicBezTo>
                  <a:cubicBezTo>
                    <a:pt x="514" y="204"/>
                    <a:pt x="495" y="194"/>
                    <a:pt x="471" y="210"/>
                  </a:cubicBezTo>
                  <a:cubicBezTo>
                    <a:pt x="460" y="217"/>
                    <a:pt x="452" y="227"/>
                    <a:pt x="446" y="238"/>
                  </a:cubicBezTo>
                  <a:cubicBezTo>
                    <a:pt x="428" y="277"/>
                    <a:pt x="428" y="315"/>
                    <a:pt x="446" y="354"/>
                  </a:cubicBezTo>
                  <a:cubicBezTo>
                    <a:pt x="451" y="364"/>
                    <a:pt x="459" y="373"/>
                    <a:pt x="468" y="380"/>
                  </a:cubicBezTo>
                  <a:cubicBezTo>
                    <a:pt x="492" y="398"/>
                    <a:pt x="513" y="391"/>
                    <a:pt x="518" y="361"/>
                  </a:cubicBezTo>
                  <a:cubicBezTo>
                    <a:pt x="525" y="324"/>
                    <a:pt x="525" y="324"/>
                    <a:pt x="563" y="324"/>
                  </a:cubicBezTo>
                  <a:cubicBezTo>
                    <a:pt x="567" y="324"/>
                    <a:pt x="572" y="324"/>
                    <a:pt x="577" y="324"/>
                  </a:cubicBezTo>
                  <a:cubicBezTo>
                    <a:pt x="621" y="324"/>
                    <a:pt x="621" y="324"/>
                    <a:pt x="613" y="368"/>
                  </a:cubicBezTo>
                  <a:cubicBezTo>
                    <a:pt x="588" y="496"/>
                    <a:pt x="490" y="592"/>
                    <a:pt x="362" y="614"/>
                  </a:cubicBezTo>
                  <a:cubicBezTo>
                    <a:pt x="337" y="618"/>
                    <a:pt x="336" y="618"/>
                    <a:pt x="336" y="592"/>
                  </a:cubicBezTo>
                  <a:cubicBezTo>
                    <a:pt x="336" y="584"/>
                    <a:pt x="336" y="576"/>
                    <a:pt x="336" y="568"/>
                  </a:cubicBezTo>
                  <a:close/>
                  <a:moveTo>
                    <a:pt x="309" y="256"/>
                  </a:moveTo>
                  <a:cubicBezTo>
                    <a:pt x="286" y="256"/>
                    <a:pt x="267" y="274"/>
                    <a:pt x="267" y="296"/>
                  </a:cubicBezTo>
                  <a:cubicBezTo>
                    <a:pt x="267" y="317"/>
                    <a:pt x="285" y="335"/>
                    <a:pt x="308" y="336"/>
                  </a:cubicBezTo>
                  <a:cubicBezTo>
                    <a:pt x="332" y="336"/>
                    <a:pt x="348" y="320"/>
                    <a:pt x="348" y="296"/>
                  </a:cubicBezTo>
                  <a:cubicBezTo>
                    <a:pt x="348" y="272"/>
                    <a:pt x="333" y="257"/>
                    <a:pt x="309"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0" name="Group 80"/>
          <p:cNvGrpSpPr/>
          <p:nvPr/>
        </p:nvGrpSpPr>
        <p:grpSpPr>
          <a:xfrm>
            <a:off x="2134777" y="2040128"/>
            <a:ext cx="300565" cy="303678"/>
            <a:chOff x="-7718426" y="11542713"/>
            <a:chExt cx="1379538" cy="1393825"/>
          </a:xfrm>
          <a:solidFill>
            <a:schemeClr val="bg1"/>
          </a:solidFill>
        </p:grpSpPr>
        <p:sp>
          <p:nvSpPr>
            <p:cNvPr id="259" name="Freeform 3949"/>
            <p:cNvSpPr>
              <a:spLocks/>
            </p:cNvSpPr>
            <p:nvPr/>
          </p:nvSpPr>
          <p:spPr bwMode="auto">
            <a:xfrm>
              <a:off x="-7456488" y="12512675"/>
              <a:ext cx="817563" cy="423863"/>
            </a:xfrm>
            <a:custGeom>
              <a:avLst/>
              <a:gdLst>
                <a:gd name="T0" fmla="*/ 183 w 218"/>
                <a:gd name="T1" fmla="*/ 5 h 113"/>
                <a:gd name="T2" fmla="*/ 218 w 218"/>
                <a:gd name="T3" fmla="*/ 6 h 113"/>
                <a:gd name="T4" fmla="*/ 214 w 218"/>
                <a:gd name="T5" fmla="*/ 45 h 113"/>
                <a:gd name="T6" fmla="*/ 205 w 218"/>
                <a:gd name="T7" fmla="*/ 35 h 113"/>
                <a:gd name="T8" fmla="*/ 0 w 218"/>
                <a:gd name="T9" fmla="*/ 23 h 113"/>
                <a:gd name="T10" fmla="*/ 20 w 218"/>
                <a:gd name="T11" fmla="*/ 0 h 113"/>
                <a:gd name="T12" fmla="*/ 188 w 218"/>
                <a:gd name="T13" fmla="*/ 18 h 113"/>
                <a:gd name="T14" fmla="*/ 183 w 218"/>
                <a:gd name="T15" fmla="*/ 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13">
                  <a:moveTo>
                    <a:pt x="183" y="5"/>
                  </a:moveTo>
                  <a:cubicBezTo>
                    <a:pt x="218" y="6"/>
                    <a:pt x="218" y="6"/>
                    <a:pt x="218" y="6"/>
                  </a:cubicBezTo>
                  <a:cubicBezTo>
                    <a:pt x="214" y="45"/>
                    <a:pt x="214" y="45"/>
                    <a:pt x="214" y="45"/>
                  </a:cubicBezTo>
                  <a:cubicBezTo>
                    <a:pt x="205" y="35"/>
                    <a:pt x="205" y="35"/>
                    <a:pt x="205" y="35"/>
                  </a:cubicBezTo>
                  <a:cubicBezTo>
                    <a:pt x="205" y="35"/>
                    <a:pt x="108" y="113"/>
                    <a:pt x="0" y="23"/>
                  </a:cubicBezTo>
                  <a:cubicBezTo>
                    <a:pt x="20" y="0"/>
                    <a:pt x="20" y="0"/>
                    <a:pt x="20" y="0"/>
                  </a:cubicBezTo>
                  <a:cubicBezTo>
                    <a:pt x="20" y="0"/>
                    <a:pt x="87" y="70"/>
                    <a:pt x="188" y="18"/>
                  </a:cubicBezTo>
                  <a:lnTo>
                    <a:pt x="183" y="5"/>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0" name="Freeform 3950"/>
            <p:cNvSpPr>
              <a:spLocks/>
            </p:cNvSpPr>
            <p:nvPr/>
          </p:nvSpPr>
          <p:spPr bwMode="auto">
            <a:xfrm>
              <a:off x="-6889751" y="11542713"/>
              <a:ext cx="550863" cy="738188"/>
            </a:xfrm>
            <a:custGeom>
              <a:avLst/>
              <a:gdLst>
                <a:gd name="T0" fmla="*/ 16 w 147"/>
                <a:gd name="T1" fmla="*/ 47 h 197"/>
                <a:gd name="T2" fmla="*/ 0 w 147"/>
                <a:gd name="T3" fmla="*/ 16 h 197"/>
                <a:gd name="T4" fmla="*/ 35 w 147"/>
                <a:gd name="T5" fmla="*/ 0 h 197"/>
                <a:gd name="T6" fmla="*/ 32 w 147"/>
                <a:gd name="T7" fmla="*/ 13 h 197"/>
                <a:gd name="T8" fmla="*/ 123 w 147"/>
                <a:gd name="T9" fmla="*/ 197 h 197"/>
                <a:gd name="T10" fmla="*/ 93 w 147"/>
                <a:gd name="T11" fmla="*/ 191 h 197"/>
                <a:gd name="T12" fmla="*/ 25 w 147"/>
                <a:gd name="T13" fmla="*/ 36 h 197"/>
                <a:gd name="T14" fmla="*/ 16 w 147"/>
                <a:gd name="T15" fmla="*/ 47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97">
                  <a:moveTo>
                    <a:pt x="16" y="47"/>
                  </a:moveTo>
                  <a:cubicBezTo>
                    <a:pt x="0" y="16"/>
                    <a:pt x="0" y="16"/>
                    <a:pt x="0" y="16"/>
                  </a:cubicBezTo>
                  <a:cubicBezTo>
                    <a:pt x="35" y="0"/>
                    <a:pt x="35" y="0"/>
                    <a:pt x="35" y="0"/>
                  </a:cubicBezTo>
                  <a:cubicBezTo>
                    <a:pt x="32" y="13"/>
                    <a:pt x="32" y="13"/>
                    <a:pt x="32" y="13"/>
                  </a:cubicBezTo>
                  <a:cubicBezTo>
                    <a:pt x="32" y="13"/>
                    <a:pt x="147" y="59"/>
                    <a:pt x="123" y="197"/>
                  </a:cubicBezTo>
                  <a:cubicBezTo>
                    <a:pt x="93" y="191"/>
                    <a:pt x="93" y="191"/>
                    <a:pt x="93" y="191"/>
                  </a:cubicBezTo>
                  <a:cubicBezTo>
                    <a:pt x="93" y="191"/>
                    <a:pt x="120" y="98"/>
                    <a:pt x="25" y="36"/>
                  </a:cubicBezTo>
                  <a:lnTo>
                    <a:pt x="16" y="47"/>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1" name="Freeform 3951"/>
            <p:cNvSpPr>
              <a:spLocks/>
            </p:cNvSpPr>
            <p:nvPr/>
          </p:nvSpPr>
          <p:spPr bwMode="auto">
            <a:xfrm>
              <a:off x="-7718426" y="11549063"/>
              <a:ext cx="528638" cy="742950"/>
            </a:xfrm>
            <a:custGeom>
              <a:avLst/>
              <a:gdLst>
                <a:gd name="T0" fmla="*/ 57 w 141"/>
                <a:gd name="T1" fmla="*/ 168 h 198"/>
                <a:gd name="T2" fmla="*/ 39 w 141"/>
                <a:gd name="T3" fmla="*/ 198 h 198"/>
                <a:gd name="T4" fmla="*/ 7 w 141"/>
                <a:gd name="T5" fmla="*/ 176 h 198"/>
                <a:gd name="T6" fmla="*/ 20 w 141"/>
                <a:gd name="T7" fmla="*/ 173 h 198"/>
                <a:gd name="T8" fmla="*/ 130 w 141"/>
                <a:gd name="T9" fmla="*/ 0 h 198"/>
                <a:gd name="T10" fmla="*/ 141 w 141"/>
                <a:gd name="T11" fmla="*/ 29 h 198"/>
                <a:gd name="T12" fmla="*/ 43 w 141"/>
                <a:gd name="T13" fmla="*/ 167 h 198"/>
                <a:gd name="T14" fmla="*/ 57 w 141"/>
                <a:gd name="T15" fmla="*/ 168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198">
                  <a:moveTo>
                    <a:pt x="57" y="168"/>
                  </a:moveTo>
                  <a:cubicBezTo>
                    <a:pt x="39" y="198"/>
                    <a:pt x="39" y="198"/>
                    <a:pt x="39" y="198"/>
                  </a:cubicBezTo>
                  <a:cubicBezTo>
                    <a:pt x="7" y="176"/>
                    <a:pt x="7" y="176"/>
                    <a:pt x="7" y="176"/>
                  </a:cubicBezTo>
                  <a:cubicBezTo>
                    <a:pt x="20" y="173"/>
                    <a:pt x="20" y="173"/>
                    <a:pt x="20" y="173"/>
                  </a:cubicBezTo>
                  <a:cubicBezTo>
                    <a:pt x="20" y="173"/>
                    <a:pt x="0" y="50"/>
                    <a:pt x="130" y="0"/>
                  </a:cubicBezTo>
                  <a:cubicBezTo>
                    <a:pt x="141" y="29"/>
                    <a:pt x="141" y="29"/>
                    <a:pt x="141" y="29"/>
                  </a:cubicBezTo>
                  <a:cubicBezTo>
                    <a:pt x="141" y="29"/>
                    <a:pt x="47" y="53"/>
                    <a:pt x="43" y="167"/>
                  </a:cubicBezTo>
                  <a:lnTo>
                    <a:pt x="57" y="168"/>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2" name="Freeform 3952"/>
            <p:cNvSpPr>
              <a:spLocks/>
            </p:cNvSpPr>
            <p:nvPr/>
          </p:nvSpPr>
          <p:spPr bwMode="auto">
            <a:xfrm>
              <a:off x="-7467601" y="11955463"/>
              <a:ext cx="236538" cy="434975"/>
            </a:xfrm>
            <a:custGeom>
              <a:avLst/>
              <a:gdLst>
                <a:gd name="T0" fmla="*/ 62 w 63"/>
                <a:gd name="T1" fmla="*/ 97 h 116"/>
                <a:gd name="T2" fmla="*/ 63 w 63"/>
                <a:gd name="T3" fmla="*/ 116 h 116"/>
                <a:gd name="T4" fmla="*/ 42 w 63"/>
                <a:gd name="T5" fmla="*/ 116 h 116"/>
                <a:gd name="T6" fmla="*/ 47 w 63"/>
                <a:gd name="T7" fmla="*/ 111 h 116"/>
                <a:gd name="T8" fmla="*/ 42 w 63"/>
                <a:gd name="T9" fmla="*/ 0 h 116"/>
                <a:gd name="T10" fmla="*/ 56 w 63"/>
                <a:gd name="T11" fmla="*/ 10 h 116"/>
                <a:gd name="T12" fmla="*/ 55 w 63"/>
                <a:gd name="T13" fmla="*/ 101 h 116"/>
                <a:gd name="T14" fmla="*/ 62 w 63"/>
                <a:gd name="T15" fmla="*/ 97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116">
                  <a:moveTo>
                    <a:pt x="62" y="97"/>
                  </a:moveTo>
                  <a:cubicBezTo>
                    <a:pt x="63" y="116"/>
                    <a:pt x="63" y="116"/>
                    <a:pt x="63" y="116"/>
                  </a:cubicBezTo>
                  <a:cubicBezTo>
                    <a:pt x="42" y="116"/>
                    <a:pt x="42" y="116"/>
                    <a:pt x="42" y="116"/>
                  </a:cubicBezTo>
                  <a:cubicBezTo>
                    <a:pt x="47" y="111"/>
                    <a:pt x="47" y="111"/>
                    <a:pt x="47" y="111"/>
                  </a:cubicBezTo>
                  <a:cubicBezTo>
                    <a:pt x="47" y="111"/>
                    <a:pt x="0" y="63"/>
                    <a:pt x="42" y="0"/>
                  </a:cubicBezTo>
                  <a:cubicBezTo>
                    <a:pt x="56" y="10"/>
                    <a:pt x="56" y="10"/>
                    <a:pt x="56" y="10"/>
                  </a:cubicBezTo>
                  <a:cubicBezTo>
                    <a:pt x="56" y="10"/>
                    <a:pt x="22" y="49"/>
                    <a:pt x="55" y="101"/>
                  </a:cubicBezTo>
                  <a:lnTo>
                    <a:pt x="62" y="97"/>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3" name="Freeform 3953"/>
            <p:cNvSpPr>
              <a:spLocks/>
            </p:cNvSpPr>
            <p:nvPr/>
          </p:nvSpPr>
          <p:spPr bwMode="auto">
            <a:xfrm>
              <a:off x="-7080251" y="12201525"/>
              <a:ext cx="377825" cy="307975"/>
            </a:xfrm>
            <a:custGeom>
              <a:avLst/>
              <a:gdLst>
                <a:gd name="T0" fmla="*/ 75 w 101"/>
                <a:gd name="T1" fmla="*/ 11 h 82"/>
                <a:gd name="T2" fmla="*/ 90 w 101"/>
                <a:gd name="T3" fmla="*/ 0 h 82"/>
                <a:gd name="T4" fmla="*/ 101 w 101"/>
                <a:gd name="T5" fmla="*/ 18 h 82"/>
                <a:gd name="T6" fmla="*/ 94 w 101"/>
                <a:gd name="T7" fmla="*/ 17 h 82"/>
                <a:gd name="T8" fmla="*/ 0 w 101"/>
                <a:gd name="T9" fmla="*/ 76 h 82"/>
                <a:gd name="T10" fmla="*/ 2 w 101"/>
                <a:gd name="T11" fmla="*/ 60 h 82"/>
                <a:gd name="T12" fmla="*/ 81 w 101"/>
                <a:gd name="T13" fmla="*/ 15 h 82"/>
                <a:gd name="T14" fmla="*/ 75 w 101"/>
                <a:gd name="T15" fmla="*/ 1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82">
                  <a:moveTo>
                    <a:pt x="75" y="11"/>
                  </a:moveTo>
                  <a:cubicBezTo>
                    <a:pt x="90" y="0"/>
                    <a:pt x="90" y="0"/>
                    <a:pt x="90" y="0"/>
                  </a:cubicBezTo>
                  <a:cubicBezTo>
                    <a:pt x="101" y="18"/>
                    <a:pt x="101" y="18"/>
                    <a:pt x="101" y="18"/>
                  </a:cubicBezTo>
                  <a:cubicBezTo>
                    <a:pt x="94" y="17"/>
                    <a:pt x="94" y="17"/>
                    <a:pt x="94" y="17"/>
                  </a:cubicBezTo>
                  <a:cubicBezTo>
                    <a:pt x="94" y="17"/>
                    <a:pt x="75" y="82"/>
                    <a:pt x="0" y="76"/>
                  </a:cubicBezTo>
                  <a:cubicBezTo>
                    <a:pt x="2" y="60"/>
                    <a:pt x="2" y="60"/>
                    <a:pt x="2" y="60"/>
                  </a:cubicBezTo>
                  <a:cubicBezTo>
                    <a:pt x="2" y="60"/>
                    <a:pt x="53" y="70"/>
                    <a:pt x="81" y="15"/>
                  </a:cubicBezTo>
                  <a:lnTo>
                    <a:pt x="75" y="11"/>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64" name="Freeform 3954"/>
            <p:cNvSpPr>
              <a:spLocks/>
            </p:cNvSpPr>
            <p:nvPr/>
          </p:nvSpPr>
          <p:spPr bwMode="auto">
            <a:xfrm>
              <a:off x="-7151688" y="11766550"/>
              <a:ext cx="419100" cy="277813"/>
            </a:xfrm>
            <a:custGeom>
              <a:avLst/>
              <a:gdLst>
                <a:gd name="T0" fmla="*/ 17 w 112"/>
                <a:gd name="T1" fmla="*/ 37 h 74"/>
                <a:gd name="T2" fmla="*/ 0 w 112"/>
                <a:gd name="T3" fmla="*/ 29 h 74"/>
                <a:gd name="T4" fmla="*/ 10 w 112"/>
                <a:gd name="T5" fmla="*/ 10 h 74"/>
                <a:gd name="T6" fmla="*/ 13 w 112"/>
                <a:gd name="T7" fmla="*/ 17 h 74"/>
                <a:gd name="T8" fmla="*/ 112 w 112"/>
                <a:gd name="T9" fmla="*/ 67 h 74"/>
                <a:gd name="T10" fmla="*/ 97 w 112"/>
                <a:gd name="T11" fmla="*/ 74 h 74"/>
                <a:gd name="T12" fmla="*/ 17 w 112"/>
                <a:gd name="T13" fmla="*/ 29 h 74"/>
                <a:gd name="T14" fmla="*/ 17 w 112"/>
                <a:gd name="T15" fmla="*/ 37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74">
                  <a:moveTo>
                    <a:pt x="17" y="37"/>
                  </a:moveTo>
                  <a:cubicBezTo>
                    <a:pt x="0" y="29"/>
                    <a:pt x="0" y="29"/>
                    <a:pt x="0" y="29"/>
                  </a:cubicBezTo>
                  <a:cubicBezTo>
                    <a:pt x="10" y="10"/>
                    <a:pt x="10" y="10"/>
                    <a:pt x="10" y="10"/>
                  </a:cubicBezTo>
                  <a:cubicBezTo>
                    <a:pt x="13" y="17"/>
                    <a:pt x="13" y="17"/>
                    <a:pt x="13" y="17"/>
                  </a:cubicBezTo>
                  <a:cubicBezTo>
                    <a:pt x="13" y="17"/>
                    <a:pt x="78" y="0"/>
                    <a:pt x="112" y="67"/>
                  </a:cubicBezTo>
                  <a:cubicBezTo>
                    <a:pt x="97" y="74"/>
                    <a:pt x="97" y="74"/>
                    <a:pt x="97" y="74"/>
                  </a:cubicBezTo>
                  <a:cubicBezTo>
                    <a:pt x="97" y="74"/>
                    <a:pt x="79" y="25"/>
                    <a:pt x="17" y="29"/>
                  </a:cubicBezTo>
                  <a:lnTo>
                    <a:pt x="17" y="37"/>
                  </a:lnTo>
                  <a:close/>
                </a:path>
              </a:pathLst>
            </a:custGeom>
            <a:grp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grpSp>
        <p:nvGrpSpPr>
          <p:cNvPr id="251" name="Group 250"/>
          <p:cNvGrpSpPr/>
          <p:nvPr/>
        </p:nvGrpSpPr>
        <p:grpSpPr>
          <a:xfrm>
            <a:off x="2142739" y="1152893"/>
            <a:ext cx="276336" cy="247174"/>
            <a:chOff x="2142739" y="1175752"/>
            <a:chExt cx="276336" cy="247174"/>
          </a:xfrm>
          <a:solidFill>
            <a:schemeClr val="bg1"/>
          </a:solidFill>
        </p:grpSpPr>
        <p:sp>
          <p:nvSpPr>
            <p:cNvPr id="252" name="Freeform 29"/>
            <p:cNvSpPr>
              <a:spLocks/>
            </p:cNvSpPr>
            <p:nvPr/>
          </p:nvSpPr>
          <p:spPr bwMode="auto">
            <a:xfrm>
              <a:off x="2142739" y="1175752"/>
              <a:ext cx="276336" cy="151084"/>
            </a:xfrm>
            <a:custGeom>
              <a:avLst/>
              <a:gdLst>
                <a:gd name="T0" fmla="*/ 2022 w 2368"/>
                <a:gd name="T1" fmla="*/ 805 h 807"/>
                <a:gd name="T2" fmla="*/ 2014 w 2368"/>
                <a:gd name="T3" fmla="*/ 727 h 807"/>
                <a:gd name="T4" fmla="*/ 1959 w 2368"/>
                <a:gd name="T5" fmla="*/ 675 h 807"/>
                <a:gd name="T6" fmla="*/ 283 w 2368"/>
                <a:gd name="T7" fmla="*/ 675 h 807"/>
                <a:gd name="T8" fmla="*/ 227 w 2368"/>
                <a:gd name="T9" fmla="*/ 722 h 807"/>
                <a:gd name="T10" fmla="*/ 218 w 2368"/>
                <a:gd name="T11" fmla="*/ 802 h 807"/>
                <a:gd name="T12" fmla="*/ 105 w 2368"/>
                <a:gd name="T13" fmla="*/ 801 h 807"/>
                <a:gd name="T14" fmla="*/ 1 w 2368"/>
                <a:gd name="T15" fmla="*/ 678 h 807"/>
                <a:gd name="T16" fmla="*/ 1 w 2368"/>
                <a:gd name="T17" fmla="*/ 129 h 807"/>
                <a:gd name="T18" fmla="*/ 129 w 2368"/>
                <a:gd name="T19" fmla="*/ 2 h 807"/>
                <a:gd name="T20" fmla="*/ 201 w 2368"/>
                <a:gd name="T21" fmla="*/ 1 h 807"/>
                <a:gd name="T22" fmla="*/ 234 w 2368"/>
                <a:gd name="T23" fmla="*/ 35 h 807"/>
                <a:gd name="T24" fmla="*/ 234 w 2368"/>
                <a:gd name="T25" fmla="*/ 307 h 807"/>
                <a:gd name="T26" fmla="*/ 339 w 2368"/>
                <a:gd name="T27" fmla="*/ 462 h 807"/>
                <a:gd name="T28" fmla="*/ 400 w 2368"/>
                <a:gd name="T29" fmla="*/ 472 h 807"/>
                <a:gd name="T30" fmla="*/ 1970 w 2368"/>
                <a:gd name="T31" fmla="*/ 472 h 807"/>
                <a:gd name="T32" fmla="*/ 2134 w 2368"/>
                <a:gd name="T33" fmla="*/ 309 h 807"/>
                <a:gd name="T34" fmla="*/ 2134 w 2368"/>
                <a:gd name="T35" fmla="*/ 39 h 807"/>
                <a:gd name="T36" fmla="*/ 2171 w 2368"/>
                <a:gd name="T37" fmla="*/ 1 h 807"/>
                <a:gd name="T38" fmla="*/ 2259 w 2368"/>
                <a:gd name="T39" fmla="*/ 4 h 807"/>
                <a:gd name="T40" fmla="*/ 2367 w 2368"/>
                <a:gd name="T41" fmla="*/ 128 h 807"/>
                <a:gd name="T42" fmla="*/ 2367 w 2368"/>
                <a:gd name="T43" fmla="*/ 678 h 807"/>
                <a:gd name="T44" fmla="*/ 2239 w 2368"/>
                <a:gd name="T45" fmla="*/ 805 h 807"/>
                <a:gd name="T46" fmla="*/ 2022 w 2368"/>
                <a:gd name="T47" fmla="*/ 805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68" h="807">
                  <a:moveTo>
                    <a:pt x="2022" y="805"/>
                  </a:moveTo>
                  <a:cubicBezTo>
                    <a:pt x="2019" y="779"/>
                    <a:pt x="2016" y="753"/>
                    <a:pt x="2014" y="727"/>
                  </a:cubicBezTo>
                  <a:cubicBezTo>
                    <a:pt x="2011" y="685"/>
                    <a:pt x="2001" y="675"/>
                    <a:pt x="1959" y="675"/>
                  </a:cubicBezTo>
                  <a:cubicBezTo>
                    <a:pt x="1400" y="675"/>
                    <a:pt x="842" y="675"/>
                    <a:pt x="283" y="675"/>
                  </a:cubicBezTo>
                  <a:cubicBezTo>
                    <a:pt x="244" y="675"/>
                    <a:pt x="233" y="683"/>
                    <a:pt x="227" y="722"/>
                  </a:cubicBezTo>
                  <a:cubicBezTo>
                    <a:pt x="223" y="749"/>
                    <a:pt x="221" y="776"/>
                    <a:pt x="218" y="802"/>
                  </a:cubicBezTo>
                  <a:cubicBezTo>
                    <a:pt x="179" y="802"/>
                    <a:pt x="142" y="807"/>
                    <a:pt x="105" y="801"/>
                  </a:cubicBezTo>
                  <a:cubicBezTo>
                    <a:pt x="43" y="792"/>
                    <a:pt x="1" y="741"/>
                    <a:pt x="1" y="678"/>
                  </a:cubicBezTo>
                  <a:cubicBezTo>
                    <a:pt x="0" y="495"/>
                    <a:pt x="0" y="312"/>
                    <a:pt x="1" y="129"/>
                  </a:cubicBezTo>
                  <a:cubicBezTo>
                    <a:pt x="1" y="57"/>
                    <a:pt x="57" y="4"/>
                    <a:pt x="129" y="2"/>
                  </a:cubicBezTo>
                  <a:cubicBezTo>
                    <a:pt x="153" y="1"/>
                    <a:pt x="177" y="1"/>
                    <a:pt x="201" y="1"/>
                  </a:cubicBezTo>
                  <a:cubicBezTo>
                    <a:pt x="227" y="2"/>
                    <a:pt x="234" y="8"/>
                    <a:pt x="234" y="35"/>
                  </a:cubicBezTo>
                  <a:cubicBezTo>
                    <a:pt x="234" y="125"/>
                    <a:pt x="234" y="216"/>
                    <a:pt x="234" y="307"/>
                  </a:cubicBezTo>
                  <a:cubicBezTo>
                    <a:pt x="234" y="382"/>
                    <a:pt x="273" y="441"/>
                    <a:pt x="339" y="462"/>
                  </a:cubicBezTo>
                  <a:cubicBezTo>
                    <a:pt x="359" y="469"/>
                    <a:pt x="380" y="472"/>
                    <a:pt x="400" y="472"/>
                  </a:cubicBezTo>
                  <a:cubicBezTo>
                    <a:pt x="923" y="472"/>
                    <a:pt x="1447" y="472"/>
                    <a:pt x="1970" y="472"/>
                  </a:cubicBezTo>
                  <a:cubicBezTo>
                    <a:pt x="2067" y="472"/>
                    <a:pt x="2133" y="405"/>
                    <a:pt x="2134" y="309"/>
                  </a:cubicBezTo>
                  <a:cubicBezTo>
                    <a:pt x="2134" y="219"/>
                    <a:pt x="2134" y="129"/>
                    <a:pt x="2134" y="39"/>
                  </a:cubicBezTo>
                  <a:cubicBezTo>
                    <a:pt x="2134" y="7"/>
                    <a:pt x="2139" y="1"/>
                    <a:pt x="2171" y="1"/>
                  </a:cubicBezTo>
                  <a:cubicBezTo>
                    <a:pt x="2200" y="2"/>
                    <a:pt x="2230" y="0"/>
                    <a:pt x="2259" y="4"/>
                  </a:cubicBezTo>
                  <a:cubicBezTo>
                    <a:pt x="2323" y="14"/>
                    <a:pt x="2367" y="64"/>
                    <a:pt x="2367" y="128"/>
                  </a:cubicBezTo>
                  <a:cubicBezTo>
                    <a:pt x="2368" y="312"/>
                    <a:pt x="2368" y="495"/>
                    <a:pt x="2367" y="678"/>
                  </a:cubicBezTo>
                  <a:cubicBezTo>
                    <a:pt x="2367" y="750"/>
                    <a:pt x="2311" y="804"/>
                    <a:pt x="2239" y="805"/>
                  </a:cubicBezTo>
                  <a:cubicBezTo>
                    <a:pt x="2168" y="805"/>
                    <a:pt x="2097" y="805"/>
                    <a:pt x="2022" y="8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30"/>
            <p:cNvSpPr>
              <a:spLocks noEditPoints="1"/>
            </p:cNvSpPr>
            <p:nvPr/>
          </p:nvSpPr>
          <p:spPr bwMode="auto">
            <a:xfrm>
              <a:off x="2185664" y="1175943"/>
              <a:ext cx="190130" cy="63103"/>
            </a:xfrm>
            <a:custGeom>
              <a:avLst/>
              <a:gdLst>
                <a:gd name="T0" fmla="*/ 814 w 1629"/>
                <a:gd name="T1" fmla="*/ 337 h 337"/>
                <a:gd name="T2" fmla="*/ 39 w 1629"/>
                <a:gd name="T3" fmla="*/ 337 h 337"/>
                <a:gd name="T4" fmla="*/ 0 w 1629"/>
                <a:gd name="T5" fmla="*/ 298 h 337"/>
                <a:gd name="T6" fmla="*/ 0 w 1629"/>
                <a:gd name="T7" fmla="*/ 34 h 337"/>
                <a:gd name="T8" fmla="*/ 34 w 1629"/>
                <a:gd name="T9" fmla="*/ 0 h 337"/>
                <a:gd name="T10" fmla="*/ 1595 w 1629"/>
                <a:gd name="T11" fmla="*/ 0 h 337"/>
                <a:gd name="T12" fmla="*/ 1629 w 1629"/>
                <a:gd name="T13" fmla="*/ 35 h 337"/>
                <a:gd name="T14" fmla="*/ 1629 w 1629"/>
                <a:gd name="T15" fmla="*/ 302 h 337"/>
                <a:gd name="T16" fmla="*/ 1594 w 1629"/>
                <a:gd name="T17" fmla="*/ 337 h 337"/>
                <a:gd name="T18" fmla="*/ 814 w 1629"/>
                <a:gd name="T19" fmla="*/ 337 h 337"/>
                <a:gd name="T20" fmla="*/ 816 w 1629"/>
                <a:gd name="T21" fmla="*/ 217 h 337"/>
                <a:gd name="T22" fmla="*/ 1479 w 1629"/>
                <a:gd name="T23" fmla="*/ 217 h 337"/>
                <a:gd name="T24" fmla="*/ 1503 w 1629"/>
                <a:gd name="T25" fmla="*/ 216 h 337"/>
                <a:gd name="T26" fmla="*/ 1549 w 1629"/>
                <a:gd name="T27" fmla="*/ 168 h 337"/>
                <a:gd name="T28" fmla="*/ 1510 w 1629"/>
                <a:gd name="T29" fmla="*/ 119 h 337"/>
                <a:gd name="T30" fmla="*/ 1488 w 1629"/>
                <a:gd name="T31" fmla="*/ 117 h 337"/>
                <a:gd name="T32" fmla="*/ 148 w 1629"/>
                <a:gd name="T33" fmla="*/ 117 h 337"/>
                <a:gd name="T34" fmla="*/ 123 w 1629"/>
                <a:gd name="T35" fmla="*/ 120 h 337"/>
                <a:gd name="T36" fmla="*/ 86 w 1629"/>
                <a:gd name="T37" fmla="*/ 167 h 337"/>
                <a:gd name="T38" fmla="*/ 120 w 1629"/>
                <a:gd name="T39" fmla="*/ 214 h 337"/>
                <a:gd name="T40" fmla="*/ 152 w 1629"/>
                <a:gd name="T41" fmla="*/ 217 h 337"/>
                <a:gd name="T42" fmla="*/ 816 w 1629"/>
                <a:gd name="T43" fmla="*/ 21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29" h="337">
                  <a:moveTo>
                    <a:pt x="814" y="337"/>
                  </a:moveTo>
                  <a:cubicBezTo>
                    <a:pt x="556" y="337"/>
                    <a:pt x="297" y="337"/>
                    <a:pt x="39" y="337"/>
                  </a:cubicBezTo>
                  <a:cubicBezTo>
                    <a:pt x="3" y="337"/>
                    <a:pt x="0" y="334"/>
                    <a:pt x="0" y="298"/>
                  </a:cubicBezTo>
                  <a:cubicBezTo>
                    <a:pt x="0" y="210"/>
                    <a:pt x="0" y="122"/>
                    <a:pt x="0" y="34"/>
                  </a:cubicBezTo>
                  <a:cubicBezTo>
                    <a:pt x="0" y="7"/>
                    <a:pt x="6" y="0"/>
                    <a:pt x="34" y="0"/>
                  </a:cubicBezTo>
                  <a:cubicBezTo>
                    <a:pt x="554" y="0"/>
                    <a:pt x="1075" y="0"/>
                    <a:pt x="1595" y="0"/>
                  </a:cubicBezTo>
                  <a:cubicBezTo>
                    <a:pt x="1623" y="0"/>
                    <a:pt x="1629" y="7"/>
                    <a:pt x="1629" y="35"/>
                  </a:cubicBezTo>
                  <a:cubicBezTo>
                    <a:pt x="1629" y="124"/>
                    <a:pt x="1629" y="213"/>
                    <a:pt x="1629" y="302"/>
                  </a:cubicBezTo>
                  <a:cubicBezTo>
                    <a:pt x="1629" y="332"/>
                    <a:pt x="1624" y="337"/>
                    <a:pt x="1594" y="337"/>
                  </a:cubicBezTo>
                  <a:cubicBezTo>
                    <a:pt x="1334" y="337"/>
                    <a:pt x="1074" y="337"/>
                    <a:pt x="814" y="337"/>
                  </a:cubicBezTo>
                  <a:close/>
                  <a:moveTo>
                    <a:pt x="816" y="217"/>
                  </a:moveTo>
                  <a:cubicBezTo>
                    <a:pt x="1037" y="217"/>
                    <a:pt x="1258" y="217"/>
                    <a:pt x="1479" y="217"/>
                  </a:cubicBezTo>
                  <a:cubicBezTo>
                    <a:pt x="1487" y="217"/>
                    <a:pt x="1495" y="217"/>
                    <a:pt x="1503" y="216"/>
                  </a:cubicBezTo>
                  <a:cubicBezTo>
                    <a:pt x="1527" y="214"/>
                    <a:pt x="1547" y="192"/>
                    <a:pt x="1549" y="168"/>
                  </a:cubicBezTo>
                  <a:cubicBezTo>
                    <a:pt x="1550" y="145"/>
                    <a:pt x="1533" y="124"/>
                    <a:pt x="1510" y="119"/>
                  </a:cubicBezTo>
                  <a:cubicBezTo>
                    <a:pt x="1503" y="117"/>
                    <a:pt x="1495" y="117"/>
                    <a:pt x="1488" y="117"/>
                  </a:cubicBezTo>
                  <a:cubicBezTo>
                    <a:pt x="1041" y="117"/>
                    <a:pt x="595" y="117"/>
                    <a:pt x="148" y="117"/>
                  </a:cubicBezTo>
                  <a:cubicBezTo>
                    <a:pt x="140" y="117"/>
                    <a:pt x="131" y="118"/>
                    <a:pt x="123" y="120"/>
                  </a:cubicBezTo>
                  <a:cubicBezTo>
                    <a:pt x="101" y="126"/>
                    <a:pt x="86" y="145"/>
                    <a:pt x="86" y="167"/>
                  </a:cubicBezTo>
                  <a:cubicBezTo>
                    <a:pt x="86" y="188"/>
                    <a:pt x="100" y="208"/>
                    <a:pt x="120" y="214"/>
                  </a:cubicBezTo>
                  <a:cubicBezTo>
                    <a:pt x="130" y="217"/>
                    <a:pt x="141" y="217"/>
                    <a:pt x="152" y="217"/>
                  </a:cubicBezTo>
                  <a:cubicBezTo>
                    <a:pt x="373" y="217"/>
                    <a:pt x="594" y="217"/>
                    <a:pt x="816"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31"/>
            <p:cNvSpPr>
              <a:spLocks/>
            </p:cNvSpPr>
            <p:nvPr/>
          </p:nvSpPr>
          <p:spPr bwMode="auto">
            <a:xfrm>
              <a:off x="2179837" y="1321403"/>
              <a:ext cx="187395" cy="28215"/>
            </a:xfrm>
            <a:custGeom>
              <a:avLst/>
              <a:gdLst>
                <a:gd name="T0" fmla="*/ 800 w 1606"/>
                <a:gd name="T1" fmla="*/ 151 h 151"/>
                <a:gd name="T2" fmla="*/ 42 w 1606"/>
                <a:gd name="T3" fmla="*/ 151 h 151"/>
                <a:gd name="T4" fmla="*/ 20 w 1606"/>
                <a:gd name="T5" fmla="*/ 149 h 151"/>
                <a:gd name="T6" fmla="*/ 6 w 1606"/>
                <a:gd name="T7" fmla="*/ 117 h 151"/>
                <a:gd name="T8" fmla="*/ 35 w 1606"/>
                <a:gd name="T9" fmla="*/ 35 h 151"/>
                <a:gd name="T10" fmla="*/ 80 w 1606"/>
                <a:gd name="T11" fmla="*/ 0 h 151"/>
                <a:gd name="T12" fmla="*/ 1526 w 1606"/>
                <a:gd name="T13" fmla="*/ 0 h 151"/>
                <a:gd name="T14" fmla="*/ 1570 w 1606"/>
                <a:gd name="T15" fmla="*/ 38 h 151"/>
                <a:gd name="T16" fmla="*/ 1597 w 1606"/>
                <a:gd name="T17" fmla="*/ 113 h 151"/>
                <a:gd name="T18" fmla="*/ 1576 w 1606"/>
                <a:gd name="T19" fmla="*/ 150 h 151"/>
                <a:gd name="T20" fmla="*/ 1558 w 1606"/>
                <a:gd name="T21" fmla="*/ 151 h 151"/>
                <a:gd name="T22" fmla="*/ 800 w 1606"/>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6" h="151">
                  <a:moveTo>
                    <a:pt x="800" y="151"/>
                  </a:moveTo>
                  <a:cubicBezTo>
                    <a:pt x="547" y="151"/>
                    <a:pt x="295" y="151"/>
                    <a:pt x="42" y="151"/>
                  </a:cubicBezTo>
                  <a:cubicBezTo>
                    <a:pt x="35" y="151"/>
                    <a:pt x="27" y="151"/>
                    <a:pt x="20" y="149"/>
                  </a:cubicBezTo>
                  <a:cubicBezTo>
                    <a:pt x="4" y="146"/>
                    <a:pt x="0" y="132"/>
                    <a:pt x="6" y="117"/>
                  </a:cubicBezTo>
                  <a:cubicBezTo>
                    <a:pt x="16" y="90"/>
                    <a:pt x="27" y="63"/>
                    <a:pt x="35" y="35"/>
                  </a:cubicBezTo>
                  <a:cubicBezTo>
                    <a:pt x="43" y="10"/>
                    <a:pt x="52" y="0"/>
                    <a:pt x="80" y="0"/>
                  </a:cubicBezTo>
                  <a:cubicBezTo>
                    <a:pt x="562" y="0"/>
                    <a:pt x="1044" y="0"/>
                    <a:pt x="1526" y="0"/>
                  </a:cubicBezTo>
                  <a:cubicBezTo>
                    <a:pt x="1554" y="0"/>
                    <a:pt x="1564" y="10"/>
                    <a:pt x="1570" y="38"/>
                  </a:cubicBezTo>
                  <a:cubicBezTo>
                    <a:pt x="1577" y="63"/>
                    <a:pt x="1586" y="88"/>
                    <a:pt x="1597" y="113"/>
                  </a:cubicBezTo>
                  <a:cubicBezTo>
                    <a:pt x="1606" y="133"/>
                    <a:pt x="1598" y="149"/>
                    <a:pt x="1576" y="150"/>
                  </a:cubicBezTo>
                  <a:cubicBezTo>
                    <a:pt x="1570" y="151"/>
                    <a:pt x="1564" y="151"/>
                    <a:pt x="1558" y="151"/>
                  </a:cubicBezTo>
                  <a:cubicBezTo>
                    <a:pt x="1305" y="151"/>
                    <a:pt x="1053" y="151"/>
                    <a:pt x="800"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32"/>
            <p:cNvSpPr>
              <a:spLocks/>
            </p:cNvSpPr>
            <p:nvPr/>
          </p:nvSpPr>
          <p:spPr bwMode="auto">
            <a:xfrm>
              <a:off x="2180055" y="1371281"/>
              <a:ext cx="45719" cy="51261"/>
            </a:xfrm>
            <a:custGeom>
              <a:avLst/>
              <a:gdLst>
                <a:gd name="T0" fmla="*/ 81 w 143"/>
                <a:gd name="T1" fmla="*/ 0 h 408"/>
                <a:gd name="T2" fmla="*/ 134 w 143"/>
                <a:gd name="T3" fmla="*/ 29 h 408"/>
                <a:gd name="T4" fmla="*/ 126 w 143"/>
                <a:gd name="T5" fmla="*/ 83 h 408"/>
                <a:gd name="T6" fmla="*/ 105 w 143"/>
                <a:gd name="T7" fmla="*/ 171 h 408"/>
                <a:gd name="T8" fmla="*/ 130 w 143"/>
                <a:gd name="T9" fmla="*/ 295 h 408"/>
                <a:gd name="T10" fmla="*/ 119 w 143"/>
                <a:gd name="T11" fmla="*/ 367 h 408"/>
                <a:gd name="T12" fmla="*/ 53 w 143"/>
                <a:gd name="T13" fmla="*/ 397 h 408"/>
                <a:gd name="T14" fmla="*/ 27 w 143"/>
                <a:gd name="T15" fmla="*/ 330 h 408"/>
                <a:gd name="T16" fmla="*/ 24 w 143"/>
                <a:gd name="T17" fmla="*/ 269 h 408"/>
                <a:gd name="T18" fmla="*/ 2 w 143"/>
                <a:gd name="T19" fmla="*/ 126 h 408"/>
                <a:gd name="T20" fmla="*/ 51 w 143"/>
                <a:gd name="T21" fmla="*/ 15 h 408"/>
                <a:gd name="T22" fmla="*/ 81 w 143"/>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408">
                  <a:moveTo>
                    <a:pt x="81" y="0"/>
                  </a:moveTo>
                  <a:cubicBezTo>
                    <a:pt x="108" y="1"/>
                    <a:pt x="125" y="10"/>
                    <a:pt x="134" y="29"/>
                  </a:cubicBezTo>
                  <a:cubicBezTo>
                    <a:pt x="143" y="48"/>
                    <a:pt x="141" y="69"/>
                    <a:pt x="126" y="83"/>
                  </a:cubicBezTo>
                  <a:cubicBezTo>
                    <a:pt x="96" y="108"/>
                    <a:pt x="99" y="139"/>
                    <a:pt x="105" y="171"/>
                  </a:cubicBezTo>
                  <a:cubicBezTo>
                    <a:pt x="112" y="212"/>
                    <a:pt x="125" y="253"/>
                    <a:pt x="130" y="295"/>
                  </a:cubicBezTo>
                  <a:cubicBezTo>
                    <a:pt x="133" y="318"/>
                    <a:pt x="127" y="344"/>
                    <a:pt x="119" y="367"/>
                  </a:cubicBezTo>
                  <a:cubicBezTo>
                    <a:pt x="109" y="396"/>
                    <a:pt x="78" y="408"/>
                    <a:pt x="53" y="397"/>
                  </a:cubicBezTo>
                  <a:cubicBezTo>
                    <a:pt x="26" y="386"/>
                    <a:pt x="20" y="362"/>
                    <a:pt x="27" y="330"/>
                  </a:cubicBezTo>
                  <a:cubicBezTo>
                    <a:pt x="32" y="311"/>
                    <a:pt x="30" y="288"/>
                    <a:pt x="24" y="269"/>
                  </a:cubicBezTo>
                  <a:cubicBezTo>
                    <a:pt x="8" y="222"/>
                    <a:pt x="0" y="175"/>
                    <a:pt x="2" y="126"/>
                  </a:cubicBezTo>
                  <a:cubicBezTo>
                    <a:pt x="4" y="82"/>
                    <a:pt x="15" y="43"/>
                    <a:pt x="51" y="15"/>
                  </a:cubicBezTo>
                  <a:cubicBezTo>
                    <a:pt x="61" y="7"/>
                    <a:pt x="74" y="3"/>
                    <a:pt x="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33"/>
            <p:cNvSpPr>
              <a:spLocks/>
            </p:cNvSpPr>
            <p:nvPr/>
          </p:nvSpPr>
          <p:spPr bwMode="auto">
            <a:xfrm>
              <a:off x="2284929" y="1371281"/>
              <a:ext cx="45719" cy="51645"/>
            </a:xfrm>
            <a:custGeom>
              <a:avLst/>
              <a:gdLst>
                <a:gd name="T0" fmla="*/ 81 w 144"/>
                <a:gd name="T1" fmla="*/ 0 h 411"/>
                <a:gd name="T2" fmla="*/ 135 w 144"/>
                <a:gd name="T3" fmla="*/ 29 h 411"/>
                <a:gd name="T4" fmla="*/ 127 w 144"/>
                <a:gd name="T5" fmla="*/ 83 h 411"/>
                <a:gd name="T6" fmla="*/ 106 w 144"/>
                <a:gd name="T7" fmla="*/ 170 h 411"/>
                <a:gd name="T8" fmla="*/ 129 w 144"/>
                <a:gd name="T9" fmla="*/ 267 h 411"/>
                <a:gd name="T10" fmla="*/ 118 w 144"/>
                <a:gd name="T11" fmla="*/ 372 h 411"/>
                <a:gd name="T12" fmla="*/ 36 w 144"/>
                <a:gd name="T13" fmla="*/ 384 h 411"/>
                <a:gd name="T14" fmla="*/ 26 w 144"/>
                <a:gd name="T15" fmla="*/ 340 h 411"/>
                <a:gd name="T16" fmla="*/ 25 w 144"/>
                <a:gd name="T17" fmla="*/ 267 h 411"/>
                <a:gd name="T18" fmla="*/ 3 w 144"/>
                <a:gd name="T19" fmla="*/ 118 h 411"/>
                <a:gd name="T20" fmla="*/ 52 w 144"/>
                <a:gd name="T21" fmla="*/ 15 h 411"/>
                <a:gd name="T22" fmla="*/ 81 w 144"/>
                <a:gd name="T23"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411">
                  <a:moveTo>
                    <a:pt x="81" y="0"/>
                  </a:moveTo>
                  <a:cubicBezTo>
                    <a:pt x="109" y="1"/>
                    <a:pt x="126" y="10"/>
                    <a:pt x="135" y="29"/>
                  </a:cubicBezTo>
                  <a:cubicBezTo>
                    <a:pt x="144" y="48"/>
                    <a:pt x="142" y="69"/>
                    <a:pt x="127" y="83"/>
                  </a:cubicBezTo>
                  <a:cubicBezTo>
                    <a:pt x="97" y="108"/>
                    <a:pt x="100" y="139"/>
                    <a:pt x="106" y="170"/>
                  </a:cubicBezTo>
                  <a:cubicBezTo>
                    <a:pt x="112" y="203"/>
                    <a:pt x="122" y="235"/>
                    <a:pt x="129" y="267"/>
                  </a:cubicBezTo>
                  <a:cubicBezTo>
                    <a:pt x="136" y="303"/>
                    <a:pt x="136" y="339"/>
                    <a:pt x="118" y="372"/>
                  </a:cubicBezTo>
                  <a:cubicBezTo>
                    <a:pt x="101" y="405"/>
                    <a:pt x="60" y="411"/>
                    <a:pt x="36" y="384"/>
                  </a:cubicBezTo>
                  <a:cubicBezTo>
                    <a:pt x="25" y="372"/>
                    <a:pt x="19" y="356"/>
                    <a:pt x="26" y="340"/>
                  </a:cubicBezTo>
                  <a:cubicBezTo>
                    <a:pt x="37" y="315"/>
                    <a:pt x="34" y="291"/>
                    <a:pt x="25" y="267"/>
                  </a:cubicBezTo>
                  <a:cubicBezTo>
                    <a:pt x="6" y="219"/>
                    <a:pt x="0" y="169"/>
                    <a:pt x="3" y="118"/>
                  </a:cubicBezTo>
                  <a:cubicBezTo>
                    <a:pt x="6" y="77"/>
                    <a:pt x="19" y="41"/>
                    <a:pt x="52" y="15"/>
                  </a:cubicBezTo>
                  <a:cubicBezTo>
                    <a:pt x="62" y="7"/>
                    <a:pt x="75" y="3"/>
                    <a:pt x="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34"/>
            <p:cNvSpPr>
              <a:spLocks/>
            </p:cNvSpPr>
            <p:nvPr/>
          </p:nvSpPr>
          <p:spPr bwMode="auto">
            <a:xfrm>
              <a:off x="2232432" y="1371281"/>
              <a:ext cx="45719" cy="51133"/>
            </a:xfrm>
            <a:custGeom>
              <a:avLst/>
              <a:gdLst>
                <a:gd name="T0" fmla="*/ 78 w 141"/>
                <a:gd name="T1" fmla="*/ 0 h 407"/>
                <a:gd name="T2" fmla="*/ 132 w 141"/>
                <a:gd name="T3" fmla="*/ 29 h 407"/>
                <a:gd name="T4" fmla="*/ 124 w 141"/>
                <a:gd name="T5" fmla="*/ 82 h 407"/>
                <a:gd name="T6" fmla="*/ 104 w 141"/>
                <a:gd name="T7" fmla="*/ 178 h 407"/>
                <a:gd name="T8" fmla="*/ 127 w 141"/>
                <a:gd name="T9" fmla="*/ 275 h 407"/>
                <a:gd name="T10" fmla="*/ 116 w 141"/>
                <a:gd name="T11" fmla="*/ 373 h 407"/>
                <a:gd name="T12" fmla="*/ 55 w 141"/>
                <a:gd name="T13" fmla="*/ 398 h 407"/>
                <a:gd name="T14" fmla="*/ 26 w 141"/>
                <a:gd name="T15" fmla="*/ 340 h 407"/>
                <a:gd name="T16" fmla="*/ 23 w 141"/>
                <a:gd name="T17" fmla="*/ 262 h 407"/>
                <a:gd name="T18" fmla="*/ 5 w 141"/>
                <a:gd name="T19" fmla="*/ 93 h 407"/>
                <a:gd name="T20" fmla="*/ 53 w 141"/>
                <a:gd name="T21" fmla="*/ 11 h 407"/>
                <a:gd name="T22" fmla="*/ 78 w 141"/>
                <a:gd name="T2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407">
                  <a:moveTo>
                    <a:pt x="78" y="0"/>
                  </a:moveTo>
                  <a:cubicBezTo>
                    <a:pt x="106" y="1"/>
                    <a:pt x="123" y="10"/>
                    <a:pt x="132" y="29"/>
                  </a:cubicBezTo>
                  <a:cubicBezTo>
                    <a:pt x="141" y="48"/>
                    <a:pt x="139" y="69"/>
                    <a:pt x="124" y="82"/>
                  </a:cubicBezTo>
                  <a:cubicBezTo>
                    <a:pt x="91" y="110"/>
                    <a:pt x="98" y="145"/>
                    <a:pt x="104" y="178"/>
                  </a:cubicBezTo>
                  <a:cubicBezTo>
                    <a:pt x="109" y="211"/>
                    <a:pt x="120" y="243"/>
                    <a:pt x="127" y="275"/>
                  </a:cubicBezTo>
                  <a:cubicBezTo>
                    <a:pt x="133" y="308"/>
                    <a:pt x="131" y="341"/>
                    <a:pt x="116" y="373"/>
                  </a:cubicBezTo>
                  <a:cubicBezTo>
                    <a:pt x="104" y="396"/>
                    <a:pt x="79" y="407"/>
                    <a:pt x="55" y="398"/>
                  </a:cubicBezTo>
                  <a:cubicBezTo>
                    <a:pt x="32" y="389"/>
                    <a:pt x="17" y="363"/>
                    <a:pt x="26" y="340"/>
                  </a:cubicBezTo>
                  <a:cubicBezTo>
                    <a:pt x="38" y="312"/>
                    <a:pt x="33" y="287"/>
                    <a:pt x="23" y="262"/>
                  </a:cubicBezTo>
                  <a:cubicBezTo>
                    <a:pt x="2" y="207"/>
                    <a:pt x="0" y="150"/>
                    <a:pt x="5" y="93"/>
                  </a:cubicBezTo>
                  <a:cubicBezTo>
                    <a:pt x="8" y="59"/>
                    <a:pt x="25" y="31"/>
                    <a:pt x="53" y="11"/>
                  </a:cubicBezTo>
                  <a:cubicBezTo>
                    <a:pt x="62" y="5"/>
                    <a:pt x="73" y="2"/>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35"/>
            <p:cNvSpPr>
              <a:spLocks/>
            </p:cNvSpPr>
            <p:nvPr/>
          </p:nvSpPr>
          <p:spPr bwMode="auto">
            <a:xfrm>
              <a:off x="2337425" y="1370137"/>
              <a:ext cx="45719" cy="51773"/>
            </a:xfrm>
            <a:custGeom>
              <a:avLst/>
              <a:gdLst>
                <a:gd name="T0" fmla="*/ 133 w 143"/>
                <a:gd name="T1" fmla="*/ 315 h 412"/>
                <a:gd name="T2" fmla="*/ 115 w 143"/>
                <a:gd name="T3" fmla="*/ 379 h 412"/>
                <a:gd name="T4" fmla="*/ 56 w 143"/>
                <a:gd name="T5" fmla="*/ 404 h 412"/>
                <a:gd name="T6" fmla="*/ 27 w 143"/>
                <a:gd name="T7" fmla="*/ 346 h 412"/>
                <a:gd name="T8" fmla="*/ 24 w 143"/>
                <a:gd name="T9" fmla="*/ 270 h 412"/>
                <a:gd name="T10" fmla="*/ 5 w 143"/>
                <a:gd name="T11" fmla="*/ 101 h 412"/>
                <a:gd name="T12" fmla="*/ 59 w 143"/>
                <a:gd name="T13" fmla="*/ 14 h 412"/>
                <a:gd name="T14" fmla="*/ 126 w 143"/>
                <a:gd name="T15" fmla="*/ 25 h 412"/>
                <a:gd name="T16" fmla="*/ 125 w 143"/>
                <a:gd name="T17" fmla="*/ 87 h 412"/>
                <a:gd name="T18" fmla="*/ 105 w 143"/>
                <a:gd name="T19" fmla="*/ 189 h 412"/>
                <a:gd name="T20" fmla="*/ 126 w 143"/>
                <a:gd name="T21" fmla="*/ 278 h 412"/>
                <a:gd name="T22" fmla="*/ 130 w 143"/>
                <a:gd name="T23" fmla="*/ 313 h 412"/>
                <a:gd name="T24" fmla="*/ 133 w 143"/>
                <a:gd name="T25" fmla="*/ 315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 h="412">
                  <a:moveTo>
                    <a:pt x="133" y="315"/>
                  </a:moveTo>
                  <a:cubicBezTo>
                    <a:pt x="127" y="336"/>
                    <a:pt x="123" y="358"/>
                    <a:pt x="115" y="379"/>
                  </a:cubicBezTo>
                  <a:cubicBezTo>
                    <a:pt x="106" y="402"/>
                    <a:pt x="78" y="412"/>
                    <a:pt x="56" y="404"/>
                  </a:cubicBezTo>
                  <a:cubicBezTo>
                    <a:pt x="34" y="395"/>
                    <a:pt x="18" y="368"/>
                    <a:pt x="27" y="346"/>
                  </a:cubicBezTo>
                  <a:cubicBezTo>
                    <a:pt x="37" y="319"/>
                    <a:pt x="33" y="294"/>
                    <a:pt x="24" y="270"/>
                  </a:cubicBezTo>
                  <a:cubicBezTo>
                    <a:pt x="3" y="215"/>
                    <a:pt x="0" y="158"/>
                    <a:pt x="5" y="101"/>
                  </a:cubicBezTo>
                  <a:cubicBezTo>
                    <a:pt x="8" y="63"/>
                    <a:pt x="27" y="34"/>
                    <a:pt x="59" y="14"/>
                  </a:cubicBezTo>
                  <a:cubicBezTo>
                    <a:pt x="80" y="0"/>
                    <a:pt x="109" y="5"/>
                    <a:pt x="126" y="25"/>
                  </a:cubicBezTo>
                  <a:cubicBezTo>
                    <a:pt x="140" y="42"/>
                    <a:pt x="143" y="71"/>
                    <a:pt x="125" y="87"/>
                  </a:cubicBezTo>
                  <a:cubicBezTo>
                    <a:pt x="91" y="117"/>
                    <a:pt x="98" y="153"/>
                    <a:pt x="105" y="189"/>
                  </a:cubicBezTo>
                  <a:cubicBezTo>
                    <a:pt x="110" y="219"/>
                    <a:pt x="119" y="248"/>
                    <a:pt x="126" y="278"/>
                  </a:cubicBezTo>
                  <a:cubicBezTo>
                    <a:pt x="129" y="289"/>
                    <a:pt x="129" y="302"/>
                    <a:pt x="130" y="313"/>
                  </a:cubicBezTo>
                  <a:cubicBezTo>
                    <a:pt x="131" y="314"/>
                    <a:pt x="132" y="314"/>
                    <a:pt x="133"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1" name="Group 270"/>
          <p:cNvGrpSpPr/>
          <p:nvPr/>
        </p:nvGrpSpPr>
        <p:grpSpPr>
          <a:xfrm>
            <a:off x="1529961" y="2557772"/>
            <a:ext cx="2079799" cy="1464394"/>
            <a:chOff x="1529960" y="2557772"/>
            <a:chExt cx="2079799" cy="1464394"/>
          </a:xfrm>
        </p:grpSpPr>
        <p:sp>
          <p:nvSpPr>
            <p:cNvPr id="272" name="Rechthoek 18"/>
            <p:cNvSpPr/>
            <p:nvPr/>
          </p:nvSpPr>
          <p:spPr>
            <a:xfrm>
              <a:off x="2067152" y="2581701"/>
              <a:ext cx="428084" cy="1429973"/>
            </a:xfrm>
            <a:prstGeom prst="rect">
              <a:avLst/>
            </a:prstGeom>
            <a:solidFill>
              <a:srgbClr val="F1592A"/>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3" name="Rechthoek 71"/>
            <p:cNvSpPr/>
            <p:nvPr/>
          </p:nvSpPr>
          <p:spPr>
            <a:xfrm>
              <a:off x="1529960" y="2557772"/>
              <a:ext cx="1903690" cy="1464394"/>
            </a:xfrm>
            <a:prstGeom prst="rect">
              <a:avLst/>
            </a:prstGeom>
            <a:noFill/>
            <a:ln w="25400">
              <a:solidFill>
                <a:srgbClr val="F1592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274"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8778" y="3045763"/>
              <a:ext cx="386409" cy="322402"/>
            </a:xfrm>
            <a:prstGeom prst="rect">
              <a:avLst/>
            </a:prstGeom>
          </p:spPr>
        </p:pic>
        <p:sp>
          <p:nvSpPr>
            <p:cNvPr id="275" name="TextBox 94"/>
            <p:cNvSpPr txBox="1"/>
            <p:nvPr/>
          </p:nvSpPr>
          <p:spPr>
            <a:xfrm>
              <a:off x="2484601" y="2650357"/>
              <a:ext cx="1125158" cy="1323439"/>
            </a:xfrm>
            <a:prstGeom prst="rect">
              <a:avLst/>
            </a:prstGeom>
            <a:noFill/>
          </p:spPr>
          <p:txBody>
            <a:bodyPr wrap="square" rtlCol="0">
              <a:spAutoFit/>
            </a:bodyPr>
            <a:lstStyle>
              <a:defPPr>
                <a:defRPr lang="nl-NL"/>
              </a:defPPr>
              <a:lvl1pPr>
                <a:lnSpc>
                  <a:spcPts val="1200"/>
                </a:lnSpc>
                <a:defRPr sz="1200">
                  <a:latin typeface="Calibri" pitchFamily="34" charset="0"/>
                </a:defRPr>
              </a:lvl1pPr>
            </a:lstStyle>
            <a:p>
              <a:r>
                <a:rPr lang="nl-NL" dirty="0"/>
                <a:t>Heat </a:t>
              </a:r>
              <a:r>
                <a:rPr lang="nl-NL" dirty="0" smtClean="0"/>
                <a:t>Pump</a:t>
              </a:r>
            </a:p>
            <a:p>
              <a:endParaRPr lang="nl-NL" dirty="0"/>
            </a:p>
            <a:p>
              <a:r>
                <a:rPr lang="nl-NL" dirty="0" smtClean="0"/>
                <a:t>Solar</a:t>
              </a:r>
            </a:p>
            <a:p>
              <a:endParaRPr lang="nl-NL" dirty="0"/>
            </a:p>
            <a:p>
              <a:r>
                <a:rPr lang="nl-NL" dirty="0"/>
                <a:t>Electric </a:t>
              </a:r>
              <a:endParaRPr lang="nl-NL" dirty="0" smtClean="0"/>
            </a:p>
            <a:p>
              <a:r>
                <a:rPr lang="nl-NL" dirty="0" smtClean="0"/>
                <a:t>Vehicle</a:t>
              </a:r>
            </a:p>
            <a:p>
              <a:endParaRPr lang="nl-NL" dirty="0"/>
            </a:p>
            <a:p>
              <a:r>
                <a:rPr lang="nl-NL" dirty="0"/>
                <a:t>Airco System</a:t>
              </a:r>
              <a:endParaRPr lang="en-US" dirty="0"/>
            </a:p>
          </p:txBody>
        </p:sp>
        <p:grpSp>
          <p:nvGrpSpPr>
            <p:cNvPr id="276" name="Group 43"/>
            <p:cNvGrpSpPr>
              <a:grpSpLocks noChangeAspect="1"/>
            </p:cNvGrpSpPr>
            <p:nvPr/>
          </p:nvGrpSpPr>
          <p:grpSpPr bwMode="auto">
            <a:xfrm>
              <a:off x="2155554" y="2644325"/>
              <a:ext cx="264177" cy="264177"/>
              <a:chOff x="4694" y="892"/>
              <a:chExt cx="959" cy="959"/>
            </a:xfrm>
            <a:solidFill>
              <a:schemeClr val="bg1"/>
            </a:solidFill>
          </p:grpSpPr>
          <p:sp>
            <p:nvSpPr>
              <p:cNvPr id="286" name="Freeform 44"/>
              <p:cNvSpPr>
                <a:spLocks noEditPoints="1"/>
              </p:cNvSpPr>
              <p:nvPr/>
            </p:nvSpPr>
            <p:spPr bwMode="auto">
              <a:xfrm>
                <a:off x="4694" y="892"/>
                <a:ext cx="959" cy="959"/>
              </a:xfrm>
              <a:custGeom>
                <a:avLst/>
                <a:gdLst>
                  <a:gd name="T0" fmla="*/ 74 w 521"/>
                  <a:gd name="T1" fmla="*/ 219 h 521"/>
                  <a:gd name="T2" fmla="*/ 99 w 521"/>
                  <a:gd name="T3" fmla="*/ 158 h 521"/>
                  <a:gd name="T4" fmla="*/ 0 w 521"/>
                  <a:gd name="T5" fmla="*/ 153 h 521"/>
                  <a:gd name="T6" fmla="*/ 74 w 521"/>
                  <a:gd name="T7" fmla="*/ 219 h 521"/>
                  <a:gd name="T8" fmla="*/ 422 w 521"/>
                  <a:gd name="T9" fmla="*/ 363 h 521"/>
                  <a:gd name="T10" fmla="*/ 521 w 521"/>
                  <a:gd name="T11" fmla="*/ 368 h 521"/>
                  <a:gd name="T12" fmla="*/ 447 w 521"/>
                  <a:gd name="T13" fmla="*/ 302 h 521"/>
                  <a:gd name="T14" fmla="*/ 422 w 521"/>
                  <a:gd name="T15" fmla="*/ 363 h 521"/>
                  <a:gd name="T16" fmla="*/ 363 w 521"/>
                  <a:gd name="T17" fmla="*/ 99 h 521"/>
                  <a:gd name="T18" fmla="*/ 368 w 521"/>
                  <a:gd name="T19" fmla="*/ 0 h 521"/>
                  <a:gd name="T20" fmla="*/ 302 w 521"/>
                  <a:gd name="T21" fmla="*/ 74 h 521"/>
                  <a:gd name="T22" fmla="*/ 363 w 521"/>
                  <a:gd name="T23" fmla="*/ 99 h 521"/>
                  <a:gd name="T24" fmla="*/ 521 w 521"/>
                  <a:gd name="T25" fmla="*/ 153 h 521"/>
                  <a:gd name="T26" fmla="*/ 422 w 521"/>
                  <a:gd name="T27" fmla="*/ 158 h 521"/>
                  <a:gd name="T28" fmla="*/ 447 w 521"/>
                  <a:gd name="T29" fmla="*/ 219 h 521"/>
                  <a:gd name="T30" fmla="*/ 521 w 521"/>
                  <a:gd name="T31" fmla="*/ 153 h 521"/>
                  <a:gd name="T32" fmla="*/ 158 w 521"/>
                  <a:gd name="T33" fmla="*/ 99 h 521"/>
                  <a:gd name="T34" fmla="*/ 219 w 521"/>
                  <a:gd name="T35" fmla="*/ 74 h 521"/>
                  <a:gd name="T36" fmla="*/ 153 w 521"/>
                  <a:gd name="T37" fmla="*/ 0 h 521"/>
                  <a:gd name="T38" fmla="*/ 158 w 521"/>
                  <a:gd name="T39" fmla="*/ 99 h 521"/>
                  <a:gd name="T40" fmla="*/ 0 w 521"/>
                  <a:gd name="T41" fmla="*/ 368 h 521"/>
                  <a:gd name="T42" fmla="*/ 99 w 521"/>
                  <a:gd name="T43" fmla="*/ 363 h 521"/>
                  <a:gd name="T44" fmla="*/ 74 w 521"/>
                  <a:gd name="T45" fmla="*/ 302 h 521"/>
                  <a:gd name="T46" fmla="*/ 0 w 521"/>
                  <a:gd name="T47" fmla="*/ 368 h 521"/>
                  <a:gd name="T48" fmla="*/ 302 w 521"/>
                  <a:gd name="T49" fmla="*/ 447 h 521"/>
                  <a:gd name="T50" fmla="*/ 368 w 521"/>
                  <a:gd name="T51" fmla="*/ 521 h 521"/>
                  <a:gd name="T52" fmla="*/ 363 w 521"/>
                  <a:gd name="T53" fmla="*/ 422 h 521"/>
                  <a:gd name="T54" fmla="*/ 302 w 521"/>
                  <a:gd name="T55" fmla="*/ 447 h 521"/>
                  <a:gd name="T56" fmla="*/ 153 w 521"/>
                  <a:gd name="T57" fmla="*/ 521 h 521"/>
                  <a:gd name="T58" fmla="*/ 219 w 521"/>
                  <a:gd name="T59" fmla="*/ 447 h 521"/>
                  <a:gd name="T60" fmla="*/ 158 w 521"/>
                  <a:gd name="T61" fmla="*/ 422 h 521"/>
                  <a:gd name="T62" fmla="*/ 153 w 521"/>
                  <a:gd name="T6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1" h="521">
                    <a:moveTo>
                      <a:pt x="74" y="219"/>
                    </a:moveTo>
                    <a:cubicBezTo>
                      <a:pt x="79" y="197"/>
                      <a:pt x="88" y="176"/>
                      <a:pt x="99" y="158"/>
                    </a:cubicBezTo>
                    <a:cubicBezTo>
                      <a:pt x="0" y="153"/>
                      <a:pt x="0" y="153"/>
                      <a:pt x="0" y="153"/>
                    </a:cubicBezTo>
                    <a:lnTo>
                      <a:pt x="74" y="219"/>
                    </a:lnTo>
                    <a:close/>
                    <a:moveTo>
                      <a:pt x="422" y="363"/>
                    </a:moveTo>
                    <a:cubicBezTo>
                      <a:pt x="521" y="368"/>
                      <a:pt x="521" y="368"/>
                      <a:pt x="521" y="368"/>
                    </a:cubicBezTo>
                    <a:cubicBezTo>
                      <a:pt x="447" y="302"/>
                      <a:pt x="447" y="302"/>
                      <a:pt x="447" y="302"/>
                    </a:cubicBezTo>
                    <a:cubicBezTo>
                      <a:pt x="442" y="324"/>
                      <a:pt x="434" y="345"/>
                      <a:pt x="422" y="363"/>
                    </a:cubicBezTo>
                    <a:close/>
                    <a:moveTo>
                      <a:pt x="363" y="99"/>
                    </a:moveTo>
                    <a:cubicBezTo>
                      <a:pt x="368" y="0"/>
                      <a:pt x="368" y="0"/>
                      <a:pt x="368" y="0"/>
                    </a:cubicBezTo>
                    <a:cubicBezTo>
                      <a:pt x="302" y="74"/>
                      <a:pt x="302" y="74"/>
                      <a:pt x="302" y="74"/>
                    </a:cubicBezTo>
                    <a:cubicBezTo>
                      <a:pt x="324" y="79"/>
                      <a:pt x="345" y="87"/>
                      <a:pt x="363" y="99"/>
                    </a:cubicBezTo>
                    <a:close/>
                    <a:moveTo>
                      <a:pt x="521" y="153"/>
                    </a:moveTo>
                    <a:cubicBezTo>
                      <a:pt x="422" y="158"/>
                      <a:pt x="422" y="158"/>
                      <a:pt x="422" y="158"/>
                    </a:cubicBezTo>
                    <a:cubicBezTo>
                      <a:pt x="434" y="176"/>
                      <a:pt x="442" y="197"/>
                      <a:pt x="447" y="219"/>
                    </a:cubicBezTo>
                    <a:lnTo>
                      <a:pt x="521" y="153"/>
                    </a:lnTo>
                    <a:close/>
                    <a:moveTo>
                      <a:pt x="158" y="99"/>
                    </a:moveTo>
                    <a:cubicBezTo>
                      <a:pt x="176" y="87"/>
                      <a:pt x="197" y="79"/>
                      <a:pt x="219" y="74"/>
                    </a:cubicBezTo>
                    <a:cubicBezTo>
                      <a:pt x="153" y="0"/>
                      <a:pt x="153" y="0"/>
                      <a:pt x="153" y="0"/>
                    </a:cubicBezTo>
                    <a:lnTo>
                      <a:pt x="158" y="99"/>
                    </a:lnTo>
                    <a:close/>
                    <a:moveTo>
                      <a:pt x="0" y="368"/>
                    </a:moveTo>
                    <a:cubicBezTo>
                      <a:pt x="99" y="363"/>
                      <a:pt x="99" y="363"/>
                      <a:pt x="99" y="363"/>
                    </a:cubicBezTo>
                    <a:cubicBezTo>
                      <a:pt x="88" y="345"/>
                      <a:pt x="79" y="324"/>
                      <a:pt x="74" y="302"/>
                    </a:cubicBezTo>
                    <a:lnTo>
                      <a:pt x="0" y="368"/>
                    </a:lnTo>
                    <a:close/>
                    <a:moveTo>
                      <a:pt x="302" y="447"/>
                    </a:moveTo>
                    <a:cubicBezTo>
                      <a:pt x="368" y="521"/>
                      <a:pt x="368" y="521"/>
                      <a:pt x="368" y="521"/>
                    </a:cubicBezTo>
                    <a:cubicBezTo>
                      <a:pt x="363" y="422"/>
                      <a:pt x="363" y="422"/>
                      <a:pt x="363" y="422"/>
                    </a:cubicBezTo>
                    <a:cubicBezTo>
                      <a:pt x="345" y="434"/>
                      <a:pt x="324" y="442"/>
                      <a:pt x="302" y="447"/>
                    </a:cubicBezTo>
                    <a:close/>
                    <a:moveTo>
                      <a:pt x="153" y="521"/>
                    </a:moveTo>
                    <a:cubicBezTo>
                      <a:pt x="219" y="447"/>
                      <a:pt x="219" y="447"/>
                      <a:pt x="219" y="447"/>
                    </a:cubicBezTo>
                    <a:cubicBezTo>
                      <a:pt x="197" y="442"/>
                      <a:pt x="176" y="434"/>
                      <a:pt x="158" y="422"/>
                    </a:cubicBezTo>
                    <a:lnTo>
                      <a:pt x="153" y="521"/>
                    </a:lnTo>
                    <a:close/>
                  </a:path>
                </a:pathLst>
              </a:custGeom>
              <a:grpFill/>
              <a:ln w="10795">
                <a:noFill/>
                <a:round/>
                <a:headEnd/>
                <a:tailEnd/>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87" name="Oval 45"/>
              <p:cNvSpPr>
                <a:spLocks noChangeArrowheads="1"/>
              </p:cNvSpPr>
              <p:nvPr/>
            </p:nvSpPr>
            <p:spPr bwMode="auto">
              <a:xfrm>
                <a:off x="4891" y="1089"/>
                <a:ext cx="565" cy="565"/>
              </a:xfrm>
              <a:prstGeom prst="ellipse">
                <a:avLst/>
              </a:prstGeom>
              <a:grpFill/>
              <a:ln w="10795">
                <a:noFill/>
                <a:round/>
                <a:headEnd/>
                <a:tailEnd/>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grpSp>
          <p:nvGrpSpPr>
            <p:cNvPr id="277" name="Group 4"/>
            <p:cNvGrpSpPr>
              <a:grpSpLocks noChangeAspect="1"/>
            </p:cNvGrpSpPr>
            <p:nvPr/>
          </p:nvGrpSpPr>
          <p:grpSpPr bwMode="auto">
            <a:xfrm flipH="1">
              <a:off x="2103264" y="2977689"/>
              <a:ext cx="327409" cy="211261"/>
              <a:chOff x="1079" y="734"/>
              <a:chExt cx="1790" cy="1155"/>
            </a:xfrm>
            <a:solidFill>
              <a:schemeClr val="bg1"/>
            </a:solidFill>
          </p:grpSpPr>
          <p:sp>
            <p:nvSpPr>
              <p:cNvPr id="280" name="Freeform 5"/>
              <p:cNvSpPr>
                <a:spLocks noEditPoints="1"/>
              </p:cNvSpPr>
              <p:nvPr/>
            </p:nvSpPr>
            <p:spPr bwMode="auto">
              <a:xfrm>
                <a:off x="1079" y="852"/>
                <a:ext cx="1137" cy="1000"/>
              </a:xfrm>
              <a:custGeom>
                <a:avLst/>
                <a:gdLst>
                  <a:gd name="T0" fmla="*/ 65 w 1480"/>
                  <a:gd name="T1" fmla="*/ 1300 h 1301"/>
                  <a:gd name="T2" fmla="*/ 96 w 1480"/>
                  <a:gd name="T3" fmla="*/ 702 h 1301"/>
                  <a:gd name="T4" fmla="*/ 207 w 1480"/>
                  <a:gd name="T5" fmla="*/ 46 h 1301"/>
                  <a:gd name="T6" fmla="*/ 750 w 1480"/>
                  <a:gd name="T7" fmla="*/ 0 h 1301"/>
                  <a:gd name="T8" fmla="*/ 1294 w 1480"/>
                  <a:gd name="T9" fmla="*/ 51 h 1301"/>
                  <a:gd name="T10" fmla="*/ 1473 w 1480"/>
                  <a:gd name="T11" fmla="*/ 1230 h 1301"/>
                  <a:gd name="T12" fmla="*/ 958 w 1480"/>
                  <a:gd name="T13" fmla="*/ 1300 h 1301"/>
                  <a:gd name="T14" fmla="*/ 911 w 1480"/>
                  <a:gd name="T15" fmla="*/ 1100 h 1301"/>
                  <a:gd name="T16" fmla="*/ 926 w 1480"/>
                  <a:gd name="T17" fmla="*/ 887 h 1301"/>
                  <a:gd name="T18" fmla="*/ 582 w 1480"/>
                  <a:gd name="T19" fmla="*/ 860 h 1301"/>
                  <a:gd name="T20" fmla="*/ 538 w 1480"/>
                  <a:gd name="T21" fmla="*/ 1062 h 1301"/>
                  <a:gd name="T22" fmla="*/ 739 w 1480"/>
                  <a:gd name="T23" fmla="*/ 1100 h 1301"/>
                  <a:gd name="T24" fmla="*/ 882 w 1480"/>
                  <a:gd name="T25" fmla="*/ 773 h 1301"/>
                  <a:gd name="T26" fmla="*/ 897 w 1480"/>
                  <a:gd name="T27" fmla="*/ 582 h 1301"/>
                  <a:gd name="T28" fmla="*/ 614 w 1480"/>
                  <a:gd name="T29" fmla="*/ 550 h 1301"/>
                  <a:gd name="T30" fmla="*/ 570 w 1480"/>
                  <a:gd name="T31" fmla="*/ 737 h 1301"/>
                  <a:gd name="T32" fmla="*/ 741 w 1480"/>
                  <a:gd name="T33" fmla="*/ 773 h 1301"/>
                  <a:gd name="T34" fmla="*/ 852 w 1480"/>
                  <a:gd name="T35" fmla="*/ 463 h 1301"/>
                  <a:gd name="T36" fmla="*/ 878 w 1480"/>
                  <a:gd name="T37" fmla="*/ 374 h 1301"/>
                  <a:gd name="T38" fmla="*/ 827 w 1480"/>
                  <a:gd name="T39" fmla="*/ 200 h 1301"/>
                  <a:gd name="T40" fmla="*/ 620 w 1480"/>
                  <a:gd name="T41" fmla="*/ 226 h 1301"/>
                  <a:gd name="T42" fmla="*/ 634 w 1480"/>
                  <a:gd name="T43" fmla="*/ 463 h 1301"/>
                  <a:gd name="T44" fmla="*/ 1145 w 1480"/>
                  <a:gd name="T45" fmla="*/ 1100 h 1301"/>
                  <a:gd name="T46" fmla="*/ 1277 w 1480"/>
                  <a:gd name="T47" fmla="*/ 1067 h 1301"/>
                  <a:gd name="T48" fmla="*/ 1220 w 1480"/>
                  <a:gd name="T49" fmla="*/ 860 h 1301"/>
                  <a:gd name="T50" fmla="*/ 997 w 1480"/>
                  <a:gd name="T51" fmla="*/ 890 h 1301"/>
                  <a:gd name="T52" fmla="*/ 1047 w 1480"/>
                  <a:gd name="T53" fmla="*/ 1100 h 1301"/>
                  <a:gd name="T54" fmla="*/ 334 w 1480"/>
                  <a:gd name="T55" fmla="*/ 1100 h 1301"/>
                  <a:gd name="T56" fmla="*/ 466 w 1480"/>
                  <a:gd name="T57" fmla="*/ 1076 h 1301"/>
                  <a:gd name="T58" fmla="*/ 446 w 1480"/>
                  <a:gd name="T59" fmla="*/ 860 h 1301"/>
                  <a:gd name="T60" fmla="*/ 231 w 1480"/>
                  <a:gd name="T61" fmla="*/ 894 h 1301"/>
                  <a:gd name="T62" fmla="*/ 237 w 1480"/>
                  <a:gd name="T63" fmla="*/ 1100 h 1301"/>
                  <a:gd name="T64" fmla="*/ 1067 w 1480"/>
                  <a:gd name="T65" fmla="*/ 467 h 1301"/>
                  <a:gd name="T66" fmla="*/ 1179 w 1480"/>
                  <a:gd name="T67" fmla="*/ 427 h 1301"/>
                  <a:gd name="T68" fmla="*/ 1114 w 1480"/>
                  <a:gd name="T69" fmla="*/ 200 h 1301"/>
                  <a:gd name="T70" fmla="*/ 934 w 1480"/>
                  <a:gd name="T71" fmla="*/ 238 h 1301"/>
                  <a:gd name="T72" fmla="*/ 991 w 1480"/>
                  <a:gd name="T73" fmla="*/ 467 h 1301"/>
                  <a:gd name="T74" fmla="*/ 422 w 1480"/>
                  <a:gd name="T75" fmla="*/ 463 h 1301"/>
                  <a:gd name="T76" fmla="*/ 530 w 1480"/>
                  <a:gd name="T77" fmla="*/ 434 h 1301"/>
                  <a:gd name="T78" fmla="*/ 549 w 1480"/>
                  <a:gd name="T79" fmla="*/ 239 h 1301"/>
                  <a:gd name="T80" fmla="*/ 379 w 1480"/>
                  <a:gd name="T81" fmla="*/ 200 h 1301"/>
                  <a:gd name="T82" fmla="*/ 314 w 1480"/>
                  <a:gd name="T83" fmla="*/ 428 h 1301"/>
                  <a:gd name="T84" fmla="*/ 422 w 1480"/>
                  <a:gd name="T85" fmla="*/ 463 h 1301"/>
                  <a:gd name="T86" fmla="*/ 1197 w 1480"/>
                  <a:gd name="T87" fmla="*/ 776 h 1301"/>
                  <a:gd name="T88" fmla="*/ 1202 w 1480"/>
                  <a:gd name="T89" fmla="*/ 574 h 1301"/>
                  <a:gd name="T90" fmla="*/ 997 w 1480"/>
                  <a:gd name="T91" fmla="*/ 550 h 1301"/>
                  <a:gd name="T92" fmla="*/ 983 w 1480"/>
                  <a:gd name="T93" fmla="*/ 741 h 1301"/>
                  <a:gd name="T94" fmla="*/ 1109 w 1480"/>
                  <a:gd name="T95" fmla="*/ 776 h 1301"/>
                  <a:gd name="T96" fmla="*/ 466 w 1480"/>
                  <a:gd name="T97" fmla="*/ 773 h 1301"/>
                  <a:gd name="T98" fmla="*/ 513 w 1480"/>
                  <a:gd name="T99" fmla="*/ 585 h 1301"/>
                  <a:gd name="T100" fmla="*/ 322 w 1480"/>
                  <a:gd name="T101" fmla="*/ 547 h 1301"/>
                  <a:gd name="T102" fmla="*/ 260 w 1480"/>
                  <a:gd name="T103" fmla="*/ 735 h 1301"/>
                  <a:gd name="T104" fmla="*/ 378 w 1480"/>
                  <a:gd name="T105" fmla="*/ 773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0" h="1301">
                    <a:moveTo>
                      <a:pt x="525" y="1300"/>
                    </a:moveTo>
                    <a:cubicBezTo>
                      <a:pt x="372" y="1300"/>
                      <a:pt x="219" y="1299"/>
                      <a:pt x="65" y="1300"/>
                    </a:cubicBezTo>
                    <a:cubicBezTo>
                      <a:pt x="25" y="1301"/>
                      <a:pt x="0" y="1273"/>
                      <a:pt x="7" y="1232"/>
                    </a:cubicBezTo>
                    <a:cubicBezTo>
                      <a:pt x="36" y="1055"/>
                      <a:pt x="66" y="878"/>
                      <a:pt x="96" y="702"/>
                    </a:cubicBezTo>
                    <a:cubicBezTo>
                      <a:pt x="132" y="492"/>
                      <a:pt x="167" y="283"/>
                      <a:pt x="202" y="74"/>
                    </a:cubicBezTo>
                    <a:cubicBezTo>
                      <a:pt x="204" y="64"/>
                      <a:pt x="205" y="55"/>
                      <a:pt x="207" y="46"/>
                    </a:cubicBezTo>
                    <a:cubicBezTo>
                      <a:pt x="212" y="15"/>
                      <a:pt x="230" y="0"/>
                      <a:pt x="262" y="0"/>
                    </a:cubicBezTo>
                    <a:cubicBezTo>
                      <a:pt x="424" y="0"/>
                      <a:pt x="587" y="0"/>
                      <a:pt x="750" y="0"/>
                    </a:cubicBezTo>
                    <a:cubicBezTo>
                      <a:pt x="912" y="0"/>
                      <a:pt x="1074" y="0"/>
                      <a:pt x="1236" y="0"/>
                    </a:cubicBezTo>
                    <a:cubicBezTo>
                      <a:pt x="1272" y="0"/>
                      <a:pt x="1289" y="15"/>
                      <a:pt x="1294" y="51"/>
                    </a:cubicBezTo>
                    <a:cubicBezTo>
                      <a:pt x="1331" y="294"/>
                      <a:pt x="1368" y="537"/>
                      <a:pt x="1405" y="780"/>
                    </a:cubicBezTo>
                    <a:cubicBezTo>
                      <a:pt x="1428" y="930"/>
                      <a:pt x="1450" y="1080"/>
                      <a:pt x="1473" y="1230"/>
                    </a:cubicBezTo>
                    <a:cubicBezTo>
                      <a:pt x="1480" y="1272"/>
                      <a:pt x="1456" y="1301"/>
                      <a:pt x="1414" y="1300"/>
                    </a:cubicBezTo>
                    <a:cubicBezTo>
                      <a:pt x="1262" y="1299"/>
                      <a:pt x="1110" y="1300"/>
                      <a:pt x="958" y="1300"/>
                    </a:cubicBezTo>
                    <a:moveTo>
                      <a:pt x="739" y="1100"/>
                    </a:moveTo>
                    <a:cubicBezTo>
                      <a:pt x="796" y="1100"/>
                      <a:pt x="854" y="1100"/>
                      <a:pt x="911" y="1100"/>
                    </a:cubicBezTo>
                    <a:cubicBezTo>
                      <a:pt x="933" y="1099"/>
                      <a:pt x="945" y="1089"/>
                      <a:pt x="943" y="1068"/>
                    </a:cubicBezTo>
                    <a:cubicBezTo>
                      <a:pt x="938" y="1008"/>
                      <a:pt x="932" y="948"/>
                      <a:pt x="926" y="887"/>
                    </a:cubicBezTo>
                    <a:cubicBezTo>
                      <a:pt x="924" y="872"/>
                      <a:pt x="915" y="860"/>
                      <a:pt x="897" y="860"/>
                    </a:cubicBezTo>
                    <a:cubicBezTo>
                      <a:pt x="792" y="860"/>
                      <a:pt x="687" y="860"/>
                      <a:pt x="582" y="860"/>
                    </a:cubicBezTo>
                    <a:cubicBezTo>
                      <a:pt x="566" y="860"/>
                      <a:pt x="555" y="868"/>
                      <a:pt x="554" y="885"/>
                    </a:cubicBezTo>
                    <a:cubicBezTo>
                      <a:pt x="548" y="944"/>
                      <a:pt x="542" y="1003"/>
                      <a:pt x="538" y="1062"/>
                    </a:cubicBezTo>
                    <a:cubicBezTo>
                      <a:pt x="535" y="1089"/>
                      <a:pt x="546" y="1100"/>
                      <a:pt x="573" y="1100"/>
                    </a:cubicBezTo>
                    <a:cubicBezTo>
                      <a:pt x="629" y="1100"/>
                      <a:pt x="684" y="1100"/>
                      <a:pt x="739" y="1100"/>
                    </a:cubicBezTo>
                    <a:close/>
                    <a:moveTo>
                      <a:pt x="741" y="773"/>
                    </a:moveTo>
                    <a:cubicBezTo>
                      <a:pt x="788" y="773"/>
                      <a:pt x="835" y="773"/>
                      <a:pt x="882" y="773"/>
                    </a:cubicBezTo>
                    <a:cubicBezTo>
                      <a:pt x="906" y="772"/>
                      <a:pt x="916" y="762"/>
                      <a:pt x="913" y="739"/>
                    </a:cubicBezTo>
                    <a:cubicBezTo>
                      <a:pt x="908" y="686"/>
                      <a:pt x="903" y="634"/>
                      <a:pt x="897" y="582"/>
                    </a:cubicBezTo>
                    <a:cubicBezTo>
                      <a:pt x="895" y="565"/>
                      <a:pt x="888" y="550"/>
                      <a:pt x="868" y="550"/>
                    </a:cubicBezTo>
                    <a:cubicBezTo>
                      <a:pt x="783" y="549"/>
                      <a:pt x="699" y="550"/>
                      <a:pt x="614" y="550"/>
                    </a:cubicBezTo>
                    <a:cubicBezTo>
                      <a:pt x="598" y="550"/>
                      <a:pt x="588" y="559"/>
                      <a:pt x="586" y="576"/>
                    </a:cubicBezTo>
                    <a:cubicBezTo>
                      <a:pt x="581" y="629"/>
                      <a:pt x="575" y="683"/>
                      <a:pt x="570" y="737"/>
                    </a:cubicBezTo>
                    <a:cubicBezTo>
                      <a:pt x="568" y="764"/>
                      <a:pt x="577" y="772"/>
                      <a:pt x="605" y="773"/>
                    </a:cubicBezTo>
                    <a:cubicBezTo>
                      <a:pt x="650" y="773"/>
                      <a:pt x="695" y="773"/>
                      <a:pt x="741" y="773"/>
                    </a:cubicBezTo>
                    <a:close/>
                    <a:moveTo>
                      <a:pt x="742" y="463"/>
                    </a:moveTo>
                    <a:cubicBezTo>
                      <a:pt x="779" y="463"/>
                      <a:pt x="815" y="464"/>
                      <a:pt x="852" y="463"/>
                    </a:cubicBezTo>
                    <a:cubicBezTo>
                      <a:pt x="875" y="463"/>
                      <a:pt x="884" y="452"/>
                      <a:pt x="883" y="429"/>
                    </a:cubicBezTo>
                    <a:cubicBezTo>
                      <a:pt x="882" y="411"/>
                      <a:pt x="880" y="392"/>
                      <a:pt x="878" y="374"/>
                    </a:cubicBezTo>
                    <a:cubicBezTo>
                      <a:pt x="873" y="327"/>
                      <a:pt x="869" y="279"/>
                      <a:pt x="864" y="233"/>
                    </a:cubicBezTo>
                    <a:cubicBezTo>
                      <a:pt x="861" y="208"/>
                      <a:pt x="851" y="200"/>
                      <a:pt x="827" y="200"/>
                    </a:cubicBezTo>
                    <a:cubicBezTo>
                      <a:pt x="769" y="200"/>
                      <a:pt x="710" y="200"/>
                      <a:pt x="651" y="200"/>
                    </a:cubicBezTo>
                    <a:cubicBezTo>
                      <a:pt x="633" y="200"/>
                      <a:pt x="622" y="207"/>
                      <a:pt x="620" y="226"/>
                    </a:cubicBezTo>
                    <a:cubicBezTo>
                      <a:pt x="613" y="293"/>
                      <a:pt x="606" y="361"/>
                      <a:pt x="601" y="428"/>
                    </a:cubicBezTo>
                    <a:cubicBezTo>
                      <a:pt x="599" y="451"/>
                      <a:pt x="611" y="463"/>
                      <a:pt x="634" y="463"/>
                    </a:cubicBezTo>
                    <a:cubicBezTo>
                      <a:pt x="670" y="463"/>
                      <a:pt x="706" y="463"/>
                      <a:pt x="742" y="463"/>
                    </a:cubicBezTo>
                    <a:close/>
                    <a:moveTo>
                      <a:pt x="1145" y="1100"/>
                    </a:moveTo>
                    <a:cubicBezTo>
                      <a:pt x="1179" y="1100"/>
                      <a:pt x="1212" y="1100"/>
                      <a:pt x="1245" y="1100"/>
                    </a:cubicBezTo>
                    <a:cubicBezTo>
                      <a:pt x="1266" y="1099"/>
                      <a:pt x="1279" y="1086"/>
                      <a:pt x="1277" y="1067"/>
                    </a:cubicBezTo>
                    <a:cubicBezTo>
                      <a:pt x="1268" y="1007"/>
                      <a:pt x="1259" y="946"/>
                      <a:pt x="1250" y="886"/>
                    </a:cubicBezTo>
                    <a:cubicBezTo>
                      <a:pt x="1247" y="870"/>
                      <a:pt x="1238" y="860"/>
                      <a:pt x="1220" y="860"/>
                    </a:cubicBezTo>
                    <a:cubicBezTo>
                      <a:pt x="1155" y="860"/>
                      <a:pt x="1090" y="859"/>
                      <a:pt x="1026" y="860"/>
                    </a:cubicBezTo>
                    <a:cubicBezTo>
                      <a:pt x="1006" y="860"/>
                      <a:pt x="995" y="870"/>
                      <a:pt x="997" y="890"/>
                    </a:cubicBezTo>
                    <a:cubicBezTo>
                      <a:pt x="1002" y="950"/>
                      <a:pt x="1007" y="1010"/>
                      <a:pt x="1014" y="1071"/>
                    </a:cubicBezTo>
                    <a:cubicBezTo>
                      <a:pt x="1016" y="1091"/>
                      <a:pt x="1027" y="1099"/>
                      <a:pt x="1047" y="1100"/>
                    </a:cubicBezTo>
                    <a:cubicBezTo>
                      <a:pt x="1080" y="1100"/>
                      <a:pt x="1113" y="1100"/>
                      <a:pt x="1145" y="1100"/>
                    </a:cubicBezTo>
                    <a:close/>
                    <a:moveTo>
                      <a:pt x="334" y="1100"/>
                    </a:moveTo>
                    <a:cubicBezTo>
                      <a:pt x="368" y="1100"/>
                      <a:pt x="402" y="1100"/>
                      <a:pt x="436" y="1100"/>
                    </a:cubicBezTo>
                    <a:cubicBezTo>
                      <a:pt x="452" y="1100"/>
                      <a:pt x="464" y="1093"/>
                      <a:pt x="466" y="1076"/>
                    </a:cubicBezTo>
                    <a:cubicBezTo>
                      <a:pt x="472" y="1016"/>
                      <a:pt x="478" y="956"/>
                      <a:pt x="482" y="896"/>
                    </a:cubicBezTo>
                    <a:cubicBezTo>
                      <a:pt x="484" y="870"/>
                      <a:pt x="473" y="860"/>
                      <a:pt x="446" y="860"/>
                    </a:cubicBezTo>
                    <a:cubicBezTo>
                      <a:pt x="388" y="860"/>
                      <a:pt x="331" y="860"/>
                      <a:pt x="273" y="860"/>
                    </a:cubicBezTo>
                    <a:cubicBezTo>
                      <a:pt x="244" y="860"/>
                      <a:pt x="236" y="865"/>
                      <a:pt x="231" y="894"/>
                    </a:cubicBezTo>
                    <a:cubicBezTo>
                      <a:pt x="222" y="950"/>
                      <a:pt x="213" y="1005"/>
                      <a:pt x="204" y="1061"/>
                    </a:cubicBezTo>
                    <a:cubicBezTo>
                      <a:pt x="200" y="1085"/>
                      <a:pt x="212" y="1099"/>
                      <a:pt x="237" y="1100"/>
                    </a:cubicBezTo>
                    <a:cubicBezTo>
                      <a:pt x="269" y="1100"/>
                      <a:pt x="302" y="1100"/>
                      <a:pt x="334" y="1100"/>
                    </a:cubicBezTo>
                    <a:close/>
                    <a:moveTo>
                      <a:pt x="1067" y="467"/>
                    </a:moveTo>
                    <a:cubicBezTo>
                      <a:pt x="1093" y="467"/>
                      <a:pt x="1119" y="467"/>
                      <a:pt x="1145" y="467"/>
                    </a:cubicBezTo>
                    <a:cubicBezTo>
                      <a:pt x="1171" y="466"/>
                      <a:pt x="1183" y="453"/>
                      <a:pt x="1179" y="427"/>
                    </a:cubicBezTo>
                    <a:cubicBezTo>
                      <a:pt x="1170" y="361"/>
                      <a:pt x="1160" y="296"/>
                      <a:pt x="1150" y="230"/>
                    </a:cubicBezTo>
                    <a:cubicBezTo>
                      <a:pt x="1147" y="207"/>
                      <a:pt x="1138" y="200"/>
                      <a:pt x="1114" y="200"/>
                    </a:cubicBezTo>
                    <a:cubicBezTo>
                      <a:pt x="1066" y="200"/>
                      <a:pt x="1018" y="200"/>
                      <a:pt x="970" y="200"/>
                    </a:cubicBezTo>
                    <a:cubicBezTo>
                      <a:pt x="940" y="200"/>
                      <a:pt x="931" y="208"/>
                      <a:pt x="934" y="238"/>
                    </a:cubicBezTo>
                    <a:cubicBezTo>
                      <a:pt x="940" y="303"/>
                      <a:pt x="947" y="368"/>
                      <a:pt x="953" y="433"/>
                    </a:cubicBezTo>
                    <a:cubicBezTo>
                      <a:pt x="956" y="457"/>
                      <a:pt x="966" y="466"/>
                      <a:pt x="991" y="467"/>
                    </a:cubicBezTo>
                    <a:cubicBezTo>
                      <a:pt x="1017" y="467"/>
                      <a:pt x="1042" y="467"/>
                      <a:pt x="1067" y="467"/>
                    </a:cubicBezTo>
                    <a:close/>
                    <a:moveTo>
                      <a:pt x="422" y="463"/>
                    </a:moveTo>
                    <a:cubicBezTo>
                      <a:pt x="447" y="463"/>
                      <a:pt x="473" y="464"/>
                      <a:pt x="498" y="463"/>
                    </a:cubicBezTo>
                    <a:cubicBezTo>
                      <a:pt x="519" y="463"/>
                      <a:pt x="528" y="454"/>
                      <a:pt x="530" y="434"/>
                    </a:cubicBezTo>
                    <a:cubicBezTo>
                      <a:pt x="531" y="428"/>
                      <a:pt x="531" y="422"/>
                      <a:pt x="532" y="416"/>
                    </a:cubicBezTo>
                    <a:cubicBezTo>
                      <a:pt x="538" y="357"/>
                      <a:pt x="544" y="298"/>
                      <a:pt x="549" y="239"/>
                    </a:cubicBezTo>
                    <a:cubicBezTo>
                      <a:pt x="552" y="212"/>
                      <a:pt x="540" y="200"/>
                      <a:pt x="513" y="200"/>
                    </a:cubicBezTo>
                    <a:cubicBezTo>
                      <a:pt x="468" y="200"/>
                      <a:pt x="424" y="200"/>
                      <a:pt x="379" y="200"/>
                    </a:cubicBezTo>
                    <a:cubicBezTo>
                      <a:pt x="362" y="199"/>
                      <a:pt x="350" y="207"/>
                      <a:pt x="347" y="223"/>
                    </a:cubicBezTo>
                    <a:cubicBezTo>
                      <a:pt x="335" y="291"/>
                      <a:pt x="324" y="359"/>
                      <a:pt x="314" y="428"/>
                    </a:cubicBezTo>
                    <a:cubicBezTo>
                      <a:pt x="311" y="451"/>
                      <a:pt x="323" y="463"/>
                      <a:pt x="346" y="463"/>
                    </a:cubicBezTo>
                    <a:cubicBezTo>
                      <a:pt x="371" y="464"/>
                      <a:pt x="397" y="463"/>
                      <a:pt x="422" y="463"/>
                    </a:cubicBezTo>
                    <a:close/>
                    <a:moveTo>
                      <a:pt x="1109" y="776"/>
                    </a:moveTo>
                    <a:cubicBezTo>
                      <a:pt x="1138" y="776"/>
                      <a:pt x="1168" y="776"/>
                      <a:pt x="1197" y="776"/>
                    </a:cubicBezTo>
                    <a:cubicBezTo>
                      <a:pt x="1220" y="776"/>
                      <a:pt x="1233" y="764"/>
                      <a:pt x="1230" y="741"/>
                    </a:cubicBezTo>
                    <a:cubicBezTo>
                      <a:pt x="1222" y="685"/>
                      <a:pt x="1212" y="630"/>
                      <a:pt x="1202" y="574"/>
                    </a:cubicBezTo>
                    <a:cubicBezTo>
                      <a:pt x="1200" y="558"/>
                      <a:pt x="1189" y="550"/>
                      <a:pt x="1173" y="550"/>
                    </a:cubicBezTo>
                    <a:cubicBezTo>
                      <a:pt x="1114" y="550"/>
                      <a:pt x="1056" y="549"/>
                      <a:pt x="997" y="550"/>
                    </a:cubicBezTo>
                    <a:cubicBezTo>
                      <a:pt x="974" y="550"/>
                      <a:pt x="964" y="561"/>
                      <a:pt x="967" y="584"/>
                    </a:cubicBezTo>
                    <a:cubicBezTo>
                      <a:pt x="972" y="637"/>
                      <a:pt x="977" y="689"/>
                      <a:pt x="983" y="741"/>
                    </a:cubicBezTo>
                    <a:cubicBezTo>
                      <a:pt x="985" y="764"/>
                      <a:pt x="998" y="776"/>
                      <a:pt x="1021" y="776"/>
                    </a:cubicBezTo>
                    <a:cubicBezTo>
                      <a:pt x="1050" y="776"/>
                      <a:pt x="1080" y="776"/>
                      <a:pt x="1109" y="776"/>
                    </a:cubicBezTo>
                    <a:close/>
                    <a:moveTo>
                      <a:pt x="378" y="773"/>
                    </a:moveTo>
                    <a:cubicBezTo>
                      <a:pt x="407" y="773"/>
                      <a:pt x="437" y="772"/>
                      <a:pt x="466" y="773"/>
                    </a:cubicBezTo>
                    <a:cubicBezTo>
                      <a:pt x="486" y="773"/>
                      <a:pt x="495" y="763"/>
                      <a:pt x="497" y="744"/>
                    </a:cubicBezTo>
                    <a:cubicBezTo>
                      <a:pt x="503" y="691"/>
                      <a:pt x="508" y="638"/>
                      <a:pt x="513" y="585"/>
                    </a:cubicBezTo>
                    <a:cubicBezTo>
                      <a:pt x="516" y="559"/>
                      <a:pt x="505" y="547"/>
                      <a:pt x="478" y="547"/>
                    </a:cubicBezTo>
                    <a:cubicBezTo>
                      <a:pt x="426" y="547"/>
                      <a:pt x="374" y="547"/>
                      <a:pt x="322" y="547"/>
                    </a:cubicBezTo>
                    <a:cubicBezTo>
                      <a:pt x="300" y="547"/>
                      <a:pt x="290" y="555"/>
                      <a:pt x="286" y="578"/>
                    </a:cubicBezTo>
                    <a:cubicBezTo>
                      <a:pt x="277" y="630"/>
                      <a:pt x="269" y="683"/>
                      <a:pt x="260" y="735"/>
                    </a:cubicBezTo>
                    <a:cubicBezTo>
                      <a:pt x="257" y="759"/>
                      <a:pt x="269" y="772"/>
                      <a:pt x="292" y="773"/>
                    </a:cubicBezTo>
                    <a:cubicBezTo>
                      <a:pt x="321" y="773"/>
                      <a:pt x="349" y="773"/>
                      <a:pt x="378" y="7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6"/>
              <p:cNvSpPr>
                <a:spLocks/>
              </p:cNvSpPr>
              <p:nvPr/>
            </p:nvSpPr>
            <p:spPr bwMode="auto">
              <a:xfrm>
                <a:off x="2149" y="914"/>
                <a:ext cx="493" cy="755"/>
              </a:xfrm>
              <a:custGeom>
                <a:avLst/>
                <a:gdLst>
                  <a:gd name="T0" fmla="*/ 642 w 642"/>
                  <a:gd name="T1" fmla="*/ 520 h 983"/>
                  <a:gd name="T2" fmla="*/ 173 w 642"/>
                  <a:gd name="T3" fmla="*/ 976 h 983"/>
                  <a:gd name="T4" fmla="*/ 127 w 642"/>
                  <a:gd name="T5" fmla="*/ 936 h 983"/>
                  <a:gd name="T6" fmla="*/ 38 w 642"/>
                  <a:gd name="T7" fmla="*/ 359 h 983"/>
                  <a:gd name="T8" fmla="*/ 5 w 642"/>
                  <a:gd name="T9" fmla="*/ 144 h 983"/>
                  <a:gd name="T10" fmla="*/ 40 w 642"/>
                  <a:gd name="T11" fmla="*/ 88 h 983"/>
                  <a:gd name="T12" fmla="*/ 630 w 642"/>
                  <a:gd name="T13" fmla="*/ 425 h 983"/>
                  <a:gd name="T14" fmla="*/ 642 w 642"/>
                  <a:gd name="T15" fmla="*/ 520 h 9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2" h="983">
                    <a:moveTo>
                      <a:pt x="642" y="520"/>
                    </a:moveTo>
                    <a:cubicBezTo>
                      <a:pt x="640" y="777"/>
                      <a:pt x="429" y="983"/>
                      <a:pt x="173" y="976"/>
                    </a:cubicBezTo>
                    <a:cubicBezTo>
                      <a:pt x="147" y="975"/>
                      <a:pt x="131" y="962"/>
                      <a:pt x="127" y="936"/>
                    </a:cubicBezTo>
                    <a:cubicBezTo>
                      <a:pt x="97" y="744"/>
                      <a:pt x="67" y="551"/>
                      <a:pt x="38" y="359"/>
                    </a:cubicBezTo>
                    <a:cubicBezTo>
                      <a:pt x="27" y="287"/>
                      <a:pt x="16" y="216"/>
                      <a:pt x="5" y="144"/>
                    </a:cubicBezTo>
                    <a:cubicBezTo>
                      <a:pt x="0" y="115"/>
                      <a:pt x="11" y="98"/>
                      <a:pt x="40" y="88"/>
                    </a:cubicBezTo>
                    <a:cubicBezTo>
                      <a:pt x="293" y="0"/>
                      <a:pt x="577" y="163"/>
                      <a:pt x="630" y="425"/>
                    </a:cubicBezTo>
                    <a:cubicBezTo>
                      <a:pt x="636" y="457"/>
                      <a:pt x="638" y="489"/>
                      <a:pt x="642" y="5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7"/>
              <p:cNvSpPr>
                <a:spLocks/>
              </p:cNvSpPr>
              <p:nvPr/>
            </p:nvSpPr>
            <p:spPr bwMode="auto">
              <a:xfrm>
                <a:off x="2395" y="734"/>
                <a:ext cx="145" cy="170"/>
              </a:xfrm>
              <a:custGeom>
                <a:avLst/>
                <a:gdLst>
                  <a:gd name="T0" fmla="*/ 0 w 189"/>
                  <a:gd name="T1" fmla="*/ 147 h 221"/>
                  <a:gd name="T2" fmla="*/ 9 w 189"/>
                  <a:gd name="T3" fmla="*/ 134 h 221"/>
                  <a:gd name="T4" fmla="*/ 145 w 189"/>
                  <a:gd name="T5" fmla="*/ 7 h 221"/>
                  <a:gd name="T6" fmla="*/ 168 w 189"/>
                  <a:gd name="T7" fmla="*/ 2 h 221"/>
                  <a:gd name="T8" fmla="*/ 180 w 189"/>
                  <a:gd name="T9" fmla="*/ 20 h 221"/>
                  <a:gd name="T10" fmla="*/ 189 w 189"/>
                  <a:gd name="T11" fmla="*/ 215 h 221"/>
                  <a:gd name="T12" fmla="*/ 188 w 189"/>
                  <a:gd name="T13" fmla="*/ 221 h 221"/>
                  <a:gd name="T14" fmla="*/ 0 w 189"/>
                  <a:gd name="T15" fmla="*/ 147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21">
                    <a:moveTo>
                      <a:pt x="0" y="147"/>
                    </a:moveTo>
                    <a:cubicBezTo>
                      <a:pt x="2" y="144"/>
                      <a:pt x="5" y="138"/>
                      <a:pt x="9" y="134"/>
                    </a:cubicBezTo>
                    <a:cubicBezTo>
                      <a:pt x="54" y="91"/>
                      <a:pt x="99" y="49"/>
                      <a:pt x="145" y="7"/>
                    </a:cubicBezTo>
                    <a:cubicBezTo>
                      <a:pt x="151" y="2"/>
                      <a:pt x="162" y="0"/>
                      <a:pt x="168" y="2"/>
                    </a:cubicBezTo>
                    <a:cubicBezTo>
                      <a:pt x="173" y="3"/>
                      <a:pt x="179" y="13"/>
                      <a:pt x="180" y="20"/>
                    </a:cubicBezTo>
                    <a:cubicBezTo>
                      <a:pt x="183" y="85"/>
                      <a:pt x="186" y="150"/>
                      <a:pt x="189" y="215"/>
                    </a:cubicBezTo>
                    <a:cubicBezTo>
                      <a:pt x="189" y="218"/>
                      <a:pt x="188" y="220"/>
                      <a:pt x="188" y="221"/>
                    </a:cubicBezTo>
                    <a:cubicBezTo>
                      <a:pt x="126" y="196"/>
                      <a:pt x="64" y="172"/>
                      <a:pt x="0"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8"/>
              <p:cNvSpPr>
                <a:spLocks/>
              </p:cNvSpPr>
              <p:nvPr/>
            </p:nvSpPr>
            <p:spPr bwMode="auto">
              <a:xfrm>
                <a:off x="2696" y="1057"/>
                <a:ext cx="171" cy="144"/>
              </a:xfrm>
              <a:custGeom>
                <a:avLst/>
                <a:gdLst>
                  <a:gd name="T0" fmla="*/ 79 w 222"/>
                  <a:gd name="T1" fmla="*/ 187 h 187"/>
                  <a:gd name="T2" fmla="*/ 0 w 222"/>
                  <a:gd name="T3" fmla="*/ 0 h 187"/>
                  <a:gd name="T4" fmla="*/ 19 w 222"/>
                  <a:gd name="T5" fmla="*/ 0 h 187"/>
                  <a:gd name="T6" fmla="*/ 192 w 222"/>
                  <a:gd name="T7" fmla="*/ 6 h 187"/>
                  <a:gd name="T8" fmla="*/ 219 w 222"/>
                  <a:gd name="T9" fmla="*/ 17 h 187"/>
                  <a:gd name="T10" fmla="*/ 210 w 222"/>
                  <a:gd name="T11" fmla="*/ 44 h 187"/>
                  <a:gd name="T12" fmla="*/ 89 w 222"/>
                  <a:gd name="T13" fmla="*/ 177 h 187"/>
                  <a:gd name="T14" fmla="*/ 79 w 222"/>
                  <a:gd name="T15" fmla="*/ 187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187">
                    <a:moveTo>
                      <a:pt x="79" y="187"/>
                    </a:moveTo>
                    <a:cubicBezTo>
                      <a:pt x="52" y="124"/>
                      <a:pt x="26" y="63"/>
                      <a:pt x="0" y="0"/>
                    </a:cubicBezTo>
                    <a:cubicBezTo>
                      <a:pt x="5" y="0"/>
                      <a:pt x="12" y="0"/>
                      <a:pt x="19" y="0"/>
                    </a:cubicBezTo>
                    <a:cubicBezTo>
                      <a:pt x="77" y="2"/>
                      <a:pt x="135" y="3"/>
                      <a:pt x="192" y="6"/>
                    </a:cubicBezTo>
                    <a:cubicBezTo>
                      <a:pt x="202" y="6"/>
                      <a:pt x="216" y="10"/>
                      <a:pt x="219" y="17"/>
                    </a:cubicBezTo>
                    <a:cubicBezTo>
                      <a:pt x="222" y="23"/>
                      <a:pt x="216" y="37"/>
                      <a:pt x="210" y="44"/>
                    </a:cubicBezTo>
                    <a:cubicBezTo>
                      <a:pt x="170" y="89"/>
                      <a:pt x="129" y="133"/>
                      <a:pt x="89" y="177"/>
                    </a:cubicBezTo>
                    <a:cubicBezTo>
                      <a:pt x="86" y="181"/>
                      <a:pt x="81" y="184"/>
                      <a:pt x="79"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9"/>
              <p:cNvSpPr>
                <a:spLocks/>
              </p:cNvSpPr>
              <p:nvPr/>
            </p:nvSpPr>
            <p:spPr bwMode="auto">
              <a:xfrm>
                <a:off x="2405" y="1718"/>
                <a:ext cx="144" cy="171"/>
              </a:xfrm>
              <a:custGeom>
                <a:avLst/>
                <a:gdLst>
                  <a:gd name="T0" fmla="*/ 0 w 187"/>
                  <a:gd name="T1" fmla="*/ 80 h 222"/>
                  <a:gd name="T2" fmla="*/ 185 w 187"/>
                  <a:gd name="T3" fmla="*/ 0 h 222"/>
                  <a:gd name="T4" fmla="*/ 186 w 187"/>
                  <a:gd name="T5" fmla="*/ 9 h 222"/>
                  <a:gd name="T6" fmla="*/ 180 w 187"/>
                  <a:gd name="T7" fmla="*/ 199 h 222"/>
                  <a:gd name="T8" fmla="*/ 168 w 187"/>
                  <a:gd name="T9" fmla="*/ 220 h 222"/>
                  <a:gd name="T10" fmla="*/ 148 w 187"/>
                  <a:gd name="T11" fmla="*/ 215 h 222"/>
                  <a:gd name="T12" fmla="*/ 1 w 187"/>
                  <a:gd name="T13" fmla="*/ 80 h 222"/>
                  <a:gd name="T14" fmla="*/ 0 w 187"/>
                  <a:gd name="T15" fmla="*/ 80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222">
                    <a:moveTo>
                      <a:pt x="0" y="80"/>
                    </a:moveTo>
                    <a:cubicBezTo>
                      <a:pt x="62" y="53"/>
                      <a:pt x="123" y="27"/>
                      <a:pt x="185" y="0"/>
                    </a:cubicBezTo>
                    <a:cubicBezTo>
                      <a:pt x="185" y="0"/>
                      <a:pt x="187" y="5"/>
                      <a:pt x="186" y="9"/>
                    </a:cubicBezTo>
                    <a:cubicBezTo>
                      <a:pt x="184" y="73"/>
                      <a:pt x="183" y="136"/>
                      <a:pt x="180" y="199"/>
                    </a:cubicBezTo>
                    <a:cubicBezTo>
                      <a:pt x="179" y="206"/>
                      <a:pt x="174" y="216"/>
                      <a:pt x="168" y="220"/>
                    </a:cubicBezTo>
                    <a:cubicBezTo>
                      <a:pt x="164" y="222"/>
                      <a:pt x="153" y="219"/>
                      <a:pt x="148" y="215"/>
                    </a:cubicBezTo>
                    <a:cubicBezTo>
                      <a:pt x="99" y="171"/>
                      <a:pt x="50" y="125"/>
                      <a:pt x="1" y="80"/>
                    </a:cubicBezTo>
                    <a:cubicBezTo>
                      <a:pt x="0" y="80"/>
                      <a:pt x="0" y="78"/>
                      <a:pt x="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0"/>
              <p:cNvSpPr>
                <a:spLocks/>
              </p:cNvSpPr>
              <p:nvPr/>
            </p:nvSpPr>
            <p:spPr bwMode="auto">
              <a:xfrm>
                <a:off x="2699" y="1420"/>
                <a:ext cx="170" cy="144"/>
              </a:xfrm>
              <a:custGeom>
                <a:avLst/>
                <a:gdLst>
                  <a:gd name="T0" fmla="*/ 0 w 222"/>
                  <a:gd name="T1" fmla="*/ 186 h 187"/>
                  <a:gd name="T2" fmla="*/ 76 w 222"/>
                  <a:gd name="T3" fmla="*/ 0 h 187"/>
                  <a:gd name="T4" fmla="*/ 86 w 222"/>
                  <a:gd name="T5" fmla="*/ 10 h 187"/>
                  <a:gd name="T6" fmla="*/ 210 w 222"/>
                  <a:gd name="T7" fmla="*/ 140 h 187"/>
                  <a:gd name="T8" fmla="*/ 219 w 222"/>
                  <a:gd name="T9" fmla="*/ 165 h 187"/>
                  <a:gd name="T10" fmla="*/ 195 w 222"/>
                  <a:gd name="T11" fmla="*/ 177 h 187"/>
                  <a:gd name="T12" fmla="*/ 12 w 222"/>
                  <a:gd name="T13" fmla="*/ 187 h 187"/>
                  <a:gd name="T14" fmla="*/ 0 w 222"/>
                  <a:gd name="T15" fmla="*/ 186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187">
                    <a:moveTo>
                      <a:pt x="0" y="186"/>
                    </a:moveTo>
                    <a:cubicBezTo>
                      <a:pt x="26" y="124"/>
                      <a:pt x="51" y="62"/>
                      <a:pt x="76" y="0"/>
                    </a:cubicBezTo>
                    <a:cubicBezTo>
                      <a:pt x="78" y="2"/>
                      <a:pt x="82" y="6"/>
                      <a:pt x="86" y="10"/>
                    </a:cubicBezTo>
                    <a:cubicBezTo>
                      <a:pt x="128" y="53"/>
                      <a:pt x="170" y="96"/>
                      <a:pt x="210" y="140"/>
                    </a:cubicBezTo>
                    <a:cubicBezTo>
                      <a:pt x="216" y="146"/>
                      <a:pt x="222" y="159"/>
                      <a:pt x="219" y="165"/>
                    </a:cubicBezTo>
                    <a:cubicBezTo>
                      <a:pt x="217" y="171"/>
                      <a:pt x="204" y="176"/>
                      <a:pt x="195" y="177"/>
                    </a:cubicBezTo>
                    <a:cubicBezTo>
                      <a:pt x="134" y="181"/>
                      <a:pt x="73" y="184"/>
                      <a:pt x="12" y="187"/>
                    </a:cubicBezTo>
                    <a:cubicBezTo>
                      <a:pt x="7" y="187"/>
                      <a:pt x="2" y="186"/>
                      <a:pt x="0" y="1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8" name="Freeform 21"/>
            <p:cNvSpPr>
              <a:spLocks noEditPoints="1"/>
            </p:cNvSpPr>
            <p:nvPr/>
          </p:nvSpPr>
          <p:spPr bwMode="auto">
            <a:xfrm flipH="1">
              <a:off x="2105978" y="3343541"/>
              <a:ext cx="324916" cy="190249"/>
            </a:xfrm>
            <a:custGeom>
              <a:avLst/>
              <a:gdLst>
                <a:gd name="T0" fmla="*/ 1471 w 2162"/>
                <a:gd name="T1" fmla="*/ 879 h 1265"/>
                <a:gd name="T2" fmla="*/ 1813 w 2162"/>
                <a:gd name="T3" fmla="*/ 879 h 1265"/>
                <a:gd name="T4" fmla="*/ 1875 w 2162"/>
                <a:gd name="T5" fmla="*/ 633 h 1265"/>
                <a:gd name="T6" fmla="*/ 1826 w 2162"/>
                <a:gd name="T7" fmla="*/ 576 h 1265"/>
                <a:gd name="T8" fmla="*/ 1776 w 2162"/>
                <a:gd name="T9" fmla="*/ 473 h 1265"/>
                <a:gd name="T10" fmla="*/ 1707 w 2162"/>
                <a:gd name="T11" fmla="*/ 211 h 1265"/>
                <a:gd name="T12" fmla="*/ 1782 w 2162"/>
                <a:gd name="T13" fmla="*/ 173 h 1265"/>
                <a:gd name="T14" fmla="*/ 1783 w 2162"/>
                <a:gd name="T15" fmla="*/ 42 h 1265"/>
                <a:gd name="T16" fmla="*/ 1848 w 2162"/>
                <a:gd name="T17" fmla="*/ 43 h 1265"/>
                <a:gd name="T18" fmla="*/ 1849 w 2162"/>
                <a:gd name="T19" fmla="*/ 171 h 1265"/>
                <a:gd name="T20" fmla="*/ 2021 w 2162"/>
                <a:gd name="T21" fmla="*/ 53 h 1265"/>
                <a:gd name="T22" fmla="*/ 2087 w 2162"/>
                <a:gd name="T23" fmla="*/ 53 h 1265"/>
                <a:gd name="T24" fmla="*/ 2125 w 2162"/>
                <a:gd name="T25" fmla="*/ 173 h 1265"/>
                <a:gd name="T26" fmla="*/ 2139 w 2162"/>
                <a:gd name="T27" fmla="*/ 442 h 1265"/>
                <a:gd name="T28" fmla="*/ 2048 w 2162"/>
                <a:gd name="T29" fmla="*/ 473 h 1265"/>
                <a:gd name="T30" fmla="*/ 2001 w 2162"/>
                <a:gd name="T31" fmla="*/ 633 h 1265"/>
                <a:gd name="T32" fmla="*/ 2001 w 2162"/>
                <a:gd name="T33" fmla="*/ 893 h 1265"/>
                <a:gd name="T34" fmla="*/ 1498 w 2162"/>
                <a:gd name="T35" fmla="*/ 1005 h 1265"/>
                <a:gd name="T36" fmla="*/ 1472 w 2162"/>
                <a:gd name="T37" fmla="*/ 1123 h 1265"/>
                <a:gd name="T38" fmla="*/ 1355 w 2162"/>
                <a:gd name="T39" fmla="*/ 1259 h 1265"/>
                <a:gd name="T40" fmla="*/ 1257 w 2162"/>
                <a:gd name="T41" fmla="*/ 1092 h 1265"/>
                <a:gd name="T42" fmla="*/ 276 w 2162"/>
                <a:gd name="T43" fmla="*/ 1155 h 1265"/>
                <a:gd name="T44" fmla="*/ 66 w 2162"/>
                <a:gd name="T45" fmla="*/ 1178 h 1265"/>
                <a:gd name="T46" fmla="*/ 63 w 2162"/>
                <a:gd name="T47" fmla="*/ 742 h 1265"/>
                <a:gd name="T48" fmla="*/ 121 w 2162"/>
                <a:gd name="T49" fmla="*/ 509 h 1265"/>
                <a:gd name="T50" fmla="*/ 1 w 2162"/>
                <a:gd name="T51" fmla="*/ 426 h 1265"/>
                <a:gd name="T52" fmla="*/ 168 w 2162"/>
                <a:gd name="T53" fmla="*/ 341 h 1265"/>
                <a:gd name="T54" fmla="*/ 252 w 2162"/>
                <a:gd name="T55" fmla="*/ 168 h 1265"/>
                <a:gd name="T56" fmla="*/ 856 w 2162"/>
                <a:gd name="T57" fmla="*/ 5 h 1265"/>
                <a:gd name="T58" fmla="*/ 1277 w 2162"/>
                <a:gd name="T59" fmla="*/ 157 h 1265"/>
                <a:gd name="T60" fmla="*/ 1364 w 2162"/>
                <a:gd name="T61" fmla="*/ 340 h 1265"/>
                <a:gd name="T62" fmla="*/ 1532 w 2162"/>
                <a:gd name="T63" fmla="*/ 424 h 1265"/>
                <a:gd name="T64" fmla="*/ 1411 w 2162"/>
                <a:gd name="T65" fmla="*/ 509 h 1265"/>
                <a:gd name="T66" fmla="*/ 1231 w 2162"/>
                <a:gd name="T67" fmla="*/ 479 h 1265"/>
                <a:gd name="T68" fmla="*/ 1179 w 2162"/>
                <a:gd name="T69" fmla="*/ 224 h 1265"/>
                <a:gd name="T70" fmla="*/ 408 w 2162"/>
                <a:gd name="T71" fmla="*/ 187 h 1265"/>
                <a:gd name="T72" fmla="*/ 277 w 2162"/>
                <a:gd name="T73" fmla="*/ 437 h 1265"/>
                <a:gd name="T74" fmla="*/ 767 w 2162"/>
                <a:gd name="T75" fmla="*/ 479 h 1265"/>
                <a:gd name="T76" fmla="*/ 358 w 2162"/>
                <a:gd name="T77" fmla="*/ 831 h 1265"/>
                <a:gd name="T78" fmla="*/ 403 w 2162"/>
                <a:gd name="T79" fmla="*/ 719 h 1265"/>
                <a:gd name="T80" fmla="*/ 233 w 2162"/>
                <a:gd name="T81" fmla="*/ 663 h 1265"/>
                <a:gd name="T82" fmla="*/ 187 w 2162"/>
                <a:gd name="T83" fmla="*/ 786 h 1265"/>
                <a:gd name="T84" fmla="*/ 294 w 2162"/>
                <a:gd name="T85" fmla="*/ 831 h 1265"/>
                <a:gd name="T86" fmla="*/ 1300 w 2162"/>
                <a:gd name="T87" fmla="*/ 831 h 1265"/>
                <a:gd name="T88" fmla="*/ 1348 w 2162"/>
                <a:gd name="T89" fmla="*/ 712 h 1265"/>
                <a:gd name="T90" fmla="*/ 1170 w 2162"/>
                <a:gd name="T91" fmla="*/ 675 h 1265"/>
                <a:gd name="T92" fmla="*/ 1131 w 2162"/>
                <a:gd name="T93" fmla="*/ 785 h 1265"/>
                <a:gd name="T94" fmla="*/ 1240 w 2162"/>
                <a:gd name="T95" fmla="*/ 831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62" h="1265">
                  <a:moveTo>
                    <a:pt x="1411" y="509"/>
                  </a:moveTo>
                  <a:cubicBezTo>
                    <a:pt x="1470" y="628"/>
                    <a:pt x="1477" y="752"/>
                    <a:pt x="1471" y="879"/>
                  </a:cubicBezTo>
                  <a:cubicBezTo>
                    <a:pt x="1480" y="879"/>
                    <a:pt x="1487" y="879"/>
                    <a:pt x="1493" y="879"/>
                  </a:cubicBezTo>
                  <a:cubicBezTo>
                    <a:pt x="1600" y="879"/>
                    <a:pt x="1707" y="879"/>
                    <a:pt x="1813" y="879"/>
                  </a:cubicBezTo>
                  <a:cubicBezTo>
                    <a:pt x="1853" y="879"/>
                    <a:pt x="1874" y="859"/>
                    <a:pt x="1875" y="820"/>
                  </a:cubicBezTo>
                  <a:cubicBezTo>
                    <a:pt x="1876" y="758"/>
                    <a:pt x="1875" y="696"/>
                    <a:pt x="1875" y="633"/>
                  </a:cubicBezTo>
                  <a:cubicBezTo>
                    <a:pt x="1870" y="631"/>
                    <a:pt x="1865" y="629"/>
                    <a:pt x="1860" y="627"/>
                  </a:cubicBezTo>
                  <a:cubicBezTo>
                    <a:pt x="1838" y="619"/>
                    <a:pt x="1827" y="602"/>
                    <a:pt x="1826" y="576"/>
                  </a:cubicBezTo>
                  <a:cubicBezTo>
                    <a:pt x="1826" y="543"/>
                    <a:pt x="1826" y="510"/>
                    <a:pt x="1826" y="473"/>
                  </a:cubicBezTo>
                  <a:cubicBezTo>
                    <a:pt x="1810" y="473"/>
                    <a:pt x="1793" y="473"/>
                    <a:pt x="1776" y="473"/>
                  </a:cubicBezTo>
                  <a:cubicBezTo>
                    <a:pt x="1742" y="473"/>
                    <a:pt x="1734" y="466"/>
                    <a:pt x="1730" y="434"/>
                  </a:cubicBezTo>
                  <a:cubicBezTo>
                    <a:pt x="1722" y="359"/>
                    <a:pt x="1714" y="285"/>
                    <a:pt x="1707" y="211"/>
                  </a:cubicBezTo>
                  <a:cubicBezTo>
                    <a:pt x="1704" y="188"/>
                    <a:pt x="1716" y="174"/>
                    <a:pt x="1740" y="173"/>
                  </a:cubicBezTo>
                  <a:cubicBezTo>
                    <a:pt x="1753" y="172"/>
                    <a:pt x="1766" y="173"/>
                    <a:pt x="1782" y="173"/>
                  </a:cubicBezTo>
                  <a:cubicBezTo>
                    <a:pt x="1782" y="154"/>
                    <a:pt x="1782" y="138"/>
                    <a:pt x="1782" y="122"/>
                  </a:cubicBezTo>
                  <a:cubicBezTo>
                    <a:pt x="1782" y="95"/>
                    <a:pt x="1782" y="68"/>
                    <a:pt x="1783" y="42"/>
                  </a:cubicBezTo>
                  <a:cubicBezTo>
                    <a:pt x="1783" y="18"/>
                    <a:pt x="1795" y="4"/>
                    <a:pt x="1814" y="3"/>
                  </a:cubicBezTo>
                  <a:cubicBezTo>
                    <a:pt x="1834" y="3"/>
                    <a:pt x="1847" y="19"/>
                    <a:pt x="1848" y="43"/>
                  </a:cubicBezTo>
                  <a:cubicBezTo>
                    <a:pt x="1848" y="79"/>
                    <a:pt x="1848" y="115"/>
                    <a:pt x="1848" y="151"/>
                  </a:cubicBezTo>
                  <a:cubicBezTo>
                    <a:pt x="1848" y="157"/>
                    <a:pt x="1848" y="164"/>
                    <a:pt x="1849" y="171"/>
                  </a:cubicBezTo>
                  <a:cubicBezTo>
                    <a:pt x="1906" y="171"/>
                    <a:pt x="1962" y="171"/>
                    <a:pt x="2021" y="171"/>
                  </a:cubicBezTo>
                  <a:cubicBezTo>
                    <a:pt x="2021" y="131"/>
                    <a:pt x="2021" y="92"/>
                    <a:pt x="2021" y="53"/>
                  </a:cubicBezTo>
                  <a:cubicBezTo>
                    <a:pt x="2021" y="20"/>
                    <a:pt x="2032" y="3"/>
                    <a:pt x="2054" y="3"/>
                  </a:cubicBezTo>
                  <a:cubicBezTo>
                    <a:pt x="2076" y="3"/>
                    <a:pt x="2087" y="20"/>
                    <a:pt x="2087" y="53"/>
                  </a:cubicBezTo>
                  <a:cubicBezTo>
                    <a:pt x="2087" y="92"/>
                    <a:pt x="2087" y="130"/>
                    <a:pt x="2087" y="173"/>
                  </a:cubicBezTo>
                  <a:cubicBezTo>
                    <a:pt x="2100" y="173"/>
                    <a:pt x="2113" y="172"/>
                    <a:pt x="2125" y="173"/>
                  </a:cubicBezTo>
                  <a:cubicBezTo>
                    <a:pt x="2150" y="174"/>
                    <a:pt x="2162" y="186"/>
                    <a:pt x="2160" y="211"/>
                  </a:cubicBezTo>
                  <a:cubicBezTo>
                    <a:pt x="2154" y="288"/>
                    <a:pt x="2147" y="365"/>
                    <a:pt x="2139" y="442"/>
                  </a:cubicBezTo>
                  <a:cubicBezTo>
                    <a:pt x="2137" y="461"/>
                    <a:pt x="2126" y="472"/>
                    <a:pt x="2106" y="472"/>
                  </a:cubicBezTo>
                  <a:cubicBezTo>
                    <a:pt x="2088" y="473"/>
                    <a:pt x="2071" y="473"/>
                    <a:pt x="2048" y="473"/>
                  </a:cubicBezTo>
                  <a:cubicBezTo>
                    <a:pt x="2048" y="505"/>
                    <a:pt x="2049" y="534"/>
                    <a:pt x="2048" y="564"/>
                  </a:cubicBezTo>
                  <a:cubicBezTo>
                    <a:pt x="2048" y="606"/>
                    <a:pt x="2041" y="616"/>
                    <a:pt x="2001" y="633"/>
                  </a:cubicBezTo>
                  <a:cubicBezTo>
                    <a:pt x="2001" y="640"/>
                    <a:pt x="2001" y="648"/>
                    <a:pt x="2001" y="657"/>
                  </a:cubicBezTo>
                  <a:cubicBezTo>
                    <a:pt x="2001" y="736"/>
                    <a:pt x="2001" y="814"/>
                    <a:pt x="2001" y="893"/>
                  </a:cubicBezTo>
                  <a:cubicBezTo>
                    <a:pt x="2000" y="956"/>
                    <a:pt x="1951" y="1006"/>
                    <a:pt x="1886" y="1006"/>
                  </a:cubicBezTo>
                  <a:cubicBezTo>
                    <a:pt x="1757" y="1006"/>
                    <a:pt x="1627" y="1006"/>
                    <a:pt x="1498" y="1005"/>
                  </a:cubicBezTo>
                  <a:cubicBezTo>
                    <a:pt x="1490" y="1005"/>
                    <a:pt x="1482" y="1005"/>
                    <a:pt x="1472" y="1005"/>
                  </a:cubicBezTo>
                  <a:cubicBezTo>
                    <a:pt x="1472" y="1046"/>
                    <a:pt x="1472" y="1084"/>
                    <a:pt x="1472" y="1123"/>
                  </a:cubicBezTo>
                  <a:cubicBezTo>
                    <a:pt x="1472" y="1138"/>
                    <a:pt x="1473" y="1153"/>
                    <a:pt x="1470" y="1168"/>
                  </a:cubicBezTo>
                  <a:cubicBezTo>
                    <a:pt x="1461" y="1226"/>
                    <a:pt x="1412" y="1263"/>
                    <a:pt x="1355" y="1259"/>
                  </a:cubicBezTo>
                  <a:cubicBezTo>
                    <a:pt x="1301" y="1255"/>
                    <a:pt x="1259" y="1210"/>
                    <a:pt x="1257" y="1153"/>
                  </a:cubicBezTo>
                  <a:cubicBezTo>
                    <a:pt x="1256" y="1133"/>
                    <a:pt x="1257" y="1113"/>
                    <a:pt x="1257" y="1092"/>
                  </a:cubicBezTo>
                  <a:cubicBezTo>
                    <a:pt x="930" y="1092"/>
                    <a:pt x="605" y="1092"/>
                    <a:pt x="276" y="1092"/>
                  </a:cubicBezTo>
                  <a:cubicBezTo>
                    <a:pt x="276" y="1113"/>
                    <a:pt x="277" y="1134"/>
                    <a:pt x="276" y="1155"/>
                  </a:cubicBezTo>
                  <a:cubicBezTo>
                    <a:pt x="275" y="1208"/>
                    <a:pt x="235" y="1253"/>
                    <a:pt x="183" y="1259"/>
                  </a:cubicBezTo>
                  <a:cubicBezTo>
                    <a:pt x="129" y="1265"/>
                    <a:pt x="79" y="1231"/>
                    <a:pt x="66" y="1178"/>
                  </a:cubicBezTo>
                  <a:cubicBezTo>
                    <a:pt x="64" y="1171"/>
                    <a:pt x="63" y="1162"/>
                    <a:pt x="63" y="1154"/>
                  </a:cubicBezTo>
                  <a:cubicBezTo>
                    <a:pt x="63" y="1017"/>
                    <a:pt x="62" y="880"/>
                    <a:pt x="63" y="742"/>
                  </a:cubicBezTo>
                  <a:cubicBezTo>
                    <a:pt x="64" y="670"/>
                    <a:pt x="84" y="600"/>
                    <a:pt x="112" y="534"/>
                  </a:cubicBezTo>
                  <a:cubicBezTo>
                    <a:pt x="115" y="527"/>
                    <a:pt x="117" y="520"/>
                    <a:pt x="121" y="509"/>
                  </a:cubicBezTo>
                  <a:cubicBezTo>
                    <a:pt x="109" y="509"/>
                    <a:pt x="100" y="509"/>
                    <a:pt x="90" y="509"/>
                  </a:cubicBezTo>
                  <a:cubicBezTo>
                    <a:pt x="39" y="508"/>
                    <a:pt x="2" y="473"/>
                    <a:pt x="1" y="426"/>
                  </a:cubicBezTo>
                  <a:cubicBezTo>
                    <a:pt x="0" y="378"/>
                    <a:pt x="38" y="341"/>
                    <a:pt x="90" y="340"/>
                  </a:cubicBezTo>
                  <a:cubicBezTo>
                    <a:pt x="116" y="340"/>
                    <a:pt x="142" y="339"/>
                    <a:pt x="168" y="341"/>
                  </a:cubicBezTo>
                  <a:cubicBezTo>
                    <a:pt x="183" y="341"/>
                    <a:pt x="188" y="336"/>
                    <a:pt x="193" y="322"/>
                  </a:cubicBezTo>
                  <a:cubicBezTo>
                    <a:pt x="212" y="270"/>
                    <a:pt x="233" y="219"/>
                    <a:pt x="252" y="168"/>
                  </a:cubicBezTo>
                  <a:cubicBezTo>
                    <a:pt x="282" y="91"/>
                    <a:pt x="336" y="45"/>
                    <a:pt x="418" y="31"/>
                  </a:cubicBezTo>
                  <a:cubicBezTo>
                    <a:pt x="563" y="6"/>
                    <a:pt x="709" y="0"/>
                    <a:pt x="856" y="5"/>
                  </a:cubicBezTo>
                  <a:cubicBezTo>
                    <a:pt x="949" y="8"/>
                    <a:pt x="1042" y="15"/>
                    <a:pt x="1134" y="35"/>
                  </a:cubicBezTo>
                  <a:cubicBezTo>
                    <a:pt x="1203" y="50"/>
                    <a:pt x="1250" y="92"/>
                    <a:pt x="1277" y="157"/>
                  </a:cubicBezTo>
                  <a:cubicBezTo>
                    <a:pt x="1299" y="212"/>
                    <a:pt x="1320" y="268"/>
                    <a:pt x="1341" y="324"/>
                  </a:cubicBezTo>
                  <a:cubicBezTo>
                    <a:pt x="1346" y="336"/>
                    <a:pt x="1351" y="341"/>
                    <a:pt x="1364" y="340"/>
                  </a:cubicBezTo>
                  <a:cubicBezTo>
                    <a:pt x="1391" y="339"/>
                    <a:pt x="1418" y="340"/>
                    <a:pt x="1444" y="340"/>
                  </a:cubicBezTo>
                  <a:cubicBezTo>
                    <a:pt x="1496" y="341"/>
                    <a:pt x="1532" y="376"/>
                    <a:pt x="1532" y="424"/>
                  </a:cubicBezTo>
                  <a:cubicBezTo>
                    <a:pt x="1533" y="472"/>
                    <a:pt x="1497" y="507"/>
                    <a:pt x="1445" y="509"/>
                  </a:cubicBezTo>
                  <a:cubicBezTo>
                    <a:pt x="1436" y="509"/>
                    <a:pt x="1426" y="509"/>
                    <a:pt x="1411" y="509"/>
                  </a:cubicBezTo>
                  <a:close/>
                  <a:moveTo>
                    <a:pt x="767" y="479"/>
                  </a:moveTo>
                  <a:cubicBezTo>
                    <a:pt x="922" y="479"/>
                    <a:pt x="1076" y="479"/>
                    <a:pt x="1231" y="479"/>
                  </a:cubicBezTo>
                  <a:cubicBezTo>
                    <a:pt x="1263" y="479"/>
                    <a:pt x="1269" y="469"/>
                    <a:pt x="1258" y="439"/>
                  </a:cubicBezTo>
                  <a:cubicBezTo>
                    <a:pt x="1232" y="367"/>
                    <a:pt x="1205" y="296"/>
                    <a:pt x="1179" y="224"/>
                  </a:cubicBezTo>
                  <a:cubicBezTo>
                    <a:pt x="1169" y="197"/>
                    <a:pt x="1155" y="187"/>
                    <a:pt x="1126" y="187"/>
                  </a:cubicBezTo>
                  <a:cubicBezTo>
                    <a:pt x="887" y="187"/>
                    <a:pt x="647" y="187"/>
                    <a:pt x="408" y="187"/>
                  </a:cubicBezTo>
                  <a:cubicBezTo>
                    <a:pt x="379" y="187"/>
                    <a:pt x="365" y="197"/>
                    <a:pt x="355" y="224"/>
                  </a:cubicBezTo>
                  <a:cubicBezTo>
                    <a:pt x="329" y="295"/>
                    <a:pt x="303" y="366"/>
                    <a:pt x="277" y="437"/>
                  </a:cubicBezTo>
                  <a:cubicBezTo>
                    <a:pt x="265" y="469"/>
                    <a:pt x="271" y="479"/>
                    <a:pt x="305" y="479"/>
                  </a:cubicBezTo>
                  <a:cubicBezTo>
                    <a:pt x="459" y="479"/>
                    <a:pt x="613" y="479"/>
                    <a:pt x="767" y="479"/>
                  </a:cubicBezTo>
                  <a:close/>
                  <a:moveTo>
                    <a:pt x="294" y="831"/>
                  </a:moveTo>
                  <a:cubicBezTo>
                    <a:pt x="315" y="831"/>
                    <a:pt x="337" y="831"/>
                    <a:pt x="358" y="831"/>
                  </a:cubicBezTo>
                  <a:cubicBezTo>
                    <a:pt x="384" y="830"/>
                    <a:pt x="402" y="813"/>
                    <a:pt x="403" y="787"/>
                  </a:cubicBezTo>
                  <a:cubicBezTo>
                    <a:pt x="404" y="765"/>
                    <a:pt x="404" y="742"/>
                    <a:pt x="403" y="719"/>
                  </a:cubicBezTo>
                  <a:cubicBezTo>
                    <a:pt x="402" y="696"/>
                    <a:pt x="388" y="678"/>
                    <a:pt x="366" y="676"/>
                  </a:cubicBezTo>
                  <a:cubicBezTo>
                    <a:pt x="322" y="671"/>
                    <a:pt x="278" y="666"/>
                    <a:pt x="233" y="663"/>
                  </a:cubicBezTo>
                  <a:cubicBezTo>
                    <a:pt x="206" y="661"/>
                    <a:pt x="188" y="678"/>
                    <a:pt x="187" y="706"/>
                  </a:cubicBezTo>
                  <a:cubicBezTo>
                    <a:pt x="186" y="733"/>
                    <a:pt x="186" y="759"/>
                    <a:pt x="187" y="786"/>
                  </a:cubicBezTo>
                  <a:cubicBezTo>
                    <a:pt x="187" y="814"/>
                    <a:pt x="204" y="830"/>
                    <a:pt x="232" y="831"/>
                  </a:cubicBezTo>
                  <a:cubicBezTo>
                    <a:pt x="253" y="831"/>
                    <a:pt x="273" y="831"/>
                    <a:pt x="294" y="831"/>
                  </a:cubicBezTo>
                  <a:close/>
                  <a:moveTo>
                    <a:pt x="1240" y="831"/>
                  </a:moveTo>
                  <a:cubicBezTo>
                    <a:pt x="1260" y="831"/>
                    <a:pt x="1280" y="831"/>
                    <a:pt x="1300" y="831"/>
                  </a:cubicBezTo>
                  <a:cubicBezTo>
                    <a:pt x="1331" y="830"/>
                    <a:pt x="1348" y="813"/>
                    <a:pt x="1348" y="782"/>
                  </a:cubicBezTo>
                  <a:cubicBezTo>
                    <a:pt x="1348" y="759"/>
                    <a:pt x="1348" y="735"/>
                    <a:pt x="1348" y="712"/>
                  </a:cubicBezTo>
                  <a:cubicBezTo>
                    <a:pt x="1348" y="677"/>
                    <a:pt x="1330" y="660"/>
                    <a:pt x="1295" y="663"/>
                  </a:cubicBezTo>
                  <a:cubicBezTo>
                    <a:pt x="1253" y="667"/>
                    <a:pt x="1211" y="671"/>
                    <a:pt x="1170" y="675"/>
                  </a:cubicBezTo>
                  <a:cubicBezTo>
                    <a:pt x="1147" y="678"/>
                    <a:pt x="1132" y="695"/>
                    <a:pt x="1131" y="717"/>
                  </a:cubicBezTo>
                  <a:cubicBezTo>
                    <a:pt x="1131" y="740"/>
                    <a:pt x="1131" y="762"/>
                    <a:pt x="1131" y="785"/>
                  </a:cubicBezTo>
                  <a:cubicBezTo>
                    <a:pt x="1132" y="814"/>
                    <a:pt x="1149" y="830"/>
                    <a:pt x="1178" y="831"/>
                  </a:cubicBezTo>
                  <a:cubicBezTo>
                    <a:pt x="1199" y="831"/>
                    <a:pt x="1219" y="831"/>
                    <a:pt x="1240" y="8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baseline="-25000" dirty="0"/>
            </a:p>
          </p:txBody>
        </p:sp>
        <p:sp>
          <p:nvSpPr>
            <p:cNvPr id="279" name="Freeform 6"/>
            <p:cNvSpPr>
              <a:spLocks noEditPoints="1"/>
            </p:cNvSpPr>
            <p:nvPr/>
          </p:nvSpPr>
          <p:spPr bwMode="auto">
            <a:xfrm>
              <a:off x="2168852" y="3686070"/>
              <a:ext cx="228471" cy="229081"/>
            </a:xfrm>
            <a:custGeom>
              <a:avLst/>
              <a:gdLst>
                <a:gd name="T0" fmla="*/ 0 w 317"/>
                <a:gd name="T1" fmla="*/ 159 h 318"/>
                <a:gd name="T2" fmla="*/ 317 w 317"/>
                <a:gd name="T3" fmla="*/ 159 h 318"/>
                <a:gd name="T4" fmla="*/ 158 w 317"/>
                <a:gd name="T5" fmla="*/ 16 h 318"/>
                <a:gd name="T6" fmla="*/ 177 w 317"/>
                <a:gd name="T7" fmla="*/ 234 h 318"/>
                <a:gd name="T8" fmla="*/ 185 w 317"/>
                <a:gd name="T9" fmla="*/ 254 h 318"/>
                <a:gd name="T10" fmla="*/ 112 w 317"/>
                <a:gd name="T11" fmla="*/ 180 h 318"/>
                <a:gd name="T12" fmla="*/ 135 w 317"/>
                <a:gd name="T13" fmla="*/ 192 h 318"/>
                <a:gd name="T14" fmla="*/ 204 w 317"/>
                <a:gd name="T15" fmla="*/ 162 h 318"/>
                <a:gd name="T16" fmla="*/ 217 w 317"/>
                <a:gd name="T17" fmla="*/ 157 h 318"/>
                <a:gd name="T18" fmla="*/ 209 w 317"/>
                <a:gd name="T19" fmla="*/ 49 h 318"/>
                <a:gd name="T20" fmla="*/ 102 w 317"/>
                <a:gd name="T21" fmla="*/ 54 h 318"/>
                <a:gd name="T22" fmla="*/ 120 w 317"/>
                <a:gd name="T23" fmla="*/ 78 h 318"/>
                <a:gd name="T24" fmla="*/ 15 w 317"/>
                <a:gd name="T25" fmla="*/ 159 h 318"/>
                <a:gd name="T26" fmla="*/ 158 w 317"/>
                <a:gd name="T27" fmla="*/ 302 h 318"/>
                <a:gd name="T28" fmla="*/ 137 w 317"/>
                <a:gd name="T29" fmla="*/ 84 h 318"/>
                <a:gd name="T30" fmla="*/ 137 w 317"/>
                <a:gd name="T31" fmla="*/ 73 h 318"/>
                <a:gd name="T32" fmla="*/ 201 w 317"/>
                <a:gd name="T33" fmla="*/ 65 h 318"/>
                <a:gd name="T34" fmla="*/ 190 w 317"/>
                <a:gd name="T35" fmla="*/ 126 h 318"/>
                <a:gd name="T36" fmla="*/ 189 w 317"/>
                <a:gd name="T37" fmla="*/ 126 h 318"/>
                <a:gd name="T38" fmla="*/ 189 w 317"/>
                <a:gd name="T39" fmla="*/ 125 h 318"/>
                <a:gd name="T40" fmla="*/ 188 w 317"/>
                <a:gd name="T41" fmla="*/ 125 h 318"/>
                <a:gd name="T42" fmla="*/ 187 w 317"/>
                <a:gd name="T43" fmla="*/ 124 h 318"/>
                <a:gd name="T44" fmla="*/ 187 w 317"/>
                <a:gd name="T45" fmla="*/ 124 h 318"/>
                <a:gd name="T46" fmla="*/ 186 w 317"/>
                <a:gd name="T47" fmla="*/ 124 h 318"/>
                <a:gd name="T48" fmla="*/ 185 w 317"/>
                <a:gd name="T49" fmla="*/ 124 h 318"/>
                <a:gd name="T50" fmla="*/ 185 w 317"/>
                <a:gd name="T51" fmla="*/ 124 h 318"/>
                <a:gd name="T52" fmla="*/ 184 w 317"/>
                <a:gd name="T53" fmla="*/ 124 h 318"/>
                <a:gd name="T54" fmla="*/ 183 w 317"/>
                <a:gd name="T55" fmla="*/ 124 h 318"/>
                <a:gd name="T56" fmla="*/ 181 w 317"/>
                <a:gd name="T57" fmla="*/ 125 h 318"/>
                <a:gd name="T58" fmla="*/ 181 w 317"/>
                <a:gd name="T59" fmla="*/ 125 h 318"/>
                <a:gd name="T60" fmla="*/ 180 w 317"/>
                <a:gd name="T61" fmla="*/ 125 h 318"/>
                <a:gd name="T62" fmla="*/ 179 w 317"/>
                <a:gd name="T63" fmla="*/ 126 h 318"/>
                <a:gd name="T64" fmla="*/ 129 w 317"/>
                <a:gd name="T65" fmla="*/ 175 h 318"/>
                <a:gd name="T66" fmla="*/ 101 w 317"/>
                <a:gd name="T67" fmla="*/ 154 h 318"/>
                <a:gd name="T68" fmla="*/ 96 w 317"/>
                <a:gd name="T69" fmla="*/ 262 h 318"/>
                <a:gd name="T70" fmla="*/ 204 w 317"/>
                <a:gd name="T71" fmla="*/ 269 h 318"/>
                <a:gd name="T72" fmla="*/ 210 w 317"/>
                <a:gd name="T73" fmla="*/ 256 h 318"/>
                <a:gd name="T74" fmla="*/ 299 w 317"/>
                <a:gd name="T75" fmla="*/ 134 h 318"/>
                <a:gd name="T76" fmla="*/ 158 w 317"/>
                <a:gd name="T77" fmla="*/ 30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318">
                  <a:moveTo>
                    <a:pt x="158" y="0"/>
                  </a:moveTo>
                  <a:cubicBezTo>
                    <a:pt x="71" y="0"/>
                    <a:pt x="0" y="72"/>
                    <a:pt x="0" y="159"/>
                  </a:cubicBezTo>
                  <a:cubicBezTo>
                    <a:pt x="0" y="247"/>
                    <a:pt x="71" y="318"/>
                    <a:pt x="158" y="318"/>
                  </a:cubicBezTo>
                  <a:cubicBezTo>
                    <a:pt x="246" y="318"/>
                    <a:pt x="317" y="247"/>
                    <a:pt x="317" y="159"/>
                  </a:cubicBezTo>
                  <a:cubicBezTo>
                    <a:pt x="317" y="72"/>
                    <a:pt x="246" y="0"/>
                    <a:pt x="158" y="0"/>
                  </a:cubicBezTo>
                  <a:close/>
                  <a:moveTo>
                    <a:pt x="158" y="16"/>
                  </a:moveTo>
                  <a:cubicBezTo>
                    <a:pt x="222" y="16"/>
                    <a:pt x="276" y="58"/>
                    <a:pt x="295" y="117"/>
                  </a:cubicBezTo>
                  <a:cubicBezTo>
                    <a:pt x="177" y="234"/>
                    <a:pt x="177" y="234"/>
                    <a:pt x="177" y="234"/>
                  </a:cubicBezTo>
                  <a:cubicBezTo>
                    <a:pt x="174" y="237"/>
                    <a:pt x="174" y="242"/>
                    <a:pt x="177" y="245"/>
                  </a:cubicBezTo>
                  <a:cubicBezTo>
                    <a:pt x="185" y="254"/>
                    <a:pt x="185" y="254"/>
                    <a:pt x="185" y="254"/>
                  </a:cubicBezTo>
                  <a:cubicBezTo>
                    <a:pt x="112" y="254"/>
                    <a:pt x="112" y="254"/>
                    <a:pt x="112" y="254"/>
                  </a:cubicBezTo>
                  <a:cubicBezTo>
                    <a:pt x="112" y="180"/>
                    <a:pt x="112" y="180"/>
                    <a:pt x="112" y="180"/>
                  </a:cubicBezTo>
                  <a:cubicBezTo>
                    <a:pt x="124" y="192"/>
                    <a:pt x="124" y="192"/>
                    <a:pt x="124" y="192"/>
                  </a:cubicBezTo>
                  <a:cubicBezTo>
                    <a:pt x="127" y="195"/>
                    <a:pt x="132" y="195"/>
                    <a:pt x="135" y="192"/>
                  </a:cubicBezTo>
                  <a:cubicBezTo>
                    <a:pt x="184" y="143"/>
                    <a:pt x="184" y="143"/>
                    <a:pt x="184" y="143"/>
                  </a:cubicBezTo>
                  <a:cubicBezTo>
                    <a:pt x="204" y="162"/>
                    <a:pt x="204" y="162"/>
                    <a:pt x="204" y="162"/>
                  </a:cubicBezTo>
                  <a:cubicBezTo>
                    <a:pt x="206" y="164"/>
                    <a:pt x="209" y="165"/>
                    <a:pt x="212" y="164"/>
                  </a:cubicBezTo>
                  <a:cubicBezTo>
                    <a:pt x="215" y="163"/>
                    <a:pt x="217" y="160"/>
                    <a:pt x="217" y="157"/>
                  </a:cubicBezTo>
                  <a:cubicBezTo>
                    <a:pt x="217" y="57"/>
                    <a:pt x="217" y="57"/>
                    <a:pt x="217" y="57"/>
                  </a:cubicBezTo>
                  <a:cubicBezTo>
                    <a:pt x="217" y="52"/>
                    <a:pt x="214" y="49"/>
                    <a:pt x="209" y="49"/>
                  </a:cubicBezTo>
                  <a:cubicBezTo>
                    <a:pt x="109" y="49"/>
                    <a:pt x="109" y="49"/>
                    <a:pt x="109" y="49"/>
                  </a:cubicBezTo>
                  <a:cubicBezTo>
                    <a:pt x="106" y="49"/>
                    <a:pt x="103" y="51"/>
                    <a:pt x="102" y="54"/>
                  </a:cubicBezTo>
                  <a:cubicBezTo>
                    <a:pt x="101" y="57"/>
                    <a:pt x="101" y="60"/>
                    <a:pt x="104" y="62"/>
                  </a:cubicBezTo>
                  <a:cubicBezTo>
                    <a:pt x="120" y="78"/>
                    <a:pt x="120" y="78"/>
                    <a:pt x="120" y="78"/>
                  </a:cubicBezTo>
                  <a:cubicBezTo>
                    <a:pt x="17" y="181"/>
                    <a:pt x="17" y="181"/>
                    <a:pt x="17" y="181"/>
                  </a:cubicBezTo>
                  <a:cubicBezTo>
                    <a:pt x="16" y="174"/>
                    <a:pt x="15" y="167"/>
                    <a:pt x="15" y="159"/>
                  </a:cubicBezTo>
                  <a:cubicBezTo>
                    <a:pt x="15" y="80"/>
                    <a:pt x="79" y="16"/>
                    <a:pt x="158" y="16"/>
                  </a:cubicBezTo>
                  <a:close/>
                  <a:moveTo>
                    <a:pt x="158" y="302"/>
                  </a:moveTo>
                  <a:cubicBezTo>
                    <a:pt x="93" y="302"/>
                    <a:pt x="38" y="259"/>
                    <a:pt x="21" y="199"/>
                  </a:cubicBezTo>
                  <a:cubicBezTo>
                    <a:pt x="137" y="84"/>
                    <a:pt x="137" y="84"/>
                    <a:pt x="137" y="84"/>
                  </a:cubicBezTo>
                  <a:cubicBezTo>
                    <a:pt x="138" y="82"/>
                    <a:pt x="139" y="80"/>
                    <a:pt x="139" y="78"/>
                  </a:cubicBezTo>
                  <a:cubicBezTo>
                    <a:pt x="139" y="76"/>
                    <a:pt x="138" y="74"/>
                    <a:pt x="137" y="73"/>
                  </a:cubicBezTo>
                  <a:cubicBezTo>
                    <a:pt x="128" y="65"/>
                    <a:pt x="128" y="65"/>
                    <a:pt x="128" y="65"/>
                  </a:cubicBezTo>
                  <a:cubicBezTo>
                    <a:pt x="201" y="65"/>
                    <a:pt x="201" y="65"/>
                    <a:pt x="201" y="65"/>
                  </a:cubicBezTo>
                  <a:cubicBezTo>
                    <a:pt x="201" y="137"/>
                    <a:pt x="201" y="137"/>
                    <a:pt x="201" y="137"/>
                  </a:cubicBezTo>
                  <a:cubicBezTo>
                    <a:pt x="190" y="126"/>
                    <a:pt x="190" y="126"/>
                    <a:pt x="190" y="126"/>
                  </a:cubicBezTo>
                  <a:cubicBezTo>
                    <a:pt x="190" y="126"/>
                    <a:pt x="190" y="126"/>
                    <a:pt x="190" y="126"/>
                  </a:cubicBezTo>
                  <a:cubicBezTo>
                    <a:pt x="190" y="126"/>
                    <a:pt x="190" y="126"/>
                    <a:pt x="189" y="126"/>
                  </a:cubicBezTo>
                  <a:cubicBezTo>
                    <a:pt x="189" y="125"/>
                    <a:pt x="189" y="125"/>
                    <a:pt x="189" y="125"/>
                  </a:cubicBezTo>
                  <a:cubicBezTo>
                    <a:pt x="189" y="125"/>
                    <a:pt x="189" y="125"/>
                    <a:pt x="189" y="125"/>
                  </a:cubicBezTo>
                  <a:cubicBezTo>
                    <a:pt x="189" y="125"/>
                    <a:pt x="189" y="125"/>
                    <a:pt x="188" y="125"/>
                  </a:cubicBezTo>
                  <a:cubicBezTo>
                    <a:pt x="188" y="125"/>
                    <a:pt x="188" y="125"/>
                    <a:pt x="188" y="125"/>
                  </a:cubicBezTo>
                  <a:cubicBezTo>
                    <a:pt x="188" y="125"/>
                    <a:pt x="188" y="125"/>
                    <a:pt x="188" y="124"/>
                  </a:cubicBezTo>
                  <a:cubicBezTo>
                    <a:pt x="188" y="124"/>
                    <a:pt x="188" y="124"/>
                    <a:pt x="187" y="124"/>
                  </a:cubicBezTo>
                  <a:cubicBezTo>
                    <a:pt x="187" y="124"/>
                    <a:pt x="187" y="124"/>
                    <a:pt x="187" y="124"/>
                  </a:cubicBezTo>
                  <a:cubicBezTo>
                    <a:pt x="187" y="124"/>
                    <a:pt x="187" y="124"/>
                    <a:pt x="187" y="124"/>
                  </a:cubicBezTo>
                  <a:cubicBezTo>
                    <a:pt x="187" y="124"/>
                    <a:pt x="186" y="124"/>
                    <a:pt x="186" y="124"/>
                  </a:cubicBezTo>
                  <a:cubicBezTo>
                    <a:pt x="186" y="124"/>
                    <a:pt x="186" y="124"/>
                    <a:pt x="186" y="124"/>
                  </a:cubicBezTo>
                  <a:cubicBezTo>
                    <a:pt x="186" y="124"/>
                    <a:pt x="186" y="124"/>
                    <a:pt x="186" y="124"/>
                  </a:cubicBezTo>
                  <a:cubicBezTo>
                    <a:pt x="186" y="124"/>
                    <a:pt x="185" y="124"/>
                    <a:pt x="185" y="124"/>
                  </a:cubicBezTo>
                  <a:cubicBezTo>
                    <a:pt x="185" y="124"/>
                    <a:pt x="185" y="124"/>
                    <a:pt x="185" y="124"/>
                  </a:cubicBezTo>
                  <a:cubicBezTo>
                    <a:pt x="185" y="124"/>
                    <a:pt x="185" y="124"/>
                    <a:pt x="185" y="124"/>
                  </a:cubicBezTo>
                  <a:cubicBezTo>
                    <a:pt x="184" y="124"/>
                    <a:pt x="184" y="124"/>
                    <a:pt x="184" y="124"/>
                  </a:cubicBezTo>
                  <a:cubicBezTo>
                    <a:pt x="184" y="124"/>
                    <a:pt x="184" y="124"/>
                    <a:pt x="184" y="124"/>
                  </a:cubicBezTo>
                  <a:cubicBezTo>
                    <a:pt x="184" y="124"/>
                    <a:pt x="184" y="124"/>
                    <a:pt x="183" y="124"/>
                  </a:cubicBezTo>
                  <a:cubicBezTo>
                    <a:pt x="183" y="124"/>
                    <a:pt x="183" y="124"/>
                    <a:pt x="183" y="124"/>
                  </a:cubicBezTo>
                  <a:cubicBezTo>
                    <a:pt x="183" y="124"/>
                    <a:pt x="183" y="124"/>
                    <a:pt x="183" y="124"/>
                  </a:cubicBezTo>
                  <a:cubicBezTo>
                    <a:pt x="182" y="124"/>
                    <a:pt x="182" y="124"/>
                    <a:pt x="181" y="125"/>
                  </a:cubicBezTo>
                  <a:cubicBezTo>
                    <a:pt x="181" y="125"/>
                    <a:pt x="181" y="125"/>
                    <a:pt x="181" y="125"/>
                  </a:cubicBezTo>
                  <a:cubicBezTo>
                    <a:pt x="181" y="125"/>
                    <a:pt x="181" y="125"/>
                    <a:pt x="181" y="125"/>
                  </a:cubicBezTo>
                  <a:cubicBezTo>
                    <a:pt x="180" y="125"/>
                    <a:pt x="180" y="125"/>
                    <a:pt x="180" y="125"/>
                  </a:cubicBezTo>
                  <a:cubicBezTo>
                    <a:pt x="180" y="125"/>
                    <a:pt x="180" y="125"/>
                    <a:pt x="180" y="125"/>
                  </a:cubicBezTo>
                  <a:cubicBezTo>
                    <a:pt x="180" y="125"/>
                    <a:pt x="180" y="125"/>
                    <a:pt x="180" y="125"/>
                  </a:cubicBezTo>
                  <a:cubicBezTo>
                    <a:pt x="180" y="126"/>
                    <a:pt x="179" y="126"/>
                    <a:pt x="179" y="126"/>
                  </a:cubicBezTo>
                  <a:cubicBezTo>
                    <a:pt x="179" y="126"/>
                    <a:pt x="179" y="126"/>
                    <a:pt x="179" y="126"/>
                  </a:cubicBezTo>
                  <a:cubicBezTo>
                    <a:pt x="129" y="175"/>
                    <a:pt x="129" y="175"/>
                    <a:pt x="129" y="175"/>
                  </a:cubicBezTo>
                  <a:cubicBezTo>
                    <a:pt x="110" y="156"/>
                    <a:pt x="110" y="156"/>
                    <a:pt x="110" y="156"/>
                  </a:cubicBezTo>
                  <a:cubicBezTo>
                    <a:pt x="107" y="153"/>
                    <a:pt x="104" y="153"/>
                    <a:pt x="101" y="154"/>
                  </a:cubicBezTo>
                  <a:cubicBezTo>
                    <a:pt x="98" y="155"/>
                    <a:pt x="96" y="158"/>
                    <a:pt x="96" y="161"/>
                  </a:cubicBezTo>
                  <a:cubicBezTo>
                    <a:pt x="96" y="262"/>
                    <a:pt x="96" y="262"/>
                    <a:pt x="96" y="262"/>
                  </a:cubicBezTo>
                  <a:cubicBezTo>
                    <a:pt x="96" y="266"/>
                    <a:pt x="100" y="269"/>
                    <a:pt x="104" y="269"/>
                  </a:cubicBezTo>
                  <a:cubicBezTo>
                    <a:pt x="204" y="269"/>
                    <a:pt x="204" y="269"/>
                    <a:pt x="204" y="269"/>
                  </a:cubicBezTo>
                  <a:cubicBezTo>
                    <a:pt x="207" y="269"/>
                    <a:pt x="210" y="268"/>
                    <a:pt x="212" y="265"/>
                  </a:cubicBezTo>
                  <a:cubicBezTo>
                    <a:pt x="213" y="262"/>
                    <a:pt x="212" y="258"/>
                    <a:pt x="210" y="256"/>
                  </a:cubicBezTo>
                  <a:cubicBezTo>
                    <a:pt x="194" y="240"/>
                    <a:pt x="194" y="240"/>
                    <a:pt x="194" y="240"/>
                  </a:cubicBezTo>
                  <a:cubicBezTo>
                    <a:pt x="299" y="134"/>
                    <a:pt x="299" y="134"/>
                    <a:pt x="299" y="134"/>
                  </a:cubicBezTo>
                  <a:cubicBezTo>
                    <a:pt x="300" y="142"/>
                    <a:pt x="301" y="151"/>
                    <a:pt x="301" y="159"/>
                  </a:cubicBezTo>
                  <a:cubicBezTo>
                    <a:pt x="301" y="238"/>
                    <a:pt x="237" y="302"/>
                    <a:pt x="158" y="302"/>
                  </a:cubicBezTo>
                  <a:close/>
                </a:path>
              </a:pathLst>
            </a:custGeom>
            <a:solidFill>
              <a:schemeClr val="bg1"/>
            </a:solidFill>
            <a:ln w="6350">
              <a:solidFill>
                <a:schemeClr val="bg1"/>
              </a:solid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pic>
        <p:nvPicPr>
          <p:cNvPr id="295" name="Picture 294"/>
          <p:cNvPicPr>
            <a:picLocks noChangeAspect="1"/>
          </p:cNvPicPr>
          <p:nvPr/>
        </p:nvPicPr>
        <p:blipFill>
          <a:blip r:embed="rId4">
            <a:clrChange>
              <a:clrFrom>
                <a:srgbClr val="FFFDFC"/>
              </a:clrFrom>
              <a:clrTo>
                <a:srgbClr val="FFFDFC">
                  <a:alpha val="0"/>
                </a:srgbClr>
              </a:clrTo>
            </a:clrChange>
          </a:blip>
          <a:stretch>
            <a:fillRect/>
          </a:stretch>
        </p:blipFill>
        <p:spPr>
          <a:xfrm>
            <a:off x="1703329" y="1775122"/>
            <a:ext cx="237765" cy="317019"/>
          </a:xfrm>
          <a:prstGeom prst="rect">
            <a:avLst/>
          </a:prstGeom>
        </p:spPr>
      </p:pic>
      <p:pic>
        <p:nvPicPr>
          <p:cNvPr id="296" name="Picture 295"/>
          <p:cNvPicPr>
            <a:picLocks noChangeAspect="1"/>
          </p:cNvPicPr>
          <p:nvPr/>
        </p:nvPicPr>
        <p:blipFill>
          <a:blip r:embed="rId5">
            <a:clrChange>
              <a:clrFrom>
                <a:srgbClr val="FFFFFF"/>
              </a:clrFrom>
              <a:clrTo>
                <a:srgbClr val="FFFFFF">
                  <a:alpha val="0"/>
                </a:srgbClr>
              </a:clrTo>
            </a:clrChange>
          </a:blip>
          <a:stretch>
            <a:fillRect/>
          </a:stretch>
        </p:blipFill>
        <p:spPr>
          <a:xfrm>
            <a:off x="1653971" y="1367801"/>
            <a:ext cx="353599" cy="347502"/>
          </a:xfrm>
          <a:prstGeom prst="rect">
            <a:avLst/>
          </a:prstGeom>
        </p:spPr>
      </p:pic>
      <p:pic>
        <p:nvPicPr>
          <p:cNvPr id="116" name="Picture 115"/>
          <p:cNvPicPr>
            <a:picLocks noChangeAspect="1"/>
          </p:cNvPicPr>
          <p:nvPr/>
        </p:nvPicPr>
        <p:blipFill>
          <a:blip r:embed="rId6"/>
          <a:stretch>
            <a:fillRect/>
          </a:stretch>
        </p:blipFill>
        <p:spPr>
          <a:xfrm>
            <a:off x="6805389" y="1328962"/>
            <a:ext cx="544495" cy="396476"/>
          </a:xfrm>
          <a:prstGeom prst="rect">
            <a:avLst/>
          </a:prstGeom>
        </p:spPr>
      </p:pic>
      <p:pic>
        <p:nvPicPr>
          <p:cNvPr id="117" name="Picture 116"/>
          <p:cNvPicPr>
            <a:picLocks noChangeAspect="1"/>
          </p:cNvPicPr>
          <p:nvPr/>
        </p:nvPicPr>
        <p:blipFill>
          <a:blip r:embed="rId7"/>
          <a:stretch>
            <a:fillRect/>
          </a:stretch>
        </p:blipFill>
        <p:spPr>
          <a:xfrm>
            <a:off x="6774303" y="2273965"/>
            <a:ext cx="642041" cy="377672"/>
          </a:xfrm>
          <a:prstGeom prst="rect">
            <a:avLst/>
          </a:prstGeom>
        </p:spPr>
      </p:pic>
      <p:pic>
        <p:nvPicPr>
          <p:cNvPr id="118" name="Picture 117"/>
          <p:cNvPicPr>
            <a:picLocks noChangeAspect="1"/>
          </p:cNvPicPr>
          <p:nvPr/>
        </p:nvPicPr>
        <p:blipFill>
          <a:blip r:embed="rId8"/>
          <a:stretch>
            <a:fillRect/>
          </a:stretch>
        </p:blipFill>
        <p:spPr>
          <a:xfrm>
            <a:off x="6976022" y="3152366"/>
            <a:ext cx="278319" cy="453390"/>
          </a:xfrm>
          <a:prstGeom prst="rect">
            <a:avLst/>
          </a:prstGeom>
        </p:spPr>
      </p:pic>
      <p:sp>
        <p:nvSpPr>
          <p:cNvPr id="107" name="Tekstvak 106"/>
          <p:cNvSpPr txBox="1"/>
          <p:nvPr/>
        </p:nvSpPr>
        <p:spPr>
          <a:xfrm>
            <a:off x="488316" y="333283"/>
            <a:ext cx="4075263" cy="707876"/>
          </a:xfrm>
          <a:prstGeom prst="rect">
            <a:avLst/>
          </a:prstGeom>
          <a:noFill/>
        </p:spPr>
        <p:txBody>
          <a:bodyPr wrap="none" lIns="91430" tIns="45715" rIns="91430" bIns="45715" rtlCol="0">
            <a:spAutoFit/>
          </a:bodyPr>
          <a:lstStyle/>
          <a:p>
            <a:r>
              <a:rPr lang="en-GB" sz="2000" b="1" dirty="0"/>
              <a:t>How is value created </a:t>
            </a:r>
            <a:r>
              <a:rPr lang="en-GB" sz="2000" dirty="0"/>
              <a:t>from flexibility?</a:t>
            </a:r>
          </a:p>
          <a:p>
            <a:endParaRPr lang="en-GB" sz="2000" dirty="0"/>
          </a:p>
        </p:txBody>
      </p:sp>
      <p:sp>
        <p:nvSpPr>
          <p:cNvPr id="2" name="Rechthoek 1"/>
          <p:cNvSpPr/>
          <p:nvPr/>
        </p:nvSpPr>
        <p:spPr>
          <a:xfrm>
            <a:off x="1" y="687227"/>
            <a:ext cx="4571467" cy="3662583"/>
          </a:xfrm>
          <a:prstGeom prst="rect">
            <a:avLst/>
          </a:prstGeom>
          <a:solidFill>
            <a:srgbClr val="FFFFFF">
              <a:alpha val="78824"/>
            </a:srgb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spcCol="0" rtlCol="0" anchor="ctr"/>
          <a:lstStyle/>
          <a:p>
            <a:pPr algn="ctr"/>
            <a:endParaRPr lang="en-GB"/>
          </a:p>
        </p:txBody>
      </p:sp>
    </p:spTree>
    <p:extLst>
      <p:ext uri="{BB962C8B-B14F-4D97-AF65-F5344CB8AC3E}">
        <p14:creationId xmlns:p14="http://schemas.microsoft.com/office/powerpoint/2010/main" val="15971314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15"/>
          <p:cNvSpPr/>
          <p:nvPr/>
        </p:nvSpPr>
        <p:spPr>
          <a:xfrm flipH="1">
            <a:off x="5183089" y="2366969"/>
            <a:ext cx="2155874" cy="2090737"/>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53717 w 3453717"/>
              <a:gd name="connsiteY0" fmla="*/ 2081212 h 2081212"/>
              <a:gd name="connsiteX1" fmla="*/ 3453717 w 3453717"/>
              <a:gd name="connsiteY1" fmla="*/ 1785937 h 2081212"/>
              <a:gd name="connsiteX2" fmla="*/ 15192 w 3453717"/>
              <a:gd name="connsiteY2" fmla="*/ 1785937 h 2081212"/>
              <a:gd name="connsiteX3" fmla="*/ 0 w 3453717"/>
              <a:gd name="connsiteY3" fmla="*/ 0 h 2081212"/>
              <a:gd name="connsiteX0" fmla="*/ 3438525 w 3438525"/>
              <a:gd name="connsiteY0" fmla="*/ 2090737 h 2090737"/>
              <a:gd name="connsiteX1" fmla="*/ 3438525 w 3438525"/>
              <a:gd name="connsiteY1" fmla="*/ 1795462 h 2090737"/>
              <a:gd name="connsiteX2" fmla="*/ 0 w 3438525"/>
              <a:gd name="connsiteY2" fmla="*/ 1795462 h 2090737"/>
              <a:gd name="connsiteX3" fmla="*/ 0 w 3438525"/>
              <a:gd name="connsiteY3" fmla="*/ 0 h 2090737"/>
            </a:gdLst>
            <a:ahLst/>
            <a:cxnLst>
              <a:cxn ang="0">
                <a:pos x="connsiteX0" y="connsiteY0"/>
              </a:cxn>
              <a:cxn ang="0">
                <a:pos x="connsiteX1" y="connsiteY1"/>
              </a:cxn>
              <a:cxn ang="0">
                <a:pos x="connsiteX2" y="connsiteY2"/>
              </a:cxn>
              <a:cxn ang="0">
                <a:pos x="connsiteX3" y="connsiteY3"/>
              </a:cxn>
            </a:cxnLst>
            <a:rect l="l" t="t" r="r" b="b"/>
            <a:pathLst>
              <a:path w="3438525" h="2090737">
                <a:moveTo>
                  <a:pt x="3438525" y="2090737"/>
                </a:moveTo>
                <a:lnTo>
                  <a:pt x="3438525" y="1795462"/>
                </a:lnTo>
                <a:lnTo>
                  <a:pt x="0" y="1795462"/>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grpSp>
        <p:nvGrpSpPr>
          <p:cNvPr id="29" name="Group 28"/>
          <p:cNvGrpSpPr/>
          <p:nvPr/>
        </p:nvGrpSpPr>
        <p:grpSpPr>
          <a:xfrm>
            <a:off x="6418264" y="1047757"/>
            <a:ext cx="2486024" cy="2571749"/>
            <a:chOff x="6418264" y="1047750"/>
            <a:chExt cx="2486024" cy="2571749"/>
          </a:xfrm>
        </p:grpSpPr>
        <p:grpSp>
          <p:nvGrpSpPr>
            <p:cNvPr id="3" name="Group 2"/>
            <p:cNvGrpSpPr/>
            <p:nvPr/>
          </p:nvGrpSpPr>
          <p:grpSpPr>
            <a:xfrm>
              <a:off x="8259665" y="1047750"/>
              <a:ext cx="644623" cy="644623"/>
              <a:chOff x="8259665" y="1047750"/>
              <a:chExt cx="644623" cy="644623"/>
            </a:xfrm>
          </p:grpSpPr>
          <p:sp>
            <p:nvSpPr>
              <p:cNvPr id="4" name="Rechthoek 10"/>
              <p:cNvSpPr>
                <a:spLocks noChangeAspect="1"/>
              </p:cNvSpPr>
              <p:nvPr/>
            </p:nvSpPr>
            <p:spPr>
              <a:xfrm>
                <a:off x="8259665"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5" name="Freeform 197"/>
              <p:cNvSpPr>
                <a:spLocks noEditPoints="1"/>
              </p:cNvSpPr>
              <p:nvPr/>
            </p:nvSpPr>
            <p:spPr bwMode="auto">
              <a:xfrm>
                <a:off x="8352033" y="1158387"/>
                <a:ext cx="459886" cy="423348"/>
              </a:xfrm>
              <a:custGeom>
                <a:avLst/>
                <a:gdLst>
                  <a:gd name="T0" fmla="*/ 27 w 400"/>
                  <a:gd name="T1" fmla="*/ 60 h 368"/>
                  <a:gd name="T2" fmla="*/ 53 w 400"/>
                  <a:gd name="T3" fmla="*/ 104 h 368"/>
                  <a:gd name="T4" fmla="*/ 134 w 400"/>
                  <a:gd name="T5" fmla="*/ 305 h 368"/>
                  <a:gd name="T6" fmla="*/ 139 w 400"/>
                  <a:gd name="T7" fmla="*/ 307 h 368"/>
                  <a:gd name="T8" fmla="*/ 191 w 400"/>
                  <a:gd name="T9" fmla="*/ 109 h 368"/>
                  <a:gd name="T10" fmla="*/ 134 w 400"/>
                  <a:gd name="T11" fmla="*/ 305 h 368"/>
                  <a:gd name="T12" fmla="*/ 134 w 400"/>
                  <a:gd name="T13" fmla="*/ 33 h 368"/>
                  <a:gd name="T14" fmla="*/ 134 w 400"/>
                  <a:gd name="T15" fmla="*/ 83 h 368"/>
                  <a:gd name="T16" fmla="*/ 253 w 400"/>
                  <a:gd name="T17" fmla="*/ 68 h 368"/>
                  <a:gd name="T18" fmla="*/ 247 w 400"/>
                  <a:gd name="T19" fmla="*/ 66 h 368"/>
                  <a:gd name="T20" fmla="*/ 253 w 400"/>
                  <a:gd name="T21" fmla="*/ 339 h 368"/>
                  <a:gd name="T22" fmla="*/ 201 w 400"/>
                  <a:gd name="T23" fmla="*/ 232 h 368"/>
                  <a:gd name="T24" fmla="*/ 63 w 400"/>
                  <a:gd name="T25" fmla="*/ 101 h 368"/>
                  <a:gd name="T26" fmla="*/ 131 w 400"/>
                  <a:gd name="T27" fmla="*/ 33 h 368"/>
                  <a:gd name="T28" fmla="*/ 63 w 400"/>
                  <a:gd name="T29" fmla="*/ 101 h 368"/>
                  <a:gd name="T30" fmla="*/ 125 w 400"/>
                  <a:gd name="T31" fmla="*/ 306 h 368"/>
                  <a:gd name="T32" fmla="*/ 131 w 400"/>
                  <a:gd name="T33" fmla="*/ 305 h 368"/>
                  <a:gd name="T34" fmla="*/ 27 w 400"/>
                  <a:gd name="T35" fmla="*/ 120 h 368"/>
                  <a:gd name="T36" fmla="*/ 201 w 400"/>
                  <a:gd name="T37" fmla="*/ 221 h 368"/>
                  <a:gd name="T38" fmla="*/ 253 w 400"/>
                  <a:gd name="T39" fmla="*/ 126 h 368"/>
                  <a:gd name="T40" fmla="*/ 201 w 400"/>
                  <a:gd name="T41" fmla="*/ 221 h 368"/>
                  <a:gd name="T42" fmla="*/ 256 w 400"/>
                  <a:gd name="T43" fmla="*/ 116 h 368"/>
                  <a:gd name="T44" fmla="*/ 373 w 400"/>
                  <a:gd name="T45" fmla="*/ 35 h 368"/>
                  <a:gd name="T46" fmla="*/ 258 w 400"/>
                  <a:gd name="T47" fmla="*/ 67 h 368"/>
                  <a:gd name="T48" fmla="*/ 254 w 400"/>
                  <a:gd name="T49" fmla="*/ 40 h 368"/>
                  <a:gd name="T50" fmla="*/ 0 w 400"/>
                  <a:gd name="T51" fmla="*/ 39 h 368"/>
                  <a:gd name="T52" fmla="*/ 132 w 400"/>
                  <a:gd name="T53" fmla="*/ 332 h 368"/>
                  <a:gd name="T54" fmla="*/ 387 w 400"/>
                  <a:gd name="T55" fmla="*/ 333 h 368"/>
                  <a:gd name="T56" fmla="*/ 400 w 400"/>
                  <a:gd name="T57" fmla="*/ 0 h 368"/>
                  <a:gd name="T58" fmla="*/ 387 w 400"/>
                  <a:gd name="T59" fmla="*/ 319 h 368"/>
                  <a:gd name="T60" fmla="*/ 136 w 400"/>
                  <a:gd name="T61" fmla="*/ 320 h 368"/>
                  <a:gd name="T62" fmla="*/ 128 w 400"/>
                  <a:gd name="T63" fmla="*/ 319 h 368"/>
                  <a:gd name="T64" fmla="*/ 13 w 400"/>
                  <a:gd name="T65" fmla="*/ 49 h 368"/>
                  <a:gd name="T66" fmla="*/ 250 w 400"/>
                  <a:gd name="T67" fmla="*/ 53 h 368"/>
                  <a:gd name="T68" fmla="*/ 258 w 400"/>
                  <a:gd name="T69" fmla="*/ 53 h 368"/>
                  <a:gd name="T70" fmla="*/ 387 w 400"/>
                  <a:gd name="T71" fmla="*/ 319 h 368"/>
                  <a:gd name="T72" fmla="*/ 256 w 400"/>
                  <a:gd name="T73" fmla="*/ 339 h 368"/>
                  <a:gd name="T74" fmla="*/ 345 w 400"/>
                  <a:gd name="T75" fmla="*/ 236 h 368"/>
                  <a:gd name="T76" fmla="*/ 256 w 400"/>
                  <a:gd name="T77" fmla="*/ 339 h 368"/>
                  <a:gd name="T78" fmla="*/ 373 w 400"/>
                  <a:gd name="T79" fmla="*/ 219 h 368"/>
                  <a:gd name="T80" fmla="*/ 256 w 400"/>
                  <a:gd name="T81" fmla="*/ 126 h 368"/>
                  <a:gd name="T82" fmla="*/ 355 w 400"/>
                  <a:gd name="T83" fmla="*/ 313 h 368"/>
                  <a:gd name="T84" fmla="*/ 373 w 400"/>
                  <a:gd name="T85" fmla="*/ 228 h 368"/>
                  <a:gd name="T86" fmla="*/ 355 w 400"/>
                  <a:gd name="T87" fmla="*/ 313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0" h="368">
                    <a:moveTo>
                      <a:pt x="53" y="53"/>
                    </a:moveTo>
                    <a:cubicBezTo>
                      <a:pt x="27" y="60"/>
                      <a:pt x="27" y="60"/>
                      <a:pt x="27" y="60"/>
                    </a:cubicBezTo>
                    <a:cubicBezTo>
                      <a:pt x="27" y="111"/>
                      <a:pt x="27" y="111"/>
                      <a:pt x="27" y="111"/>
                    </a:cubicBezTo>
                    <a:cubicBezTo>
                      <a:pt x="53" y="104"/>
                      <a:pt x="53" y="104"/>
                      <a:pt x="53" y="104"/>
                    </a:cubicBezTo>
                    <a:lnTo>
                      <a:pt x="53" y="53"/>
                    </a:lnTo>
                    <a:close/>
                    <a:moveTo>
                      <a:pt x="134" y="305"/>
                    </a:moveTo>
                    <a:cubicBezTo>
                      <a:pt x="136" y="306"/>
                      <a:pt x="136" y="306"/>
                      <a:pt x="136" y="306"/>
                    </a:cubicBezTo>
                    <a:cubicBezTo>
                      <a:pt x="139" y="307"/>
                      <a:pt x="139" y="307"/>
                      <a:pt x="139" y="307"/>
                    </a:cubicBezTo>
                    <a:cubicBezTo>
                      <a:pt x="191" y="321"/>
                      <a:pt x="191" y="321"/>
                      <a:pt x="191" y="321"/>
                    </a:cubicBezTo>
                    <a:cubicBezTo>
                      <a:pt x="191" y="109"/>
                      <a:pt x="191" y="109"/>
                      <a:pt x="191" y="109"/>
                    </a:cubicBezTo>
                    <a:cubicBezTo>
                      <a:pt x="134" y="93"/>
                      <a:pt x="134" y="93"/>
                      <a:pt x="134" y="93"/>
                    </a:cubicBezTo>
                    <a:lnTo>
                      <a:pt x="134" y="305"/>
                    </a:lnTo>
                    <a:close/>
                    <a:moveTo>
                      <a:pt x="247" y="66"/>
                    </a:moveTo>
                    <a:cubicBezTo>
                      <a:pt x="134" y="33"/>
                      <a:pt x="134" y="33"/>
                      <a:pt x="134" y="33"/>
                    </a:cubicBezTo>
                    <a:cubicBezTo>
                      <a:pt x="134" y="33"/>
                      <a:pt x="134" y="33"/>
                      <a:pt x="134" y="33"/>
                    </a:cubicBezTo>
                    <a:cubicBezTo>
                      <a:pt x="134" y="83"/>
                      <a:pt x="134" y="83"/>
                      <a:pt x="134" y="83"/>
                    </a:cubicBezTo>
                    <a:cubicBezTo>
                      <a:pt x="253" y="116"/>
                      <a:pt x="253" y="116"/>
                      <a:pt x="253" y="116"/>
                    </a:cubicBezTo>
                    <a:cubicBezTo>
                      <a:pt x="253" y="68"/>
                      <a:pt x="253" y="68"/>
                      <a:pt x="253" y="68"/>
                    </a:cubicBezTo>
                    <a:cubicBezTo>
                      <a:pt x="250" y="67"/>
                      <a:pt x="250" y="67"/>
                      <a:pt x="250" y="67"/>
                    </a:cubicBezTo>
                    <a:lnTo>
                      <a:pt x="247" y="66"/>
                    </a:lnTo>
                    <a:close/>
                    <a:moveTo>
                      <a:pt x="201" y="324"/>
                    </a:moveTo>
                    <a:cubicBezTo>
                      <a:pt x="253" y="339"/>
                      <a:pt x="253" y="339"/>
                      <a:pt x="253" y="339"/>
                    </a:cubicBezTo>
                    <a:cubicBezTo>
                      <a:pt x="253" y="259"/>
                      <a:pt x="253" y="259"/>
                      <a:pt x="253" y="259"/>
                    </a:cubicBezTo>
                    <a:cubicBezTo>
                      <a:pt x="201" y="232"/>
                      <a:pt x="201" y="232"/>
                      <a:pt x="201" y="232"/>
                    </a:cubicBezTo>
                    <a:lnTo>
                      <a:pt x="201" y="324"/>
                    </a:lnTo>
                    <a:close/>
                    <a:moveTo>
                      <a:pt x="63" y="101"/>
                    </a:moveTo>
                    <a:cubicBezTo>
                      <a:pt x="131" y="84"/>
                      <a:pt x="131" y="84"/>
                      <a:pt x="131" y="84"/>
                    </a:cubicBezTo>
                    <a:cubicBezTo>
                      <a:pt x="131" y="33"/>
                      <a:pt x="131" y="33"/>
                      <a:pt x="131" y="33"/>
                    </a:cubicBezTo>
                    <a:cubicBezTo>
                      <a:pt x="63" y="51"/>
                      <a:pt x="63" y="51"/>
                      <a:pt x="63" y="51"/>
                    </a:cubicBezTo>
                    <a:lnTo>
                      <a:pt x="63" y="101"/>
                    </a:lnTo>
                    <a:close/>
                    <a:moveTo>
                      <a:pt x="27" y="333"/>
                    </a:moveTo>
                    <a:cubicBezTo>
                      <a:pt x="125" y="306"/>
                      <a:pt x="125" y="306"/>
                      <a:pt x="125" y="306"/>
                    </a:cubicBezTo>
                    <a:cubicBezTo>
                      <a:pt x="129" y="306"/>
                      <a:pt x="129" y="306"/>
                      <a:pt x="129" y="306"/>
                    </a:cubicBezTo>
                    <a:cubicBezTo>
                      <a:pt x="131" y="305"/>
                      <a:pt x="131" y="305"/>
                      <a:pt x="131" y="305"/>
                    </a:cubicBezTo>
                    <a:cubicBezTo>
                      <a:pt x="131" y="93"/>
                      <a:pt x="131" y="93"/>
                      <a:pt x="131" y="93"/>
                    </a:cubicBezTo>
                    <a:cubicBezTo>
                      <a:pt x="27" y="120"/>
                      <a:pt x="27" y="120"/>
                      <a:pt x="27" y="120"/>
                    </a:cubicBezTo>
                    <a:lnTo>
                      <a:pt x="27" y="333"/>
                    </a:lnTo>
                    <a:close/>
                    <a:moveTo>
                      <a:pt x="201" y="221"/>
                    </a:moveTo>
                    <a:cubicBezTo>
                      <a:pt x="253" y="248"/>
                      <a:pt x="253" y="248"/>
                      <a:pt x="253" y="248"/>
                    </a:cubicBezTo>
                    <a:cubicBezTo>
                      <a:pt x="253" y="126"/>
                      <a:pt x="253" y="126"/>
                      <a:pt x="253" y="126"/>
                    </a:cubicBezTo>
                    <a:cubicBezTo>
                      <a:pt x="201" y="112"/>
                      <a:pt x="201" y="112"/>
                      <a:pt x="201" y="112"/>
                    </a:cubicBezTo>
                    <a:lnTo>
                      <a:pt x="201" y="221"/>
                    </a:lnTo>
                    <a:close/>
                    <a:moveTo>
                      <a:pt x="256" y="68"/>
                    </a:moveTo>
                    <a:cubicBezTo>
                      <a:pt x="256" y="116"/>
                      <a:pt x="256" y="116"/>
                      <a:pt x="256" y="116"/>
                    </a:cubicBezTo>
                    <a:cubicBezTo>
                      <a:pt x="373" y="85"/>
                      <a:pt x="373" y="85"/>
                      <a:pt x="373" y="85"/>
                    </a:cubicBezTo>
                    <a:cubicBezTo>
                      <a:pt x="373" y="35"/>
                      <a:pt x="373" y="35"/>
                      <a:pt x="373" y="35"/>
                    </a:cubicBezTo>
                    <a:cubicBezTo>
                      <a:pt x="261" y="66"/>
                      <a:pt x="261" y="66"/>
                      <a:pt x="261" y="66"/>
                    </a:cubicBezTo>
                    <a:cubicBezTo>
                      <a:pt x="258" y="67"/>
                      <a:pt x="258" y="67"/>
                      <a:pt x="258" y="67"/>
                    </a:cubicBezTo>
                    <a:lnTo>
                      <a:pt x="256" y="68"/>
                    </a:lnTo>
                    <a:close/>
                    <a:moveTo>
                      <a:pt x="254" y="40"/>
                    </a:moveTo>
                    <a:cubicBezTo>
                      <a:pt x="135" y="5"/>
                      <a:pt x="135" y="5"/>
                      <a:pt x="135" y="5"/>
                    </a:cubicBezTo>
                    <a:cubicBezTo>
                      <a:pt x="0" y="39"/>
                      <a:pt x="0" y="39"/>
                      <a:pt x="0" y="39"/>
                    </a:cubicBezTo>
                    <a:cubicBezTo>
                      <a:pt x="0" y="368"/>
                      <a:pt x="0" y="368"/>
                      <a:pt x="0" y="368"/>
                    </a:cubicBezTo>
                    <a:cubicBezTo>
                      <a:pt x="132" y="332"/>
                      <a:pt x="132" y="332"/>
                      <a:pt x="132" y="332"/>
                    </a:cubicBezTo>
                    <a:cubicBezTo>
                      <a:pt x="256" y="367"/>
                      <a:pt x="256" y="367"/>
                      <a:pt x="256" y="367"/>
                    </a:cubicBezTo>
                    <a:cubicBezTo>
                      <a:pt x="256" y="367"/>
                      <a:pt x="376" y="335"/>
                      <a:pt x="387" y="333"/>
                    </a:cubicBezTo>
                    <a:cubicBezTo>
                      <a:pt x="398" y="330"/>
                      <a:pt x="400" y="327"/>
                      <a:pt x="400" y="315"/>
                    </a:cubicBezTo>
                    <a:cubicBezTo>
                      <a:pt x="400" y="310"/>
                      <a:pt x="400" y="0"/>
                      <a:pt x="400" y="0"/>
                    </a:cubicBezTo>
                    <a:lnTo>
                      <a:pt x="254" y="40"/>
                    </a:lnTo>
                    <a:close/>
                    <a:moveTo>
                      <a:pt x="387" y="319"/>
                    </a:moveTo>
                    <a:cubicBezTo>
                      <a:pt x="256" y="353"/>
                      <a:pt x="256" y="353"/>
                      <a:pt x="256" y="353"/>
                    </a:cubicBezTo>
                    <a:cubicBezTo>
                      <a:pt x="136" y="320"/>
                      <a:pt x="136" y="320"/>
                      <a:pt x="136" y="320"/>
                    </a:cubicBezTo>
                    <a:cubicBezTo>
                      <a:pt x="132" y="319"/>
                      <a:pt x="132" y="319"/>
                      <a:pt x="132" y="319"/>
                    </a:cubicBezTo>
                    <a:cubicBezTo>
                      <a:pt x="128" y="319"/>
                      <a:pt x="128" y="319"/>
                      <a:pt x="128" y="319"/>
                    </a:cubicBezTo>
                    <a:cubicBezTo>
                      <a:pt x="13" y="350"/>
                      <a:pt x="13" y="350"/>
                      <a:pt x="13" y="350"/>
                    </a:cubicBezTo>
                    <a:cubicBezTo>
                      <a:pt x="13" y="49"/>
                      <a:pt x="13" y="49"/>
                      <a:pt x="13" y="49"/>
                    </a:cubicBezTo>
                    <a:cubicBezTo>
                      <a:pt x="134" y="19"/>
                      <a:pt x="134" y="19"/>
                      <a:pt x="134" y="19"/>
                    </a:cubicBezTo>
                    <a:cubicBezTo>
                      <a:pt x="250" y="53"/>
                      <a:pt x="250" y="53"/>
                      <a:pt x="250" y="53"/>
                    </a:cubicBezTo>
                    <a:cubicBezTo>
                      <a:pt x="254" y="54"/>
                      <a:pt x="254" y="54"/>
                      <a:pt x="254" y="54"/>
                    </a:cubicBezTo>
                    <a:cubicBezTo>
                      <a:pt x="258" y="53"/>
                      <a:pt x="258" y="53"/>
                      <a:pt x="258" y="53"/>
                    </a:cubicBezTo>
                    <a:cubicBezTo>
                      <a:pt x="387" y="18"/>
                      <a:pt x="387" y="18"/>
                      <a:pt x="387" y="18"/>
                    </a:cubicBezTo>
                    <a:cubicBezTo>
                      <a:pt x="387" y="319"/>
                      <a:pt x="387" y="319"/>
                      <a:pt x="387" y="319"/>
                    </a:cubicBezTo>
                    <a:close/>
                    <a:moveTo>
                      <a:pt x="256" y="339"/>
                    </a:moveTo>
                    <a:cubicBezTo>
                      <a:pt x="256" y="339"/>
                      <a:pt x="256" y="339"/>
                      <a:pt x="256" y="339"/>
                    </a:cubicBezTo>
                    <a:cubicBezTo>
                      <a:pt x="345" y="316"/>
                      <a:pt x="345" y="316"/>
                      <a:pt x="345" y="316"/>
                    </a:cubicBezTo>
                    <a:cubicBezTo>
                      <a:pt x="345" y="236"/>
                      <a:pt x="345" y="236"/>
                      <a:pt x="345" y="236"/>
                    </a:cubicBezTo>
                    <a:cubicBezTo>
                      <a:pt x="256" y="259"/>
                      <a:pt x="256" y="259"/>
                      <a:pt x="256" y="259"/>
                    </a:cubicBezTo>
                    <a:lnTo>
                      <a:pt x="256" y="339"/>
                    </a:lnTo>
                    <a:close/>
                    <a:moveTo>
                      <a:pt x="256" y="249"/>
                    </a:moveTo>
                    <a:cubicBezTo>
                      <a:pt x="373" y="219"/>
                      <a:pt x="373" y="219"/>
                      <a:pt x="373" y="219"/>
                    </a:cubicBezTo>
                    <a:cubicBezTo>
                      <a:pt x="373" y="94"/>
                      <a:pt x="373" y="94"/>
                      <a:pt x="373" y="94"/>
                    </a:cubicBezTo>
                    <a:cubicBezTo>
                      <a:pt x="256" y="126"/>
                      <a:pt x="256" y="126"/>
                      <a:pt x="256" y="126"/>
                    </a:cubicBezTo>
                    <a:lnTo>
                      <a:pt x="256" y="249"/>
                    </a:lnTo>
                    <a:close/>
                    <a:moveTo>
                      <a:pt x="355" y="313"/>
                    </a:moveTo>
                    <a:cubicBezTo>
                      <a:pt x="373" y="308"/>
                      <a:pt x="373" y="308"/>
                      <a:pt x="373" y="308"/>
                    </a:cubicBezTo>
                    <a:cubicBezTo>
                      <a:pt x="373" y="228"/>
                      <a:pt x="373" y="228"/>
                      <a:pt x="373" y="228"/>
                    </a:cubicBezTo>
                    <a:cubicBezTo>
                      <a:pt x="355" y="233"/>
                      <a:pt x="355" y="233"/>
                      <a:pt x="355" y="233"/>
                    </a:cubicBezTo>
                    <a:lnTo>
                      <a:pt x="355" y="31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14" name="Rechthoek 10"/>
            <p:cNvSpPr>
              <a:spLocks noChangeAspect="1"/>
            </p:cNvSpPr>
            <p:nvPr/>
          </p:nvSpPr>
          <p:spPr>
            <a:xfrm>
              <a:off x="6418264" y="1778098"/>
              <a:ext cx="1841401" cy="184140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22" name="Titel 7"/>
            <p:cNvSpPr txBox="1">
              <a:spLocks/>
            </p:cNvSpPr>
            <p:nvPr/>
          </p:nvSpPr>
          <p:spPr>
            <a:xfrm>
              <a:off x="6489448" y="1809802"/>
              <a:ext cx="1561090" cy="640875"/>
            </a:xfrm>
            <a:prstGeom prst="rect">
              <a:avLst/>
            </a:prstGeom>
          </p:spPr>
          <p:txBody>
            <a:bodyPr lIns="0" tIns="34290" rIns="68580" bIns="3429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offer</a:t>
              </a:r>
            </a:p>
          </p:txBody>
        </p:sp>
        <p:sp>
          <p:nvSpPr>
            <p:cNvPr id="23" name="Titel 7"/>
            <p:cNvSpPr txBox="1">
              <a:spLocks/>
            </p:cNvSpPr>
            <p:nvPr/>
          </p:nvSpPr>
          <p:spPr>
            <a:xfrm>
              <a:off x="6489447" y="2932444"/>
              <a:ext cx="1770217" cy="640875"/>
            </a:xfrm>
            <a:prstGeom prst="rect">
              <a:avLst/>
            </a:prstGeom>
          </p:spPr>
          <p:txBody>
            <a:bodyPr lIns="0" tIns="34290" rIns="68580" bIns="34290"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Access to </a:t>
              </a:r>
            </a:p>
            <a:p>
              <a:pPr algn="l"/>
              <a:r>
                <a:rPr lang="en-GB" sz="1400" dirty="0">
                  <a:solidFill>
                    <a:schemeClr val="bg1"/>
                  </a:solidFill>
                </a:rPr>
                <a:t>specifications, designs and implementation </a:t>
              </a:r>
            </a:p>
            <a:p>
              <a:pPr algn="l"/>
              <a:r>
                <a:rPr lang="en-GB" sz="1400" dirty="0">
                  <a:solidFill>
                    <a:schemeClr val="bg1"/>
                  </a:solidFill>
                </a:rPr>
                <a:t>guidelines</a:t>
              </a:r>
            </a:p>
          </p:txBody>
        </p:sp>
        <p:sp>
          <p:nvSpPr>
            <p:cNvPr id="26" name="Rechthoek 10"/>
            <p:cNvSpPr>
              <a:spLocks noChangeAspect="1"/>
            </p:cNvSpPr>
            <p:nvPr/>
          </p:nvSpPr>
          <p:spPr>
            <a:xfrm>
              <a:off x="6418791" y="1778097"/>
              <a:ext cx="1841401" cy="1841401"/>
            </a:xfrm>
            <a:prstGeom prst="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sp>
        <p:nvSpPr>
          <p:cNvPr id="31" name="Rectangle 30"/>
          <p:cNvSpPr/>
          <p:nvPr/>
        </p:nvSpPr>
        <p:spPr>
          <a:xfrm>
            <a:off x="6023657" y="189225"/>
            <a:ext cx="3076575" cy="4000498"/>
          </a:xfrm>
          <a:prstGeom prst="rect">
            <a:avLst/>
          </a:prstGeom>
          <a:solidFill>
            <a:schemeClr val="bg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sp>
        <p:nvSpPr>
          <p:cNvPr id="15" name="Freeform 14"/>
          <p:cNvSpPr/>
          <p:nvPr/>
        </p:nvSpPr>
        <p:spPr>
          <a:xfrm>
            <a:off x="1123727" y="2909889"/>
            <a:ext cx="2217967" cy="1547812"/>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38525 w 3438525"/>
              <a:gd name="connsiteY0" fmla="*/ 1543050 h 1543050"/>
              <a:gd name="connsiteX1" fmla="*/ 3438525 w 3438525"/>
              <a:gd name="connsiteY1" fmla="*/ 1247775 h 1543050"/>
              <a:gd name="connsiteX2" fmla="*/ 0 w 3438525"/>
              <a:gd name="connsiteY2" fmla="*/ 1247775 h 1543050"/>
              <a:gd name="connsiteX3" fmla="*/ 3692 w 3438525"/>
              <a:gd name="connsiteY3" fmla="*/ 0 h 1543050"/>
              <a:gd name="connsiteX0" fmla="*/ 3438880 w 3438880"/>
              <a:gd name="connsiteY0" fmla="*/ 1547812 h 1547812"/>
              <a:gd name="connsiteX1" fmla="*/ 3438880 w 3438880"/>
              <a:gd name="connsiteY1" fmla="*/ 1252537 h 1547812"/>
              <a:gd name="connsiteX2" fmla="*/ 355 w 3438880"/>
              <a:gd name="connsiteY2" fmla="*/ 1252537 h 1547812"/>
              <a:gd name="connsiteX3" fmla="*/ 355 w 3438880"/>
              <a:gd name="connsiteY3" fmla="*/ 0 h 1547812"/>
            </a:gdLst>
            <a:ahLst/>
            <a:cxnLst>
              <a:cxn ang="0">
                <a:pos x="connsiteX0" y="connsiteY0"/>
              </a:cxn>
              <a:cxn ang="0">
                <a:pos x="connsiteX1" y="connsiteY1"/>
              </a:cxn>
              <a:cxn ang="0">
                <a:pos x="connsiteX2" y="connsiteY2"/>
              </a:cxn>
              <a:cxn ang="0">
                <a:pos x="connsiteX3" y="connsiteY3"/>
              </a:cxn>
            </a:cxnLst>
            <a:rect l="l" t="t" r="r" b="b"/>
            <a:pathLst>
              <a:path w="3438880" h="1547812">
                <a:moveTo>
                  <a:pt x="3438880" y="1547812"/>
                </a:moveTo>
                <a:lnTo>
                  <a:pt x="3438880" y="1252537"/>
                </a:lnTo>
                <a:lnTo>
                  <a:pt x="355" y="1252537"/>
                </a:lnTo>
                <a:cubicBezTo>
                  <a:pt x="1586" y="836612"/>
                  <a:pt x="-876" y="415925"/>
                  <a:pt x="355" y="0"/>
                </a:cubicBez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grpSp>
        <p:nvGrpSpPr>
          <p:cNvPr id="27" name="Group 26"/>
          <p:cNvGrpSpPr/>
          <p:nvPr/>
        </p:nvGrpSpPr>
        <p:grpSpPr>
          <a:xfrm>
            <a:off x="265115" y="1047757"/>
            <a:ext cx="2486024" cy="2571749"/>
            <a:chOff x="265113" y="1047750"/>
            <a:chExt cx="2486024" cy="2571749"/>
          </a:xfrm>
        </p:grpSpPr>
        <p:grpSp>
          <p:nvGrpSpPr>
            <p:cNvPr id="6" name="Group 5"/>
            <p:cNvGrpSpPr/>
            <p:nvPr/>
          </p:nvGrpSpPr>
          <p:grpSpPr>
            <a:xfrm>
              <a:off x="2106514" y="1047750"/>
              <a:ext cx="644623" cy="644623"/>
              <a:chOff x="2106514" y="1047750"/>
              <a:chExt cx="644623" cy="644623"/>
            </a:xfrm>
          </p:grpSpPr>
          <p:sp>
            <p:nvSpPr>
              <p:cNvPr id="7" name="Rechthoek 10"/>
              <p:cNvSpPr>
                <a:spLocks noChangeAspect="1"/>
              </p:cNvSpPr>
              <p:nvPr/>
            </p:nvSpPr>
            <p:spPr>
              <a:xfrm>
                <a:off x="2106514"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8" name="Freeform 25"/>
              <p:cNvSpPr>
                <a:spLocks/>
              </p:cNvSpPr>
              <p:nvPr/>
            </p:nvSpPr>
            <p:spPr bwMode="auto">
              <a:xfrm>
                <a:off x="2232820" y="1184076"/>
                <a:ext cx="379200" cy="371970"/>
              </a:xfrm>
              <a:custGeom>
                <a:avLst/>
                <a:gdLst>
                  <a:gd name="T0" fmla="*/ 173 w 200"/>
                  <a:gd name="T1" fmla="*/ 109 h 196"/>
                  <a:gd name="T2" fmla="*/ 180 w 200"/>
                  <a:gd name="T3" fmla="*/ 118 h 196"/>
                  <a:gd name="T4" fmla="*/ 200 w 200"/>
                  <a:gd name="T5" fmla="*/ 118 h 196"/>
                  <a:gd name="T6" fmla="*/ 102 w 200"/>
                  <a:gd name="T7" fmla="*/ 0 h 196"/>
                  <a:gd name="T8" fmla="*/ 64 w 200"/>
                  <a:gd name="T9" fmla="*/ 44 h 196"/>
                  <a:gd name="T10" fmla="*/ 64 w 200"/>
                  <a:gd name="T11" fmla="*/ 20 h 196"/>
                  <a:gd name="T12" fmla="*/ 38 w 200"/>
                  <a:gd name="T13" fmla="*/ 20 h 196"/>
                  <a:gd name="T14" fmla="*/ 38 w 200"/>
                  <a:gd name="T15" fmla="*/ 75 h 196"/>
                  <a:gd name="T16" fmla="*/ 0 w 200"/>
                  <a:gd name="T17" fmla="*/ 118 h 196"/>
                  <a:gd name="T18" fmla="*/ 21 w 200"/>
                  <a:gd name="T19" fmla="*/ 118 h 196"/>
                  <a:gd name="T20" fmla="*/ 28 w 200"/>
                  <a:gd name="T21" fmla="*/ 110 h 196"/>
                  <a:gd name="T22" fmla="*/ 28 w 200"/>
                  <a:gd name="T23" fmla="*/ 184 h 196"/>
                  <a:gd name="T24" fmla="*/ 18 w 200"/>
                  <a:gd name="T25" fmla="*/ 184 h 196"/>
                  <a:gd name="T26" fmla="*/ 18 w 200"/>
                  <a:gd name="T27" fmla="*/ 196 h 196"/>
                  <a:gd name="T28" fmla="*/ 69 w 200"/>
                  <a:gd name="T29" fmla="*/ 196 h 196"/>
                  <a:gd name="T30" fmla="*/ 77 w 200"/>
                  <a:gd name="T31" fmla="*/ 185 h 196"/>
                  <a:gd name="T32" fmla="*/ 77 w 200"/>
                  <a:gd name="T33" fmla="*/ 185 h 196"/>
                  <a:gd name="T34" fmla="*/ 81 w 200"/>
                  <a:gd name="T35" fmla="*/ 174 h 196"/>
                  <a:gd name="T36" fmla="*/ 96 w 200"/>
                  <a:gd name="T37" fmla="*/ 119 h 196"/>
                  <a:gd name="T38" fmla="*/ 77 w 200"/>
                  <a:gd name="T39" fmla="*/ 169 h 196"/>
                  <a:gd name="T40" fmla="*/ 76 w 200"/>
                  <a:gd name="T41" fmla="*/ 173 h 196"/>
                  <a:gd name="T42" fmla="*/ 76 w 200"/>
                  <a:gd name="T43" fmla="*/ 173 h 196"/>
                  <a:gd name="T44" fmla="*/ 69 w 200"/>
                  <a:gd name="T45" fmla="*/ 110 h 196"/>
                  <a:gd name="T46" fmla="*/ 126 w 200"/>
                  <a:gd name="T47" fmla="*/ 60 h 196"/>
                  <a:gd name="T48" fmla="*/ 128 w 200"/>
                  <a:gd name="T49" fmla="*/ 83 h 196"/>
                  <a:gd name="T50" fmla="*/ 129 w 200"/>
                  <a:gd name="T51" fmla="*/ 136 h 196"/>
                  <a:gd name="T52" fmla="*/ 100 w 200"/>
                  <a:gd name="T53" fmla="*/ 177 h 196"/>
                  <a:gd name="T54" fmla="*/ 83 w 200"/>
                  <a:gd name="T55" fmla="*/ 184 h 196"/>
                  <a:gd name="T56" fmla="*/ 77 w 200"/>
                  <a:gd name="T57" fmla="*/ 196 h 196"/>
                  <a:gd name="T58" fmla="*/ 183 w 200"/>
                  <a:gd name="T59" fmla="*/ 196 h 196"/>
                  <a:gd name="T60" fmla="*/ 183 w 200"/>
                  <a:gd name="T61" fmla="*/ 184 h 196"/>
                  <a:gd name="T62" fmla="*/ 173 w 200"/>
                  <a:gd name="T63" fmla="*/ 184 h 196"/>
                  <a:gd name="T64" fmla="*/ 173 w 200"/>
                  <a:gd name="T65" fmla="*/ 10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196">
                    <a:moveTo>
                      <a:pt x="173" y="109"/>
                    </a:moveTo>
                    <a:cubicBezTo>
                      <a:pt x="180" y="118"/>
                      <a:pt x="180" y="118"/>
                      <a:pt x="180" y="118"/>
                    </a:cubicBezTo>
                    <a:cubicBezTo>
                      <a:pt x="200" y="118"/>
                      <a:pt x="200" y="118"/>
                      <a:pt x="200" y="118"/>
                    </a:cubicBezTo>
                    <a:cubicBezTo>
                      <a:pt x="102" y="0"/>
                      <a:pt x="102" y="0"/>
                      <a:pt x="102" y="0"/>
                    </a:cubicBezTo>
                    <a:cubicBezTo>
                      <a:pt x="64" y="44"/>
                      <a:pt x="64" y="44"/>
                      <a:pt x="64" y="44"/>
                    </a:cubicBezTo>
                    <a:cubicBezTo>
                      <a:pt x="64" y="20"/>
                      <a:pt x="64" y="20"/>
                      <a:pt x="64" y="20"/>
                    </a:cubicBezTo>
                    <a:cubicBezTo>
                      <a:pt x="38" y="20"/>
                      <a:pt x="38" y="20"/>
                      <a:pt x="38" y="20"/>
                    </a:cubicBezTo>
                    <a:cubicBezTo>
                      <a:pt x="38" y="75"/>
                      <a:pt x="38" y="75"/>
                      <a:pt x="38" y="75"/>
                    </a:cubicBezTo>
                    <a:cubicBezTo>
                      <a:pt x="0" y="118"/>
                      <a:pt x="0" y="118"/>
                      <a:pt x="0" y="118"/>
                    </a:cubicBezTo>
                    <a:cubicBezTo>
                      <a:pt x="21" y="118"/>
                      <a:pt x="21" y="118"/>
                      <a:pt x="21" y="118"/>
                    </a:cubicBezTo>
                    <a:cubicBezTo>
                      <a:pt x="28" y="110"/>
                      <a:pt x="28" y="110"/>
                      <a:pt x="28" y="110"/>
                    </a:cubicBezTo>
                    <a:cubicBezTo>
                      <a:pt x="28" y="184"/>
                      <a:pt x="28" y="184"/>
                      <a:pt x="28" y="184"/>
                    </a:cubicBezTo>
                    <a:cubicBezTo>
                      <a:pt x="18" y="184"/>
                      <a:pt x="18" y="184"/>
                      <a:pt x="18" y="184"/>
                    </a:cubicBezTo>
                    <a:cubicBezTo>
                      <a:pt x="18" y="196"/>
                      <a:pt x="18" y="196"/>
                      <a:pt x="18" y="196"/>
                    </a:cubicBezTo>
                    <a:cubicBezTo>
                      <a:pt x="69" y="196"/>
                      <a:pt x="69" y="196"/>
                      <a:pt x="69" y="196"/>
                    </a:cubicBezTo>
                    <a:cubicBezTo>
                      <a:pt x="73" y="192"/>
                      <a:pt x="75" y="188"/>
                      <a:pt x="77" y="185"/>
                    </a:cubicBezTo>
                    <a:cubicBezTo>
                      <a:pt x="77" y="185"/>
                      <a:pt x="77" y="185"/>
                      <a:pt x="77" y="185"/>
                    </a:cubicBezTo>
                    <a:cubicBezTo>
                      <a:pt x="79" y="181"/>
                      <a:pt x="80" y="178"/>
                      <a:pt x="81" y="174"/>
                    </a:cubicBezTo>
                    <a:cubicBezTo>
                      <a:pt x="95" y="140"/>
                      <a:pt x="95" y="120"/>
                      <a:pt x="96" y="119"/>
                    </a:cubicBezTo>
                    <a:cubicBezTo>
                      <a:pt x="95" y="120"/>
                      <a:pt x="85" y="138"/>
                      <a:pt x="77" y="169"/>
                    </a:cubicBezTo>
                    <a:cubicBezTo>
                      <a:pt x="77" y="170"/>
                      <a:pt x="77" y="171"/>
                      <a:pt x="76" y="173"/>
                    </a:cubicBezTo>
                    <a:cubicBezTo>
                      <a:pt x="76" y="173"/>
                      <a:pt x="76" y="173"/>
                      <a:pt x="76" y="173"/>
                    </a:cubicBezTo>
                    <a:cubicBezTo>
                      <a:pt x="77" y="173"/>
                      <a:pt x="57" y="146"/>
                      <a:pt x="69" y="110"/>
                    </a:cubicBezTo>
                    <a:cubicBezTo>
                      <a:pt x="80" y="73"/>
                      <a:pt x="126" y="60"/>
                      <a:pt x="126" y="60"/>
                    </a:cubicBezTo>
                    <a:cubicBezTo>
                      <a:pt x="127" y="60"/>
                      <a:pt x="127" y="68"/>
                      <a:pt x="128" y="83"/>
                    </a:cubicBezTo>
                    <a:cubicBezTo>
                      <a:pt x="129" y="97"/>
                      <a:pt x="132" y="117"/>
                      <a:pt x="129" y="136"/>
                    </a:cubicBezTo>
                    <a:cubicBezTo>
                      <a:pt x="126" y="156"/>
                      <a:pt x="114" y="169"/>
                      <a:pt x="100" y="177"/>
                    </a:cubicBezTo>
                    <a:cubicBezTo>
                      <a:pt x="94" y="180"/>
                      <a:pt x="88" y="182"/>
                      <a:pt x="83" y="184"/>
                    </a:cubicBezTo>
                    <a:cubicBezTo>
                      <a:pt x="81" y="187"/>
                      <a:pt x="79" y="191"/>
                      <a:pt x="77" y="196"/>
                    </a:cubicBezTo>
                    <a:cubicBezTo>
                      <a:pt x="183" y="196"/>
                      <a:pt x="183" y="196"/>
                      <a:pt x="183" y="196"/>
                    </a:cubicBezTo>
                    <a:cubicBezTo>
                      <a:pt x="183" y="184"/>
                      <a:pt x="183" y="184"/>
                      <a:pt x="183" y="184"/>
                    </a:cubicBezTo>
                    <a:cubicBezTo>
                      <a:pt x="173" y="184"/>
                      <a:pt x="173" y="184"/>
                      <a:pt x="173" y="184"/>
                    </a:cubicBezTo>
                    <a:lnTo>
                      <a:pt x="173" y="10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13" name="Rechthoek 10"/>
            <p:cNvSpPr>
              <a:spLocks noChangeAspect="1"/>
            </p:cNvSpPr>
            <p:nvPr/>
          </p:nvSpPr>
          <p:spPr>
            <a:xfrm>
              <a:off x="265113" y="1778098"/>
              <a:ext cx="1841401" cy="184140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17" name="Titel 7"/>
            <p:cNvSpPr txBox="1">
              <a:spLocks/>
            </p:cNvSpPr>
            <p:nvPr/>
          </p:nvSpPr>
          <p:spPr>
            <a:xfrm>
              <a:off x="350837" y="1809802"/>
              <a:ext cx="1561090" cy="640875"/>
            </a:xfrm>
            <a:prstGeom prst="rect">
              <a:avLst/>
            </a:prstGeom>
          </p:spPr>
          <p:txBody>
            <a:bodyPr lIns="0" tIns="34290" rIns="68580" bIns="3429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flexibility value system</a:t>
              </a:r>
            </a:p>
          </p:txBody>
        </p:sp>
        <p:sp>
          <p:nvSpPr>
            <p:cNvPr id="18" name="Titel 7"/>
            <p:cNvSpPr txBox="1">
              <a:spLocks/>
            </p:cNvSpPr>
            <p:nvPr/>
          </p:nvSpPr>
          <p:spPr>
            <a:xfrm>
              <a:off x="350836" y="2932444"/>
              <a:ext cx="1755677" cy="640875"/>
            </a:xfrm>
            <a:prstGeom prst="rect">
              <a:avLst/>
            </a:prstGeom>
          </p:spPr>
          <p:txBody>
            <a:bodyPr lIns="0" tIns="34290" rIns="68580" bIns="34290"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How flexibility is used today and will be used tomorrow</a:t>
              </a:r>
            </a:p>
          </p:txBody>
        </p:sp>
        <p:sp>
          <p:nvSpPr>
            <p:cNvPr id="24" name="Rechthoek 10"/>
            <p:cNvSpPr>
              <a:spLocks noChangeAspect="1"/>
            </p:cNvSpPr>
            <p:nvPr/>
          </p:nvSpPr>
          <p:spPr>
            <a:xfrm>
              <a:off x="265113" y="1778097"/>
              <a:ext cx="1841401" cy="1841401"/>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sp>
        <p:nvSpPr>
          <p:cNvPr id="19" name="Freeform 18"/>
          <p:cNvSpPr/>
          <p:nvPr/>
        </p:nvSpPr>
        <p:spPr>
          <a:xfrm>
            <a:off x="4262391" y="3370264"/>
            <a:ext cx="531285" cy="1087436"/>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53935 w 3453935"/>
              <a:gd name="connsiteY0" fmla="*/ 1776412 h 1776412"/>
              <a:gd name="connsiteX1" fmla="*/ 3453935 w 3453935"/>
              <a:gd name="connsiteY1" fmla="*/ 1481137 h 1776412"/>
              <a:gd name="connsiteX2" fmla="*/ 15410 w 3453935"/>
              <a:gd name="connsiteY2" fmla="*/ 1481137 h 1776412"/>
              <a:gd name="connsiteX3" fmla="*/ 0 w 3453935"/>
              <a:gd name="connsiteY3" fmla="*/ 0 h 1776412"/>
              <a:gd name="connsiteX0" fmla="*/ 3438525 w 3438525"/>
              <a:gd name="connsiteY0" fmla="*/ 1027112 h 1027112"/>
              <a:gd name="connsiteX1" fmla="*/ 3438525 w 3438525"/>
              <a:gd name="connsiteY1" fmla="*/ 731837 h 1027112"/>
              <a:gd name="connsiteX2" fmla="*/ 0 w 3438525"/>
              <a:gd name="connsiteY2" fmla="*/ 731837 h 1027112"/>
              <a:gd name="connsiteX3" fmla="*/ 5139 w 3438525"/>
              <a:gd name="connsiteY3" fmla="*/ 0 h 1027112"/>
              <a:gd name="connsiteX0" fmla="*/ 3438525 w 3438525"/>
              <a:gd name="connsiteY0" fmla="*/ 1017587 h 1017587"/>
              <a:gd name="connsiteX1" fmla="*/ 3438525 w 3438525"/>
              <a:gd name="connsiteY1" fmla="*/ 722312 h 1017587"/>
              <a:gd name="connsiteX2" fmla="*/ 0 w 3438525"/>
              <a:gd name="connsiteY2" fmla="*/ 722312 h 1017587"/>
              <a:gd name="connsiteX3" fmla="*/ 20549 w 3438525"/>
              <a:gd name="connsiteY3" fmla="*/ 0 h 1017587"/>
              <a:gd name="connsiteX0" fmla="*/ 3438525 w 3438525"/>
              <a:gd name="connsiteY0" fmla="*/ 1019968 h 1019968"/>
              <a:gd name="connsiteX1" fmla="*/ 3438525 w 3438525"/>
              <a:gd name="connsiteY1" fmla="*/ 724693 h 1019968"/>
              <a:gd name="connsiteX2" fmla="*/ 0 w 3438525"/>
              <a:gd name="connsiteY2" fmla="*/ 724693 h 1019968"/>
              <a:gd name="connsiteX3" fmla="*/ 5139 w 3438525"/>
              <a:gd name="connsiteY3" fmla="*/ 0 h 1019968"/>
              <a:gd name="connsiteX0" fmla="*/ 3438525 w 3438525"/>
              <a:gd name="connsiteY0" fmla="*/ 1194593 h 1194593"/>
              <a:gd name="connsiteX1" fmla="*/ 3438525 w 3438525"/>
              <a:gd name="connsiteY1" fmla="*/ 899318 h 1194593"/>
              <a:gd name="connsiteX2" fmla="*/ 0 w 3438525"/>
              <a:gd name="connsiteY2" fmla="*/ 899318 h 1194593"/>
              <a:gd name="connsiteX3" fmla="*/ 5139 w 3438525"/>
              <a:gd name="connsiteY3" fmla="*/ 0 h 1194593"/>
              <a:gd name="connsiteX0" fmla="*/ 3438525 w 3438525"/>
              <a:gd name="connsiteY0" fmla="*/ 1085055 h 1085055"/>
              <a:gd name="connsiteX1" fmla="*/ 3438525 w 3438525"/>
              <a:gd name="connsiteY1" fmla="*/ 789780 h 1085055"/>
              <a:gd name="connsiteX2" fmla="*/ 0 w 3438525"/>
              <a:gd name="connsiteY2" fmla="*/ 789780 h 1085055"/>
              <a:gd name="connsiteX3" fmla="*/ 5139 w 3438525"/>
              <a:gd name="connsiteY3" fmla="*/ 0 h 1085055"/>
              <a:gd name="connsiteX0" fmla="*/ 3438525 w 3438525"/>
              <a:gd name="connsiteY0" fmla="*/ 1087436 h 1087436"/>
              <a:gd name="connsiteX1" fmla="*/ 3438525 w 3438525"/>
              <a:gd name="connsiteY1" fmla="*/ 792161 h 1087436"/>
              <a:gd name="connsiteX2" fmla="*/ 0 w 3438525"/>
              <a:gd name="connsiteY2" fmla="*/ 792161 h 1087436"/>
              <a:gd name="connsiteX3" fmla="*/ 20555 w 3438525"/>
              <a:gd name="connsiteY3" fmla="*/ 0 h 1087436"/>
              <a:gd name="connsiteX0" fmla="*/ 3438525 w 3438525"/>
              <a:gd name="connsiteY0" fmla="*/ 1087436 h 1087436"/>
              <a:gd name="connsiteX1" fmla="*/ 3438525 w 3438525"/>
              <a:gd name="connsiteY1" fmla="*/ 792161 h 1087436"/>
              <a:gd name="connsiteX2" fmla="*/ 0 w 3438525"/>
              <a:gd name="connsiteY2" fmla="*/ 792161 h 1087436"/>
              <a:gd name="connsiteX3" fmla="*/ 5145 w 3438525"/>
              <a:gd name="connsiteY3" fmla="*/ 0 h 1087436"/>
            </a:gdLst>
            <a:ahLst/>
            <a:cxnLst>
              <a:cxn ang="0">
                <a:pos x="connsiteX0" y="connsiteY0"/>
              </a:cxn>
              <a:cxn ang="0">
                <a:pos x="connsiteX1" y="connsiteY1"/>
              </a:cxn>
              <a:cxn ang="0">
                <a:pos x="connsiteX2" y="connsiteY2"/>
              </a:cxn>
              <a:cxn ang="0">
                <a:pos x="connsiteX3" y="connsiteY3"/>
              </a:cxn>
            </a:cxnLst>
            <a:rect l="l" t="t" r="r" b="b"/>
            <a:pathLst>
              <a:path w="3438525" h="1087436">
                <a:moveTo>
                  <a:pt x="3438525" y="1087436"/>
                </a:moveTo>
                <a:lnTo>
                  <a:pt x="3438525" y="792161"/>
                </a:lnTo>
                <a:lnTo>
                  <a:pt x="0" y="792161"/>
                </a:lnTo>
                <a:lnTo>
                  <a:pt x="5145"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sp>
        <p:nvSpPr>
          <p:cNvPr id="30" name="Rectangle 29"/>
          <p:cNvSpPr/>
          <p:nvPr/>
        </p:nvSpPr>
        <p:spPr>
          <a:xfrm>
            <a:off x="140574" y="417323"/>
            <a:ext cx="3199787" cy="3990973"/>
          </a:xfrm>
          <a:prstGeom prst="rect">
            <a:avLst/>
          </a:prstGeom>
          <a:solidFill>
            <a:schemeClr val="bg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grpSp>
        <p:nvGrpSpPr>
          <p:cNvPr id="28" name="Group 27"/>
          <p:cNvGrpSpPr/>
          <p:nvPr/>
        </p:nvGrpSpPr>
        <p:grpSpPr>
          <a:xfrm>
            <a:off x="3341691" y="1047757"/>
            <a:ext cx="2486025" cy="2571749"/>
            <a:chOff x="3341688" y="1047750"/>
            <a:chExt cx="2486025" cy="2571749"/>
          </a:xfrm>
        </p:grpSpPr>
        <p:grpSp>
          <p:nvGrpSpPr>
            <p:cNvPr id="9" name="Group 8"/>
            <p:cNvGrpSpPr/>
            <p:nvPr/>
          </p:nvGrpSpPr>
          <p:grpSpPr>
            <a:xfrm>
              <a:off x="5183089" y="1047750"/>
              <a:ext cx="644624" cy="644624"/>
              <a:chOff x="5183089" y="1047750"/>
              <a:chExt cx="644624" cy="644624"/>
            </a:xfrm>
          </p:grpSpPr>
          <p:sp>
            <p:nvSpPr>
              <p:cNvPr id="10" name="Rechthoek 10"/>
              <p:cNvSpPr>
                <a:spLocks noChangeAspect="1"/>
              </p:cNvSpPr>
              <p:nvPr/>
            </p:nvSpPr>
            <p:spPr>
              <a:xfrm>
                <a:off x="5183089"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pic>
            <p:nvPicPr>
              <p:cNvPr id="11" name="Afbeelding 1" descr="USEF outline wit.png"/>
              <p:cNvPicPr>
                <a:picLocks noChangeAspect="1"/>
              </p:cNvPicPr>
              <p:nvPr/>
            </p:nvPicPr>
            <p:blipFill rotWithShape="1">
              <a:blip r:embed="rId3">
                <a:extLst>
                  <a:ext uri="{28A0092B-C50C-407E-A947-70E740481C1C}">
                    <a14:useLocalDpi xmlns:a14="http://schemas.microsoft.com/office/drawing/2010/main" val="0"/>
                  </a:ext>
                </a:extLst>
              </a:blip>
              <a:srcRect r="23389" b="64315"/>
              <a:stretch/>
            </p:blipFill>
            <p:spPr>
              <a:xfrm>
                <a:off x="5250657" y="1078546"/>
                <a:ext cx="577056" cy="613828"/>
              </a:xfrm>
              <a:prstGeom prst="rect">
                <a:avLst/>
              </a:prstGeom>
            </p:spPr>
          </p:pic>
        </p:grpSp>
        <p:sp>
          <p:nvSpPr>
            <p:cNvPr id="12" name="Rechthoek 10"/>
            <p:cNvSpPr>
              <a:spLocks noChangeAspect="1"/>
            </p:cNvSpPr>
            <p:nvPr/>
          </p:nvSpPr>
          <p:spPr>
            <a:xfrm>
              <a:off x="3341688" y="1778098"/>
              <a:ext cx="1841401" cy="184140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20" name="Titel 7"/>
            <p:cNvSpPr txBox="1">
              <a:spLocks/>
            </p:cNvSpPr>
            <p:nvPr/>
          </p:nvSpPr>
          <p:spPr>
            <a:xfrm>
              <a:off x="3419873" y="1809802"/>
              <a:ext cx="1561090" cy="640875"/>
            </a:xfrm>
            <a:prstGeom prst="rect">
              <a:avLst/>
            </a:prstGeom>
          </p:spPr>
          <p:txBody>
            <a:bodyPr lIns="0" tIns="34290" rIns="68580" bIns="3429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framework</a:t>
              </a:r>
            </a:p>
          </p:txBody>
        </p:sp>
        <p:sp>
          <p:nvSpPr>
            <p:cNvPr id="21" name="Titel 7"/>
            <p:cNvSpPr txBox="1">
              <a:spLocks/>
            </p:cNvSpPr>
            <p:nvPr/>
          </p:nvSpPr>
          <p:spPr>
            <a:xfrm>
              <a:off x="3419872" y="2932444"/>
              <a:ext cx="1763215" cy="640875"/>
            </a:xfrm>
            <a:prstGeom prst="rect">
              <a:avLst/>
            </a:prstGeom>
          </p:spPr>
          <p:txBody>
            <a:bodyPr lIns="0" tIns="34290" rIns="68580" bIns="34290"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How USEF supports an optimal flexibility market</a:t>
              </a:r>
            </a:p>
          </p:txBody>
        </p:sp>
        <p:sp>
          <p:nvSpPr>
            <p:cNvPr id="25" name="Rechthoek 10"/>
            <p:cNvSpPr>
              <a:spLocks noChangeAspect="1"/>
            </p:cNvSpPr>
            <p:nvPr/>
          </p:nvSpPr>
          <p:spPr>
            <a:xfrm>
              <a:off x="3341688" y="1778097"/>
              <a:ext cx="1841401" cy="1841401"/>
            </a:xfrm>
            <a:prstGeom prst="rect">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sp>
        <p:nvSpPr>
          <p:cNvPr id="32" name="Rectangle 31"/>
          <p:cNvSpPr/>
          <p:nvPr/>
        </p:nvSpPr>
        <p:spPr>
          <a:xfrm>
            <a:off x="4932047" y="3683800"/>
            <a:ext cx="1044115" cy="773905"/>
          </a:xfrm>
          <a:prstGeom prst="rect">
            <a:avLst/>
          </a:prstGeom>
          <a:solidFill>
            <a:schemeClr val="bg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spTree>
    <p:extLst>
      <p:ext uri="{BB962C8B-B14F-4D97-AF65-F5344CB8AC3E}">
        <p14:creationId xmlns:p14="http://schemas.microsoft.com/office/powerpoint/2010/main" val="1815268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6" name="Group 405"/>
          <p:cNvGrpSpPr/>
          <p:nvPr/>
        </p:nvGrpSpPr>
        <p:grpSpPr>
          <a:xfrm>
            <a:off x="2518840" y="1468005"/>
            <a:ext cx="4287086" cy="2773630"/>
            <a:chOff x="1135063" y="973932"/>
            <a:chExt cx="7631113" cy="4937126"/>
          </a:xfrm>
        </p:grpSpPr>
        <p:sp>
          <p:nvSpPr>
            <p:cNvPr id="407" name="Line 7"/>
            <p:cNvSpPr>
              <a:spLocks noChangeShapeType="1"/>
            </p:cNvSpPr>
            <p:nvPr/>
          </p:nvSpPr>
          <p:spPr bwMode="auto">
            <a:xfrm>
              <a:off x="1374775" y="27670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08" name="Freeform 8"/>
            <p:cNvSpPr>
              <a:spLocks/>
            </p:cNvSpPr>
            <p:nvPr/>
          </p:nvSpPr>
          <p:spPr bwMode="auto">
            <a:xfrm>
              <a:off x="1135063" y="2684463"/>
              <a:ext cx="449263" cy="1095375"/>
            </a:xfrm>
            <a:custGeom>
              <a:avLst/>
              <a:gdLst>
                <a:gd name="T0" fmla="*/ 151 w 283"/>
                <a:gd name="T1" fmla="*/ 52 h 690"/>
                <a:gd name="T2" fmla="*/ 151 w 283"/>
                <a:gd name="T3" fmla="*/ 690 h 690"/>
                <a:gd name="T4" fmla="*/ 0 w 283"/>
                <a:gd name="T5" fmla="*/ 690 h 690"/>
                <a:gd name="T6" fmla="*/ 0 w 283"/>
                <a:gd name="T7" fmla="*/ 0 h 690"/>
                <a:gd name="T8" fmla="*/ 283 w 283"/>
                <a:gd name="T9" fmla="*/ 0 h 690"/>
              </a:gdLst>
              <a:ahLst/>
              <a:cxnLst>
                <a:cxn ang="0">
                  <a:pos x="T0" y="T1"/>
                </a:cxn>
                <a:cxn ang="0">
                  <a:pos x="T2" y="T3"/>
                </a:cxn>
                <a:cxn ang="0">
                  <a:pos x="T4" y="T5"/>
                </a:cxn>
                <a:cxn ang="0">
                  <a:pos x="T6" y="T7"/>
                </a:cxn>
                <a:cxn ang="0">
                  <a:pos x="T8" y="T9"/>
                </a:cxn>
              </a:cxnLst>
              <a:rect l="0" t="0" r="r" b="b"/>
              <a:pathLst>
                <a:path w="283" h="690">
                  <a:moveTo>
                    <a:pt x="151" y="52"/>
                  </a:moveTo>
                  <a:lnTo>
                    <a:pt x="151" y="690"/>
                  </a:lnTo>
                  <a:lnTo>
                    <a:pt x="0" y="690"/>
                  </a:lnTo>
                  <a:lnTo>
                    <a:pt x="0" y="0"/>
                  </a:lnTo>
                  <a:lnTo>
                    <a:pt x="283"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09" name="Freeform 9"/>
            <p:cNvSpPr>
              <a:spLocks/>
            </p:cNvSpPr>
            <p:nvPr/>
          </p:nvSpPr>
          <p:spPr bwMode="auto">
            <a:xfrm>
              <a:off x="1584325" y="2681288"/>
              <a:ext cx="930275" cy="1101725"/>
            </a:xfrm>
            <a:custGeom>
              <a:avLst/>
              <a:gdLst>
                <a:gd name="T0" fmla="*/ 586 w 586"/>
                <a:gd name="T1" fmla="*/ 127 h 694"/>
                <a:gd name="T2" fmla="*/ 586 w 586"/>
                <a:gd name="T3" fmla="*/ 694 h 694"/>
                <a:gd name="T4" fmla="*/ 433 w 586"/>
                <a:gd name="T5" fmla="*/ 694 h 694"/>
                <a:gd name="T6" fmla="*/ 147 w 586"/>
                <a:gd name="T7" fmla="*/ 234 h 694"/>
                <a:gd name="T8" fmla="*/ 144 w 586"/>
                <a:gd name="T9" fmla="*/ 234 h 694"/>
                <a:gd name="T10" fmla="*/ 144 w 586"/>
                <a:gd name="T11" fmla="*/ 694 h 694"/>
                <a:gd name="T12" fmla="*/ 0 w 586"/>
                <a:gd name="T13" fmla="*/ 694 h 694"/>
                <a:gd name="T14" fmla="*/ 0 w 586"/>
                <a:gd name="T15" fmla="*/ 0 h 694"/>
                <a:gd name="T16" fmla="*/ 0 w 586"/>
                <a:gd name="T17" fmla="*/ 4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6" h="694">
                  <a:moveTo>
                    <a:pt x="586" y="127"/>
                  </a:moveTo>
                  <a:lnTo>
                    <a:pt x="586" y="694"/>
                  </a:lnTo>
                  <a:lnTo>
                    <a:pt x="433" y="694"/>
                  </a:lnTo>
                  <a:lnTo>
                    <a:pt x="147" y="234"/>
                  </a:lnTo>
                  <a:lnTo>
                    <a:pt x="144" y="234"/>
                  </a:lnTo>
                  <a:lnTo>
                    <a:pt x="144" y="694"/>
                  </a:lnTo>
                  <a:lnTo>
                    <a:pt x="0" y="694"/>
                  </a:lnTo>
                  <a:lnTo>
                    <a:pt x="0" y="0"/>
                  </a:lnTo>
                  <a:lnTo>
                    <a:pt x="0" y="4"/>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0" name="Line 10"/>
            <p:cNvSpPr>
              <a:spLocks noChangeShapeType="1"/>
            </p:cNvSpPr>
            <p:nvPr/>
          </p:nvSpPr>
          <p:spPr bwMode="auto">
            <a:xfrm>
              <a:off x="2514600" y="28225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1" name="Line 11"/>
            <p:cNvSpPr>
              <a:spLocks noChangeShapeType="1"/>
            </p:cNvSpPr>
            <p:nvPr/>
          </p:nvSpPr>
          <p:spPr bwMode="auto">
            <a:xfrm>
              <a:off x="2514600" y="28987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2" name="Line 12"/>
            <p:cNvSpPr>
              <a:spLocks noChangeShapeType="1"/>
            </p:cNvSpPr>
            <p:nvPr/>
          </p:nvSpPr>
          <p:spPr bwMode="auto">
            <a:xfrm>
              <a:off x="2514600" y="278606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3" name="Line 13"/>
            <p:cNvSpPr>
              <a:spLocks noChangeShapeType="1"/>
            </p:cNvSpPr>
            <p:nvPr/>
          </p:nvSpPr>
          <p:spPr bwMode="auto">
            <a:xfrm>
              <a:off x="2514600" y="274796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4" name="Line 14"/>
            <p:cNvSpPr>
              <a:spLocks noChangeShapeType="1"/>
            </p:cNvSpPr>
            <p:nvPr/>
          </p:nvSpPr>
          <p:spPr bwMode="auto">
            <a:xfrm>
              <a:off x="2514600" y="27336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5" name="Line 15"/>
            <p:cNvSpPr>
              <a:spLocks noChangeShapeType="1"/>
            </p:cNvSpPr>
            <p:nvPr/>
          </p:nvSpPr>
          <p:spPr bwMode="auto">
            <a:xfrm>
              <a:off x="2514600" y="271780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6" name="Freeform 16"/>
            <p:cNvSpPr>
              <a:spLocks/>
            </p:cNvSpPr>
            <p:nvPr/>
          </p:nvSpPr>
          <p:spPr bwMode="auto">
            <a:xfrm>
              <a:off x="1677988" y="2455863"/>
              <a:ext cx="836613" cy="963613"/>
            </a:xfrm>
            <a:custGeom>
              <a:avLst/>
              <a:gdLst>
                <a:gd name="T0" fmla="*/ 0 w 527"/>
                <a:gd name="T1" fmla="*/ 0 h 607"/>
                <a:gd name="T2" fmla="*/ 381 w 527"/>
                <a:gd name="T3" fmla="*/ 607 h 607"/>
                <a:gd name="T4" fmla="*/ 383 w 527"/>
                <a:gd name="T5" fmla="*/ 607 h 607"/>
                <a:gd name="T6" fmla="*/ 383 w 527"/>
                <a:gd name="T7" fmla="*/ 144 h 607"/>
                <a:gd name="T8" fmla="*/ 527 w 527"/>
                <a:gd name="T9" fmla="*/ 144 h 607"/>
                <a:gd name="T10" fmla="*/ 527 w 527"/>
                <a:gd name="T11" fmla="*/ 146 h 607"/>
              </a:gdLst>
              <a:ahLst/>
              <a:cxnLst>
                <a:cxn ang="0">
                  <a:pos x="T0" y="T1"/>
                </a:cxn>
                <a:cxn ang="0">
                  <a:pos x="T2" y="T3"/>
                </a:cxn>
                <a:cxn ang="0">
                  <a:pos x="T4" y="T5"/>
                </a:cxn>
                <a:cxn ang="0">
                  <a:pos x="T6" y="T7"/>
                </a:cxn>
                <a:cxn ang="0">
                  <a:pos x="T8" y="T9"/>
                </a:cxn>
                <a:cxn ang="0">
                  <a:pos x="T10" y="T11"/>
                </a:cxn>
              </a:cxnLst>
              <a:rect l="0" t="0" r="r" b="b"/>
              <a:pathLst>
                <a:path w="527" h="607">
                  <a:moveTo>
                    <a:pt x="0" y="0"/>
                  </a:moveTo>
                  <a:lnTo>
                    <a:pt x="381" y="607"/>
                  </a:lnTo>
                  <a:lnTo>
                    <a:pt x="383" y="607"/>
                  </a:lnTo>
                  <a:lnTo>
                    <a:pt x="383" y="144"/>
                  </a:lnTo>
                  <a:lnTo>
                    <a:pt x="527" y="144"/>
                  </a:lnTo>
                  <a:lnTo>
                    <a:pt x="527" y="14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7" name="Freeform 17"/>
            <p:cNvSpPr>
              <a:spLocks noEditPoints="1"/>
            </p:cNvSpPr>
            <p:nvPr/>
          </p:nvSpPr>
          <p:spPr bwMode="auto">
            <a:xfrm>
              <a:off x="2514600" y="2684463"/>
              <a:ext cx="1155700" cy="1095375"/>
            </a:xfrm>
            <a:custGeom>
              <a:avLst/>
              <a:gdLst>
                <a:gd name="T0" fmla="*/ 78 w 728"/>
                <a:gd name="T1" fmla="*/ 61 h 690"/>
                <a:gd name="T2" fmla="*/ 78 w 728"/>
                <a:gd name="T3" fmla="*/ 61 h 690"/>
                <a:gd name="T4" fmla="*/ 78 w 728"/>
                <a:gd name="T5" fmla="*/ 73 h 690"/>
                <a:gd name="T6" fmla="*/ 78 w 728"/>
                <a:gd name="T7" fmla="*/ 73 h 690"/>
                <a:gd name="T8" fmla="*/ 78 w 728"/>
                <a:gd name="T9" fmla="*/ 92 h 690"/>
                <a:gd name="T10" fmla="*/ 78 w 728"/>
                <a:gd name="T11" fmla="*/ 92 h 690"/>
                <a:gd name="T12" fmla="*/ 78 w 728"/>
                <a:gd name="T13" fmla="*/ 104 h 690"/>
                <a:gd name="T14" fmla="*/ 78 w 728"/>
                <a:gd name="T15" fmla="*/ 104 h 690"/>
                <a:gd name="T16" fmla="*/ 78 w 728"/>
                <a:gd name="T17" fmla="*/ 111 h 690"/>
                <a:gd name="T18" fmla="*/ 78 w 728"/>
                <a:gd name="T19" fmla="*/ 111 h 690"/>
                <a:gd name="T20" fmla="*/ 78 w 728"/>
                <a:gd name="T21" fmla="*/ 118 h 690"/>
                <a:gd name="T22" fmla="*/ 78 w 728"/>
                <a:gd name="T23" fmla="*/ 118 h 690"/>
                <a:gd name="T24" fmla="*/ 286 w 728"/>
                <a:gd name="T25" fmla="*/ 690 h 690"/>
                <a:gd name="T26" fmla="*/ 286 w 728"/>
                <a:gd name="T27" fmla="*/ 128 h 690"/>
                <a:gd name="T28" fmla="*/ 78 w 728"/>
                <a:gd name="T29" fmla="*/ 128 h 690"/>
                <a:gd name="T30" fmla="*/ 78 w 728"/>
                <a:gd name="T31" fmla="*/ 123 h 690"/>
                <a:gd name="T32" fmla="*/ 338 w 728"/>
                <a:gd name="T33" fmla="*/ 690 h 690"/>
                <a:gd name="T34" fmla="*/ 338 w 728"/>
                <a:gd name="T35" fmla="*/ 690 h 690"/>
                <a:gd name="T36" fmla="*/ 362 w 728"/>
                <a:gd name="T37" fmla="*/ 690 h 690"/>
                <a:gd name="T38" fmla="*/ 362 w 728"/>
                <a:gd name="T39" fmla="*/ 690 h 690"/>
                <a:gd name="T40" fmla="*/ 725 w 728"/>
                <a:gd name="T41" fmla="*/ 128 h 690"/>
                <a:gd name="T42" fmla="*/ 437 w 728"/>
                <a:gd name="T43" fmla="*/ 128 h 690"/>
                <a:gd name="T44" fmla="*/ 437 w 728"/>
                <a:gd name="T45" fmla="*/ 690 h 690"/>
                <a:gd name="T46" fmla="*/ 399 w 728"/>
                <a:gd name="T47" fmla="*/ 690 h 690"/>
                <a:gd name="T48" fmla="*/ 645 w 728"/>
                <a:gd name="T49" fmla="*/ 69 h 690"/>
                <a:gd name="T50" fmla="*/ 645 w 728"/>
                <a:gd name="T51" fmla="*/ 69 h 690"/>
                <a:gd name="T52" fmla="*/ 645 w 728"/>
                <a:gd name="T53" fmla="*/ 57 h 690"/>
                <a:gd name="T54" fmla="*/ 645 w 728"/>
                <a:gd name="T55" fmla="*/ 57 h 690"/>
                <a:gd name="T56" fmla="*/ 645 w 728"/>
                <a:gd name="T57" fmla="*/ 57 h 690"/>
                <a:gd name="T58" fmla="*/ 645 w 728"/>
                <a:gd name="T59" fmla="*/ 57 h 690"/>
                <a:gd name="T60" fmla="*/ 0 w 728"/>
                <a:gd name="T61" fmla="*/ 0 h 690"/>
                <a:gd name="T62" fmla="*/ 645 w 728"/>
                <a:gd name="T63" fmla="*/ 0 h 690"/>
                <a:gd name="T64" fmla="*/ 728 w 728"/>
                <a:gd name="T65" fmla="*/ 0 h 690"/>
                <a:gd name="T66" fmla="*/ 78 w 728"/>
                <a:gd name="T67" fmla="*/ 33 h 690"/>
                <a:gd name="T68" fmla="*/ 78 w 728"/>
                <a:gd name="T69" fmla="*/ 33 h 690"/>
                <a:gd name="T70" fmla="*/ 78 w 728"/>
                <a:gd name="T71" fmla="*/ 50 h 690"/>
                <a:gd name="T72" fmla="*/ 78 w 728"/>
                <a:gd name="T73" fmla="*/ 5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8" h="690">
                  <a:moveTo>
                    <a:pt x="78" y="61"/>
                  </a:moveTo>
                  <a:lnTo>
                    <a:pt x="78" y="61"/>
                  </a:lnTo>
                  <a:moveTo>
                    <a:pt x="78" y="73"/>
                  </a:moveTo>
                  <a:lnTo>
                    <a:pt x="78" y="73"/>
                  </a:lnTo>
                  <a:moveTo>
                    <a:pt x="78" y="92"/>
                  </a:moveTo>
                  <a:lnTo>
                    <a:pt x="78" y="92"/>
                  </a:lnTo>
                  <a:moveTo>
                    <a:pt x="78" y="104"/>
                  </a:moveTo>
                  <a:lnTo>
                    <a:pt x="78" y="104"/>
                  </a:lnTo>
                  <a:moveTo>
                    <a:pt x="78" y="111"/>
                  </a:moveTo>
                  <a:lnTo>
                    <a:pt x="78" y="111"/>
                  </a:lnTo>
                  <a:moveTo>
                    <a:pt x="78" y="118"/>
                  </a:moveTo>
                  <a:lnTo>
                    <a:pt x="78" y="118"/>
                  </a:lnTo>
                  <a:moveTo>
                    <a:pt x="286" y="690"/>
                  </a:moveTo>
                  <a:lnTo>
                    <a:pt x="286" y="128"/>
                  </a:lnTo>
                  <a:lnTo>
                    <a:pt x="78" y="128"/>
                  </a:lnTo>
                  <a:lnTo>
                    <a:pt x="78" y="123"/>
                  </a:lnTo>
                  <a:moveTo>
                    <a:pt x="338" y="690"/>
                  </a:moveTo>
                  <a:lnTo>
                    <a:pt x="338" y="690"/>
                  </a:lnTo>
                  <a:moveTo>
                    <a:pt x="362" y="690"/>
                  </a:moveTo>
                  <a:lnTo>
                    <a:pt x="362" y="690"/>
                  </a:lnTo>
                  <a:moveTo>
                    <a:pt x="725" y="128"/>
                  </a:moveTo>
                  <a:lnTo>
                    <a:pt x="437" y="128"/>
                  </a:lnTo>
                  <a:lnTo>
                    <a:pt x="437" y="690"/>
                  </a:lnTo>
                  <a:lnTo>
                    <a:pt x="399" y="690"/>
                  </a:lnTo>
                  <a:moveTo>
                    <a:pt x="645" y="69"/>
                  </a:moveTo>
                  <a:lnTo>
                    <a:pt x="645" y="69"/>
                  </a:lnTo>
                  <a:moveTo>
                    <a:pt x="645" y="57"/>
                  </a:moveTo>
                  <a:lnTo>
                    <a:pt x="645" y="57"/>
                  </a:lnTo>
                  <a:moveTo>
                    <a:pt x="645" y="57"/>
                  </a:moveTo>
                  <a:lnTo>
                    <a:pt x="645" y="57"/>
                  </a:lnTo>
                  <a:moveTo>
                    <a:pt x="0" y="0"/>
                  </a:moveTo>
                  <a:lnTo>
                    <a:pt x="645" y="0"/>
                  </a:lnTo>
                  <a:lnTo>
                    <a:pt x="728" y="0"/>
                  </a:lnTo>
                  <a:moveTo>
                    <a:pt x="78" y="33"/>
                  </a:moveTo>
                  <a:lnTo>
                    <a:pt x="78" y="33"/>
                  </a:lnTo>
                  <a:moveTo>
                    <a:pt x="78" y="50"/>
                  </a:moveTo>
                  <a:lnTo>
                    <a:pt x="78" y="5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8" name="Line 18"/>
            <p:cNvSpPr>
              <a:spLocks noChangeShapeType="1"/>
            </p:cNvSpPr>
            <p:nvPr/>
          </p:nvSpPr>
          <p:spPr bwMode="auto">
            <a:xfrm>
              <a:off x="3665538" y="27670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19" name="Line 19"/>
            <p:cNvSpPr>
              <a:spLocks noChangeShapeType="1"/>
            </p:cNvSpPr>
            <p:nvPr/>
          </p:nvSpPr>
          <p:spPr bwMode="auto">
            <a:xfrm>
              <a:off x="3665538" y="279400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0" name="Line 20"/>
            <p:cNvSpPr>
              <a:spLocks noChangeShapeType="1"/>
            </p:cNvSpPr>
            <p:nvPr/>
          </p:nvSpPr>
          <p:spPr bwMode="auto">
            <a:xfrm>
              <a:off x="3665538" y="281940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1" name="Line 21"/>
            <p:cNvSpPr>
              <a:spLocks noChangeShapeType="1"/>
            </p:cNvSpPr>
            <p:nvPr/>
          </p:nvSpPr>
          <p:spPr bwMode="auto">
            <a:xfrm>
              <a:off x="3665538" y="284162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2" name="Line 22"/>
            <p:cNvSpPr>
              <a:spLocks noChangeShapeType="1"/>
            </p:cNvSpPr>
            <p:nvPr/>
          </p:nvSpPr>
          <p:spPr bwMode="auto">
            <a:xfrm>
              <a:off x="3665538" y="285273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3" name="Line 23"/>
            <p:cNvSpPr>
              <a:spLocks noChangeShapeType="1"/>
            </p:cNvSpPr>
            <p:nvPr/>
          </p:nvSpPr>
          <p:spPr bwMode="auto">
            <a:xfrm>
              <a:off x="3665538" y="28606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4" name="Line 24"/>
            <p:cNvSpPr>
              <a:spLocks noChangeShapeType="1"/>
            </p:cNvSpPr>
            <p:nvPr/>
          </p:nvSpPr>
          <p:spPr bwMode="auto">
            <a:xfrm>
              <a:off x="3665538" y="28686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5" name="Line 25"/>
            <p:cNvSpPr>
              <a:spLocks noChangeShapeType="1"/>
            </p:cNvSpPr>
            <p:nvPr/>
          </p:nvSpPr>
          <p:spPr bwMode="auto">
            <a:xfrm>
              <a:off x="3665538" y="287178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6" name="Line 26"/>
            <p:cNvSpPr>
              <a:spLocks noChangeShapeType="1"/>
            </p:cNvSpPr>
            <p:nvPr/>
          </p:nvSpPr>
          <p:spPr bwMode="auto">
            <a:xfrm>
              <a:off x="3665538" y="287972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7" name="Freeform 27"/>
            <p:cNvSpPr>
              <a:spLocks/>
            </p:cNvSpPr>
            <p:nvPr/>
          </p:nvSpPr>
          <p:spPr bwMode="auto">
            <a:xfrm>
              <a:off x="3665538" y="3108326"/>
              <a:ext cx="833438" cy="671513"/>
            </a:xfrm>
            <a:custGeom>
              <a:avLst/>
              <a:gdLst>
                <a:gd name="T0" fmla="*/ 152 w 525"/>
                <a:gd name="T1" fmla="*/ 128 h 423"/>
                <a:gd name="T2" fmla="*/ 152 w 525"/>
                <a:gd name="T3" fmla="*/ 295 h 423"/>
                <a:gd name="T4" fmla="*/ 525 w 525"/>
                <a:gd name="T5" fmla="*/ 295 h 423"/>
                <a:gd name="T6" fmla="*/ 525 w 525"/>
                <a:gd name="T7" fmla="*/ 423 h 423"/>
                <a:gd name="T8" fmla="*/ 0 w 525"/>
                <a:gd name="T9" fmla="*/ 423 h 423"/>
                <a:gd name="T10" fmla="*/ 0 w 525"/>
                <a:gd name="T11" fmla="*/ 0 h 423"/>
              </a:gdLst>
              <a:ahLst/>
              <a:cxnLst>
                <a:cxn ang="0">
                  <a:pos x="T0" y="T1"/>
                </a:cxn>
                <a:cxn ang="0">
                  <a:pos x="T2" y="T3"/>
                </a:cxn>
                <a:cxn ang="0">
                  <a:pos x="T4" y="T5"/>
                </a:cxn>
                <a:cxn ang="0">
                  <a:pos x="T6" y="T7"/>
                </a:cxn>
                <a:cxn ang="0">
                  <a:pos x="T8" y="T9"/>
                </a:cxn>
                <a:cxn ang="0">
                  <a:pos x="T10" y="T11"/>
                </a:cxn>
              </a:cxnLst>
              <a:rect l="0" t="0" r="r" b="b"/>
              <a:pathLst>
                <a:path w="525" h="423">
                  <a:moveTo>
                    <a:pt x="152" y="128"/>
                  </a:moveTo>
                  <a:lnTo>
                    <a:pt x="152" y="295"/>
                  </a:lnTo>
                  <a:lnTo>
                    <a:pt x="525" y="295"/>
                  </a:lnTo>
                  <a:lnTo>
                    <a:pt x="525" y="423"/>
                  </a:lnTo>
                  <a:lnTo>
                    <a:pt x="0" y="423"/>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8" name="Line 28"/>
            <p:cNvSpPr>
              <a:spLocks noChangeShapeType="1"/>
            </p:cNvSpPr>
            <p:nvPr/>
          </p:nvSpPr>
          <p:spPr bwMode="auto">
            <a:xfrm flipH="1" flipV="1">
              <a:off x="4105275" y="3306763"/>
              <a:ext cx="509588" cy="47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29" name="Line 29"/>
            <p:cNvSpPr>
              <a:spLocks noChangeShapeType="1"/>
            </p:cNvSpPr>
            <p:nvPr/>
          </p:nvSpPr>
          <p:spPr bwMode="auto">
            <a:xfrm>
              <a:off x="4438650" y="320992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0" name="Line 30"/>
            <p:cNvSpPr>
              <a:spLocks noChangeShapeType="1"/>
            </p:cNvSpPr>
            <p:nvPr/>
          </p:nvSpPr>
          <p:spPr bwMode="auto">
            <a:xfrm>
              <a:off x="4438650" y="316388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1" name="Line 31"/>
            <p:cNvSpPr>
              <a:spLocks noChangeShapeType="1"/>
            </p:cNvSpPr>
            <p:nvPr/>
          </p:nvSpPr>
          <p:spPr bwMode="auto">
            <a:xfrm>
              <a:off x="4348163" y="314960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2" name="Freeform 32"/>
            <p:cNvSpPr>
              <a:spLocks/>
            </p:cNvSpPr>
            <p:nvPr/>
          </p:nvSpPr>
          <p:spPr bwMode="auto">
            <a:xfrm>
              <a:off x="4006850" y="3122613"/>
              <a:ext cx="622300" cy="0"/>
            </a:xfrm>
            <a:custGeom>
              <a:avLst/>
              <a:gdLst>
                <a:gd name="T0" fmla="*/ 0 w 392"/>
                <a:gd name="T1" fmla="*/ 272 w 392"/>
                <a:gd name="T2" fmla="*/ 392 w 392"/>
              </a:gdLst>
              <a:ahLst/>
              <a:cxnLst>
                <a:cxn ang="0">
                  <a:pos x="T0" y="0"/>
                </a:cxn>
                <a:cxn ang="0">
                  <a:pos x="T1" y="0"/>
                </a:cxn>
                <a:cxn ang="0">
                  <a:pos x="T2" y="0"/>
                </a:cxn>
              </a:cxnLst>
              <a:rect l="0" t="0" r="r" b="b"/>
              <a:pathLst>
                <a:path w="392">
                  <a:moveTo>
                    <a:pt x="0" y="0"/>
                  </a:moveTo>
                  <a:lnTo>
                    <a:pt x="272" y="0"/>
                  </a:lnTo>
                  <a:lnTo>
                    <a:pt x="392"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3" name="Line 33"/>
            <p:cNvSpPr>
              <a:spLocks noChangeShapeType="1"/>
            </p:cNvSpPr>
            <p:nvPr/>
          </p:nvSpPr>
          <p:spPr bwMode="auto">
            <a:xfrm>
              <a:off x="3946525" y="3122613"/>
              <a:ext cx="6032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4" name="Line 34"/>
            <p:cNvSpPr>
              <a:spLocks noChangeShapeType="1"/>
            </p:cNvSpPr>
            <p:nvPr/>
          </p:nvSpPr>
          <p:spPr bwMode="auto">
            <a:xfrm>
              <a:off x="3898900" y="3122613"/>
              <a:ext cx="4762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5" name="Freeform 35"/>
            <p:cNvSpPr>
              <a:spLocks/>
            </p:cNvSpPr>
            <p:nvPr/>
          </p:nvSpPr>
          <p:spPr bwMode="auto">
            <a:xfrm>
              <a:off x="3665538" y="2684463"/>
              <a:ext cx="817563" cy="438150"/>
            </a:xfrm>
            <a:custGeom>
              <a:avLst/>
              <a:gdLst>
                <a:gd name="T0" fmla="*/ 0 w 515"/>
                <a:gd name="T1" fmla="*/ 0 h 276"/>
                <a:gd name="T2" fmla="*/ 515 w 515"/>
                <a:gd name="T3" fmla="*/ 0 h 276"/>
                <a:gd name="T4" fmla="*/ 515 w 515"/>
                <a:gd name="T5" fmla="*/ 128 h 276"/>
                <a:gd name="T6" fmla="*/ 152 w 515"/>
                <a:gd name="T7" fmla="*/ 128 h 276"/>
                <a:gd name="T8" fmla="*/ 152 w 515"/>
                <a:gd name="T9" fmla="*/ 276 h 276"/>
              </a:gdLst>
              <a:ahLst/>
              <a:cxnLst>
                <a:cxn ang="0">
                  <a:pos x="T0" y="T1"/>
                </a:cxn>
                <a:cxn ang="0">
                  <a:pos x="T2" y="T3"/>
                </a:cxn>
                <a:cxn ang="0">
                  <a:pos x="T4" y="T5"/>
                </a:cxn>
                <a:cxn ang="0">
                  <a:pos x="T6" y="T7"/>
                </a:cxn>
                <a:cxn ang="0">
                  <a:pos x="T8" y="T9"/>
                </a:cxn>
              </a:cxnLst>
              <a:rect l="0" t="0" r="r" b="b"/>
              <a:pathLst>
                <a:path w="515" h="276">
                  <a:moveTo>
                    <a:pt x="0" y="0"/>
                  </a:moveTo>
                  <a:lnTo>
                    <a:pt x="515" y="0"/>
                  </a:lnTo>
                  <a:lnTo>
                    <a:pt x="515" y="128"/>
                  </a:lnTo>
                  <a:lnTo>
                    <a:pt x="152" y="128"/>
                  </a:lnTo>
                  <a:lnTo>
                    <a:pt x="152" y="27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6" name="Line 36"/>
            <p:cNvSpPr>
              <a:spLocks noChangeShapeType="1"/>
            </p:cNvSpPr>
            <p:nvPr/>
          </p:nvSpPr>
          <p:spPr bwMode="auto">
            <a:xfrm>
              <a:off x="4614863" y="330358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7" name="Line 37"/>
            <p:cNvSpPr>
              <a:spLocks noChangeShapeType="1"/>
            </p:cNvSpPr>
            <p:nvPr/>
          </p:nvSpPr>
          <p:spPr bwMode="auto">
            <a:xfrm>
              <a:off x="4614863" y="32543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8" name="Line 38"/>
            <p:cNvSpPr>
              <a:spLocks noChangeShapeType="1"/>
            </p:cNvSpPr>
            <p:nvPr/>
          </p:nvSpPr>
          <p:spPr bwMode="auto">
            <a:xfrm>
              <a:off x="4611688" y="323532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39" name="Line 39"/>
            <p:cNvSpPr>
              <a:spLocks noChangeShapeType="1"/>
            </p:cNvSpPr>
            <p:nvPr/>
          </p:nvSpPr>
          <p:spPr bwMode="auto">
            <a:xfrm>
              <a:off x="4611688" y="32543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0" name="Line 40"/>
            <p:cNvSpPr>
              <a:spLocks noChangeShapeType="1"/>
            </p:cNvSpPr>
            <p:nvPr/>
          </p:nvSpPr>
          <p:spPr bwMode="auto">
            <a:xfrm>
              <a:off x="4611688" y="32623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1" name="Freeform 41"/>
            <p:cNvSpPr>
              <a:spLocks/>
            </p:cNvSpPr>
            <p:nvPr/>
          </p:nvSpPr>
          <p:spPr bwMode="auto">
            <a:xfrm>
              <a:off x="4614863" y="3303588"/>
              <a:ext cx="1016000" cy="501650"/>
            </a:xfrm>
            <a:custGeom>
              <a:avLst/>
              <a:gdLst>
                <a:gd name="T0" fmla="*/ 271 w 271"/>
                <a:gd name="T1" fmla="*/ 14 h 134"/>
                <a:gd name="T2" fmla="*/ 271 w 271"/>
                <a:gd name="T3" fmla="*/ 127 h 134"/>
                <a:gd name="T4" fmla="*/ 230 w 271"/>
                <a:gd name="T5" fmla="*/ 127 h 134"/>
                <a:gd name="T6" fmla="*/ 224 w 271"/>
                <a:gd name="T7" fmla="*/ 94 h 134"/>
                <a:gd name="T8" fmla="*/ 185 w 271"/>
                <a:gd name="T9" fmla="*/ 125 h 134"/>
                <a:gd name="T10" fmla="*/ 143 w 271"/>
                <a:gd name="T11" fmla="*/ 134 h 134"/>
                <a:gd name="T12" fmla="*/ 83 w 271"/>
                <a:gd name="T13" fmla="*/ 122 h 134"/>
                <a:gd name="T14" fmla="*/ 37 w 271"/>
                <a:gd name="T15" fmla="*/ 90 h 134"/>
                <a:gd name="T16" fmla="*/ 9 w 271"/>
                <a:gd name="T17" fmla="*/ 42 h 134"/>
                <a:gd name="T18" fmla="*/ 0 w 271"/>
                <a:gd name="T1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134">
                  <a:moveTo>
                    <a:pt x="271" y="14"/>
                  </a:moveTo>
                  <a:cubicBezTo>
                    <a:pt x="271" y="127"/>
                    <a:pt x="271" y="127"/>
                    <a:pt x="271" y="127"/>
                  </a:cubicBezTo>
                  <a:cubicBezTo>
                    <a:pt x="230" y="127"/>
                    <a:pt x="230" y="127"/>
                    <a:pt x="230" y="127"/>
                  </a:cubicBezTo>
                  <a:cubicBezTo>
                    <a:pt x="224" y="94"/>
                    <a:pt x="224" y="94"/>
                    <a:pt x="224" y="94"/>
                  </a:cubicBezTo>
                  <a:cubicBezTo>
                    <a:pt x="212" y="109"/>
                    <a:pt x="199" y="119"/>
                    <a:pt x="185" y="125"/>
                  </a:cubicBezTo>
                  <a:cubicBezTo>
                    <a:pt x="171" y="131"/>
                    <a:pt x="157" y="134"/>
                    <a:pt x="143" y="134"/>
                  </a:cubicBezTo>
                  <a:cubicBezTo>
                    <a:pt x="121" y="134"/>
                    <a:pt x="101" y="130"/>
                    <a:pt x="83" y="122"/>
                  </a:cubicBezTo>
                  <a:cubicBezTo>
                    <a:pt x="65" y="115"/>
                    <a:pt x="50" y="104"/>
                    <a:pt x="37" y="90"/>
                  </a:cubicBezTo>
                  <a:cubicBezTo>
                    <a:pt x="25" y="77"/>
                    <a:pt x="16" y="60"/>
                    <a:pt x="9" y="42"/>
                  </a:cubicBezTo>
                  <a:cubicBezTo>
                    <a:pt x="4" y="29"/>
                    <a:pt x="1" y="14"/>
                    <a:pt x="0"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2" name="Line 42"/>
            <p:cNvSpPr>
              <a:spLocks noChangeShapeType="1"/>
            </p:cNvSpPr>
            <p:nvPr/>
          </p:nvSpPr>
          <p:spPr bwMode="auto">
            <a:xfrm>
              <a:off x="5630863" y="326548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3" name="Freeform 43"/>
            <p:cNvSpPr>
              <a:spLocks/>
            </p:cNvSpPr>
            <p:nvPr/>
          </p:nvSpPr>
          <p:spPr bwMode="auto">
            <a:xfrm>
              <a:off x="5011738" y="3187701"/>
              <a:ext cx="814388" cy="415925"/>
            </a:xfrm>
            <a:custGeom>
              <a:avLst/>
              <a:gdLst>
                <a:gd name="T0" fmla="*/ 0 w 217"/>
                <a:gd name="T1" fmla="*/ 103 h 111"/>
                <a:gd name="T2" fmla="*/ 37 w 217"/>
                <a:gd name="T3" fmla="*/ 111 h 111"/>
                <a:gd name="T4" fmla="*/ 87 w 217"/>
                <a:gd name="T5" fmla="*/ 95 h 111"/>
                <a:gd name="T6" fmla="*/ 107 w 217"/>
                <a:gd name="T7" fmla="*/ 48 h 111"/>
                <a:gd name="T8" fmla="*/ 42 w 217"/>
                <a:gd name="T9" fmla="*/ 48 h 111"/>
                <a:gd name="T10" fmla="*/ 42 w 217"/>
                <a:gd name="T11" fmla="*/ 0 h 111"/>
                <a:gd name="T12" fmla="*/ 165 w 217"/>
                <a:gd name="T13" fmla="*/ 0 h 111"/>
                <a:gd name="T14" fmla="*/ 217 w 21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7" h="111">
                  <a:moveTo>
                    <a:pt x="0" y="103"/>
                  </a:moveTo>
                  <a:cubicBezTo>
                    <a:pt x="10" y="109"/>
                    <a:pt x="23" y="111"/>
                    <a:pt x="37" y="111"/>
                  </a:cubicBezTo>
                  <a:cubicBezTo>
                    <a:pt x="59" y="111"/>
                    <a:pt x="75" y="106"/>
                    <a:pt x="87" y="95"/>
                  </a:cubicBezTo>
                  <a:cubicBezTo>
                    <a:pt x="98" y="84"/>
                    <a:pt x="105" y="69"/>
                    <a:pt x="107" y="48"/>
                  </a:cubicBezTo>
                  <a:cubicBezTo>
                    <a:pt x="42" y="48"/>
                    <a:pt x="42" y="48"/>
                    <a:pt x="42" y="48"/>
                  </a:cubicBezTo>
                  <a:cubicBezTo>
                    <a:pt x="42" y="0"/>
                    <a:pt x="42" y="0"/>
                    <a:pt x="42" y="0"/>
                  </a:cubicBezTo>
                  <a:cubicBezTo>
                    <a:pt x="165" y="0"/>
                    <a:pt x="165" y="0"/>
                    <a:pt x="165" y="0"/>
                  </a:cubicBezTo>
                  <a:cubicBezTo>
                    <a:pt x="217" y="0"/>
                    <a:pt x="217" y="0"/>
                    <a:pt x="217"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4" name="Line 44"/>
            <p:cNvSpPr>
              <a:spLocks noChangeShapeType="1"/>
            </p:cNvSpPr>
            <p:nvPr/>
          </p:nvSpPr>
          <p:spPr bwMode="auto">
            <a:xfrm>
              <a:off x="4922838" y="34909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5" name="Line 45"/>
            <p:cNvSpPr>
              <a:spLocks noChangeShapeType="1"/>
            </p:cNvSpPr>
            <p:nvPr/>
          </p:nvSpPr>
          <p:spPr bwMode="auto">
            <a:xfrm>
              <a:off x="4914900" y="34829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6" name="Line 46"/>
            <p:cNvSpPr>
              <a:spLocks noChangeShapeType="1"/>
            </p:cNvSpPr>
            <p:nvPr/>
          </p:nvSpPr>
          <p:spPr bwMode="auto">
            <a:xfrm>
              <a:off x="4900613" y="34528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7" name="Freeform 47"/>
            <p:cNvSpPr>
              <a:spLocks/>
            </p:cNvSpPr>
            <p:nvPr/>
          </p:nvSpPr>
          <p:spPr bwMode="auto">
            <a:xfrm>
              <a:off x="4854575" y="2657476"/>
              <a:ext cx="762000" cy="765175"/>
            </a:xfrm>
            <a:custGeom>
              <a:avLst/>
              <a:gdLst>
                <a:gd name="T0" fmla="*/ 19 w 203"/>
                <a:gd name="T1" fmla="*/ 12 h 204"/>
                <a:gd name="T2" fmla="*/ 79 w 203"/>
                <a:gd name="T3" fmla="*/ 0 h 204"/>
                <a:gd name="T4" fmla="*/ 123 w 203"/>
                <a:gd name="T5" fmla="*/ 7 h 204"/>
                <a:gd name="T6" fmla="*/ 161 w 203"/>
                <a:gd name="T7" fmla="*/ 27 h 204"/>
                <a:gd name="T8" fmla="*/ 189 w 203"/>
                <a:gd name="T9" fmla="*/ 59 h 204"/>
                <a:gd name="T10" fmla="*/ 203 w 203"/>
                <a:gd name="T11" fmla="*/ 103 h 204"/>
                <a:gd name="T12" fmla="*/ 141 w 203"/>
                <a:gd name="T13" fmla="*/ 103 h 204"/>
                <a:gd name="T14" fmla="*/ 119 w 203"/>
                <a:gd name="T15" fmla="*/ 66 h 204"/>
                <a:gd name="T16" fmla="*/ 79 w 203"/>
                <a:gd name="T17" fmla="*/ 54 h 204"/>
                <a:gd name="T18" fmla="*/ 42 w 203"/>
                <a:gd name="T19" fmla="*/ 62 h 204"/>
                <a:gd name="T20" fmla="*/ 18 w 203"/>
                <a:gd name="T21" fmla="*/ 85 h 204"/>
                <a:gd name="T22" fmla="*/ 4 w 203"/>
                <a:gd name="T23" fmla="*/ 117 h 204"/>
                <a:gd name="T24" fmla="*/ 0 w 203"/>
                <a:gd name="T25" fmla="*/ 154 h 204"/>
                <a:gd name="T26" fmla="*/ 4 w 203"/>
                <a:gd name="T27" fmla="*/ 190 h 204"/>
                <a:gd name="T28" fmla="*/ 8 w 203"/>
                <a:gd name="T2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 h="204">
                  <a:moveTo>
                    <a:pt x="19" y="12"/>
                  </a:moveTo>
                  <a:cubicBezTo>
                    <a:pt x="37" y="4"/>
                    <a:pt x="57" y="0"/>
                    <a:pt x="79" y="0"/>
                  </a:cubicBezTo>
                  <a:cubicBezTo>
                    <a:pt x="94" y="0"/>
                    <a:pt x="109" y="2"/>
                    <a:pt x="123" y="7"/>
                  </a:cubicBezTo>
                  <a:cubicBezTo>
                    <a:pt x="137" y="11"/>
                    <a:pt x="150" y="18"/>
                    <a:pt x="161" y="27"/>
                  </a:cubicBezTo>
                  <a:cubicBezTo>
                    <a:pt x="172" y="35"/>
                    <a:pt x="182" y="46"/>
                    <a:pt x="189" y="59"/>
                  </a:cubicBezTo>
                  <a:cubicBezTo>
                    <a:pt x="196" y="72"/>
                    <a:pt x="201" y="87"/>
                    <a:pt x="203" y="103"/>
                  </a:cubicBezTo>
                  <a:cubicBezTo>
                    <a:pt x="141" y="103"/>
                    <a:pt x="141" y="103"/>
                    <a:pt x="141" y="103"/>
                  </a:cubicBezTo>
                  <a:cubicBezTo>
                    <a:pt x="137" y="87"/>
                    <a:pt x="130" y="74"/>
                    <a:pt x="119" y="66"/>
                  </a:cubicBezTo>
                  <a:cubicBezTo>
                    <a:pt x="108" y="58"/>
                    <a:pt x="95" y="54"/>
                    <a:pt x="79" y="54"/>
                  </a:cubicBezTo>
                  <a:cubicBezTo>
                    <a:pt x="65" y="54"/>
                    <a:pt x="52" y="57"/>
                    <a:pt x="42" y="62"/>
                  </a:cubicBezTo>
                  <a:cubicBezTo>
                    <a:pt x="32" y="68"/>
                    <a:pt x="24" y="76"/>
                    <a:pt x="18" y="85"/>
                  </a:cubicBezTo>
                  <a:cubicBezTo>
                    <a:pt x="11" y="94"/>
                    <a:pt x="7" y="105"/>
                    <a:pt x="4" y="117"/>
                  </a:cubicBezTo>
                  <a:cubicBezTo>
                    <a:pt x="1" y="129"/>
                    <a:pt x="0" y="142"/>
                    <a:pt x="0" y="154"/>
                  </a:cubicBezTo>
                  <a:cubicBezTo>
                    <a:pt x="0" y="167"/>
                    <a:pt x="1" y="179"/>
                    <a:pt x="4" y="190"/>
                  </a:cubicBezTo>
                  <a:cubicBezTo>
                    <a:pt x="5" y="195"/>
                    <a:pt x="7" y="200"/>
                    <a:pt x="8" y="204"/>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8" name="Line 48"/>
            <p:cNvSpPr>
              <a:spLocks noChangeShapeType="1"/>
            </p:cNvSpPr>
            <p:nvPr/>
          </p:nvSpPr>
          <p:spPr bwMode="auto">
            <a:xfrm>
              <a:off x="4791075" y="278923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49" name="Freeform 49"/>
            <p:cNvSpPr>
              <a:spLocks/>
            </p:cNvSpPr>
            <p:nvPr/>
          </p:nvSpPr>
          <p:spPr bwMode="auto">
            <a:xfrm>
              <a:off x="4618038" y="2890838"/>
              <a:ext cx="82550" cy="231775"/>
            </a:xfrm>
            <a:custGeom>
              <a:avLst/>
              <a:gdLst>
                <a:gd name="T0" fmla="*/ 1 w 22"/>
                <a:gd name="T1" fmla="*/ 62 h 62"/>
                <a:gd name="T2" fmla="*/ 22 w 22"/>
                <a:gd name="T3" fmla="*/ 0 h 62"/>
              </a:gdLst>
              <a:ahLst/>
              <a:cxnLst>
                <a:cxn ang="0">
                  <a:pos x="T0" y="T1"/>
                </a:cxn>
                <a:cxn ang="0">
                  <a:pos x="T2" y="T3"/>
                </a:cxn>
              </a:cxnLst>
              <a:rect l="0" t="0" r="r" b="b"/>
              <a:pathLst>
                <a:path w="22" h="62">
                  <a:moveTo>
                    <a:pt x="1" y="62"/>
                  </a:moveTo>
                  <a:cubicBezTo>
                    <a:pt x="0" y="36"/>
                    <a:pt x="11" y="15"/>
                    <a:pt x="22"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0" name="Line 50"/>
            <p:cNvSpPr>
              <a:spLocks noChangeShapeType="1"/>
            </p:cNvSpPr>
            <p:nvPr/>
          </p:nvSpPr>
          <p:spPr bwMode="auto">
            <a:xfrm>
              <a:off x="4614863" y="320198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1" name="Freeform 51"/>
            <p:cNvSpPr>
              <a:spLocks/>
            </p:cNvSpPr>
            <p:nvPr/>
          </p:nvSpPr>
          <p:spPr bwMode="auto">
            <a:xfrm>
              <a:off x="5826125" y="3179763"/>
              <a:ext cx="608013" cy="600075"/>
            </a:xfrm>
            <a:custGeom>
              <a:avLst/>
              <a:gdLst>
                <a:gd name="T0" fmla="*/ 162 w 162"/>
                <a:gd name="T1" fmla="*/ 55 h 160"/>
                <a:gd name="T2" fmla="*/ 129 w 162"/>
                <a:gd name="T3" fmla="*/ 46 h 160"/>
                <a:gd name="T4" fmla="*/ 64 w 162"/>
                <a:gd name="T5" fmla="*/ 46 h 160"/>
                <a:gd name="T6" fmla="*/ 64 w 162"/>
                <a:gd name="T7" fmla="*/ 160 h 160"/>
                <a:gd name="T8" fmla="*/ 0 w 162"/>
                <a:gd name="T9" fmla="*/ 160 h 160"/>
                <a:gd name="T10" fmla="*/ 0 w 162"/>
                <a:gd name="T11" fmla="*/ 0 h 160"/>
              </a:gdLst>
              <a:ahLst/>
              <a:cxnLst>
                <a:cxn ang="0">
                  <a:pos x="T0" y="T1"/>
                </a:cxn>
                <a:cxn ang="0">
                  <a:pos x="T2" y="T3"/>
                </a:cxn>
                <a:cxn ang="0">
                  <a:pos x="T4" y="T5"/>
                </a:cxn>
                <a:cxn ang="0">
                  <a:pos x="T6" y="T7"/>
                </a:cxn>
                <a:cxn ang="0">
                  <a:pos x="T8" y="T9"/>
                </a:cxn>
                <a:cxn ang="0">
                  <a:pos x="T10" y="T11"/>
                </a:cxn>
              </a:cxnLst>
              <a:rect l="0" t="0" r="r" b="b"/>
              <a:pathLst>
                <a:path w="162" h="160">
                  <a:moveTo>
                    <a:pt x="162" y="55"/>
                  </a:moveTo>
                  <a:cubicBezTo>
                    <a:pt x="155" y="49"/>
                    <a:pt x="144" y="46"/>
                    <a:pt x="129" y="46"/>
                  </a:cubicBezTo>
                  <a:cubicBezTo>
                    <a:pt x="64" y="46"/>
                    <a:pt x="64" y="46"/>
                    <a:pt x="64" y="46"/>
                  </a:cubicBezTo>
                  <a:cubicBezTo>
                    <a:pt x="64" y="160"/>
                    <a:pt x="64" y="160"/>
                    <a:pt x="64" y="160"/>
                  </a:cubicBezTo>
                  <a:cubicBezTo>
                    <a:pt x="0" y="160"/>
                    <a:pt x="0" y="160"/>
                    <a:pt x="0" y="160"/>
                  </a:cubicBezTo>
                  <a:cubicBezTo>
                    <a:pt x="0" y="0"/>
                    <a:pt x="0" y="0"/>
                    <a:pt x="0"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2" name="Freeform 52"/>
            <p:cNvSpPr>
              <a:spLocks/>
            </p:cNvSpPr>
            <p:nvPr/>
          </p:nvSpPr>
          <p:spPr bwMode="auto">
            <a:xfrm>
              <a:off x="6434138" y="3386138"/>
              <a:ext cx="6350" cy="6350"/>
            </a:xfrm>
            <a:custGeom>
              <a:avLst/>
              <a:gdLst>
                <a:gd name="T0" fmla="*/ 2 w 2"/>
                <a:gd name="T1" fmla="*/ 2 h 2"/>
                <a:gd name="T2" fmla="*/ 0 w 2"/>
                <a:gd name="T3" fmla="*/ 0 h 2"/>
              </a:gdLst>
              <a:ahLst/>
              <a:cxnLst>
                <a:cxn ang="0">
                  <a:pos x="T0" y="T1"/>
                </a:cxn>
                <a:cxn ang="0">
                  <a:pos x="T2" y="T3"/>
                </a:cxn>
              </a:cxnLst>
              <a:rect l="0" t="0" r="r" b="b"/>
              <a:pathLst>
                <a:path w="2" h="2">
                  <a:moveTo>
                    <a:pt x="2" y="2"/>
                  </a:moveTo>
                  <a:cubicBezTo>
                    <a:pt x="1" y="1"/>
                    <a:pt x="1" y="1"/>
                    <a:pt x="0"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3" name="Line 53"/>
            <p:cNvSpPr>
              <a:spLocks noChangeShapeType="1"/>
            </p:cNvSpPr>
            <p:nvPr/>
          </p:nvSpPr>
          <p:spPr bwMode="auto">
            <a:xfrm>
              <a:off x="6459538" y="34194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4" name="Line 54"/>
            <p:cNvSpPr>
              <a:spLocks noChangeShapeType="1"/>
            </p:cNvSpPr>
            <p:nvPr/>
          </p:nvSpPr>
          <p:spPr bwMode="auto">
            <a:xfrm>
              <a:off x="6467475" y="343058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5" name="Line 55"/>
            <p:cNvSpPr>
              <a:spLocks noChangeShapeType="1"/>
            </p:cNvSpPr>
            <p:nvPr/>
          </p:nvSpPr>
          <p:spPr bwMode="auto">
            <a:xfrm>
              <a:off x="6475413" y="344963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6" name="Line 56"/>
            <p:cNvSpPr>
              <a:spLocks noChangeShapeType="1"/>
            </p:cNvSpPr>
            <p:nvPr/>
          </p:nvSpPr>
          <p:spPr bwMode="auto">
            <a:xfrm>
              <a:off x="6478588" y="346075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7" name="Line 57"/>
            <p:cNvSpPr>
              <a:spLocks noChangeShapeType="1"/>
            </p:cNvSpPr>
            <p:nvPr/>
          </p:nvSpPr>
          <p:spPr bwMode="auto">
            <a:xfrm>
              <a:off x="6481763" y="347503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8" name="Line 58"/>
            <p:cNvSpPr>
              <a:spLocks noChangeShapeType="1"/>
            </p:cNvSpPr>
            <p:nvPr/>
          </p:nvSpPr>
          <p:spPr bwMode="auto">
            <a:xfrm>
              <a:off x="6486525" y="34909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59" name="Line 59"/>
            <p:cNvSpPr>
              <a:spLocks noChangeShapeType="1"/>
            </p:cNvSpPr>
            <p:nvPr/>
          </p:nvSpPr>
          <p:spPr bwMode="auto">
            <a:xfrm>
              <a:off x="6489700" y="350520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0" name="Freeform 60"/>
            <p:cNvSpPr>
              <a:spLocks/>
            </p:cNvSpPr>
            <p:nvPr/>
          </p:nvSpPr>
          <p:spPr bwMode="auto">
            <a:xfrm>
              <a:off x="6489700" y="3513138"/>
              <a:ext cx="3175" cy="11113"/>
            </a:xfrm>
            <a:custGeom>
              <a:avLst/>
              <a:gdLst>
                <a:gd name="T0" fmla="*/ 1 w 1"/>
                <a:gd name="T1" fmla="*/ 3 h 3"/>
                <a:gd name="T2" fmla="*/ 1 w 1"/>
                <a:gd name="T3" fmla="*/ 1 h 3"/>
                <a:gd name="T4" fmla="*/ 0 w 1"/>
                <a:gd name="T5" fmla="*/ 0 h 3"/>
              </a:gdLst>
              <a:ahLst/>
              <a:cxnLst>
                <a:cxn ang="0">
                  <a:pos x="T0" y="T1"/>
                </a:cxn>
                <a:cxn ang="0">
                  <a:pos x="T2" y="T3"/>
                </a:cxn>
                <a:cxn ang="0">
                  <a:pos x="T4" y="T5"/>
                </a:cxn>
              </a:cxnLst>
              <a:rect l="0" t="0" r="r" b="b"/>
              <a:pathLst>
                <a:path w="1" h="3">
                  <a:moveTo>
                    <a:pt x="1" y="3"/>
                  </a:moveTo>
                  <a:cubicBezTo>
                    <a:pt x="1" y="2"/>
                    <a:pt x="1" y="2"/>
                    <a:pt x="1" y="1"/>
                  </a:cubicBezTo>
                  <a:cubicBezTo>
                    <a:pt x="0" y="1"/>
                    <a:pt x="0" y="0"/>
                    <a:pt x="0"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1" name="Freeform 61"/>
            <p:cNvSpPr>
              <a:spLocks/>
            </p:cNvSpPr>
            <p:nvPr/>
          </p:nvSpPr>
          <p:spPr bwMode="auto">
            <a:xfrm>
              <a:off x="6492875" y="3524251"/>
              <a:ext cx="277813" cy="255588"/>
            </a:xfrm>
            <a:custGeom>
              <a:avLst/>
              <a:gdLst>
                <a:gd name="T0" fmla="*/ 74 w 74"/>
                <a:gd name="T1" fmla="*/ 68 h 68"/>
                <a:gd name="T2" fmla="*/ 10 w 74"/>
                <a:gd name="T3" fmla="*/ 68 h 68"/>
                <a:gd name="T4" fmla="*/ 3 w 74"/>
                <a:gd name="T5" fmla="*/ 35 h 68"/>
                <a:gd name="T6" fmla="*/ 0 w 74"/>
                <a:gd name="T7" fmla="*/ 0 h 68"/>
              </a:gdLst>
              <a:ahLst/>
              <a:cxnLst>
                <a:cxn ang="0">
                  <a:pos x="T0" y="T1"/>
                </a:cxn>
                <a:cxn ang="0">
                  <a:pos x="T2" y="T3"/>
                </a:cxn>
                <a:cxn ang="0">
                  <a:pos x="T4" y="T5"/>
                </a:cxn>
                <a:cxn ang="0">
                  <a:pos x="T6" y="T7"/>
                </a:cxn>
              </a:cxnLst>
              <a:rect l="0" t="0" r="r" b="b"/>
              <a:pathLst>
                <a:path w="74" h="68">
                  <a:moveTo>
                    <a:pt x="74" y="68"/>
                  </a:moveTo>
                  <a:cubicBezTo>
                    <a:pt x="10" y="68"/>
                    <a:pt x="10" y="68"/>
                    <a:pt x="10" y="68"/>
                  </a:cubicBezTo>
                  <a:cubicBezTo>
                    <a:pt x="6" y="59"/>
                    <a:pt x="4" y="48"/>
                    <a:pt x="3" y="35"/>
                  </a:cubicBezTo>
                  <a:cubicBezTo>
                    <a:pt x="2" y="23"/>
                    <a:pt x="1" y="11"/>
                    <a:pt x="0"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2" name="Line 62"/>
            <p:cNvSpPr>
              <a:spLocks noChangeShapeType="1"/>
            </p:cNvSpPr>
            <p:nvPr/>
          </p:nvSpPr>
          <p:spPr bwMode="auto">
            <a:xfrm>
              <a:off x="6756400" y="375285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3" name="Line 63"/>
            <p:cNvSpPr>
              <a:spLocks noChangeShapeType="1"/>
            </p:cNvSpPr>
            <p:nvPr/>
          </p:nvSpPr>
          <p:spPr bwMode="auto">
            <a:xfrm>
              <a:off x="6745288" y="372745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4" name="Line 64"/>
            <p:cNvSpPr>
              <a:spLocks noChangeShapeType="1"/>
            </p:cNvSpPr>
            <p:nvPr/>
          </p:nvSpPr>
          <p:spPr bwMode="auto">
            <a:xfrm>
              <a:off x="6745288" y="371633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5" name="Line 65"/>
            <p:cNvSpPr>
              <a:spLocks noChangeShapeType="1"/>
            </p:cNvSpPr>
            <p:nvPr/>
          </p:nvSpPr>
          <p:spPr bwMode="auto">
            <a:xfrm>
              <a:off x="6740525" y="370522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6" name="Freeform 66"/>
            <p:cNvSpPr>
              <a:spLocks/>
            </p:cNvSpPr>
            <p:nvPr/>
          </p:nvSpPr>
          <p:spPr bwMode="auto">
            <a:xfrm>
              <a:off x="5826125" y="2684463"/>
              <a:ext cx="914400" cy="985838"/>
            </a:xfrm>
            <a:custGeom>
              <a:avLst/>
              <a:gdLst>
                <a:gd name="T0" fmla="*/ 0 w 244"/>
                <a:gd name="T1" fmla="*/ 0 h 263"/>
                <a:gd name="T2" fmla="*/ 158 w 244"/>
                <a:gd name="T3" fmla="*/ 0 h 263"/>
                <a:gd name="T4" fmla="*/ 193 w 244"/>
                <a:gd name="T5" fmla="*/ 6 h 263"/>
                <a:gd name="T6" fmla="*/ 220 w 244"/>
                <a:gd name="T7" fmla="*/ 24 h 263"/>
                <a:gd name="T8" fmla="*/ 238 w 244"/>
                <a:gd name="T9" fmla="*/ 49 h 263"/>
                <a:gd name="T10" fmla="*/ 244 w 244"/>
                <a:gd name="T11" fmla="*/ 81 h 263"/>
                <a:gd name="T12" fmla="*/ 233 w 244"/>
                <a:gd name="T13" fmla="*/ 125 h 263"/>
                <a:gd name="T14" fmla="*/ 197 w 244"/>
                <a:gd name="T15" fmla="*/ 154 h 263"/>
                <a:gd name="T16" fmla="*/ 197 w 244"/>
                <a:gd name="T17" fmla="*/ 155 h 263"/>
                <a:gd name="T18" fmla="*/ 217 w 244"/>
                <a:gd name="T19" fmla="*/ 165 h 263"/>
                <a:gd name="T20" fmla="*/ 230 w 244"/>
                <a:gd name="T21" fmla="*/ 181 h 263"/>
                <a:gd name="T22" fmla="*/ 237 w 244"/>
                <a:gd name="T23" fmla="*/ 201 h 263"/>
                <a:gd name="T24" fmla="*/ 240 w 244"/>
                <a:gd name="T25" fmla="*/ 223 h 263"/>
                <a:gd name="T26" fmla="*/ 241 w 244"/>
                <a:gd name="T27" fmla="*/ 240 h 263"/>
                <a:gd name="T28" fmla="*/ 242 w 244"/>
                <a:gd name="T29" fmla="*/ 259 h 263"/>
                <a:gd name="T30" fmla="*/ 242 w 244"/>
                <a:gd name="T31" fmla="*/ 26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4" h="263">
                  <a:moveTo>
                    <a:pt x="0" y="0"/>
                  </a:moveTo>
                  <a:cubicBezTo>
                    <a:pt x="158" y="0"/>
                    <a:pt x="158" y="0"/>
                    <a:pt x="158" y="0"/>
                  </a:cubicBezTo>
                  <a:cubicBezTo>
                    <a:pt x="171" y="0"/>
                    <a:pt x="183" y="2"/>
                    <a:pt x="193" y="6"/>
                  </a:cubicBezTo>
                  <a:cubicBezTo>
                    <a:pt x="204" y="10"/>
                    <a:pt x="213" y="16"/>
                    <a:pt x="220" y="24"/>
                  </a:cubicBezTo>
                  <a:cubicBezTo>
                    <a:pt x="228" y="31"/>
                    <a:pt x="234" y="40"/>
                    <a:pt x="238" y="49"/>
                  </a:cubicBezTo>
                  <a:cubicBezTo>
                    <a:pt x="242" y="59"/>
                    <a:pt x="244" y="69"/>
                    <a:pt x="244" y="81"/>
                  </a:cubicBezTo>
                  <a:cubicBezTo>
                    <a:pt x="244" y="98"/>
                    <a:pt x="240" y="113"/>
                    <a:pt x="233" y="125"/>
                  </a:cubicBezTo>
                  <a:cubicBezTo>
                    <a:pt x="225" y="138"/>
                    <a:pt x="214" y="147"/>
                    <a:pt x="197" y="154"/>
                  </a:cubicBezTo>
                  <a:cubicBezTo>
                    <a:pt x="197" y="155"/>
                    <a:pt x="197" y="155"/>
                    <a:pt x="197" y="155"/>
                  </a:cubicBezTo>
                  <a:cubicBezTo>
                    <a:pt x="205" y="157"/>
                    <a:pt x="212" y="160"/>
                    <a:pt x="217" y="165"/>
                  </a:cubicBezTo>
                  <a:cubicBezTo>
                    <a:pt x="222" y="169"/>
                    <a:pt x="226" y="175"/>
                    <a:pt x="230" y="181"/>
                  </a:cubicBezTo>
                  <a:cubicBezTo>
                    <a:pt x="233" y="187"/>
                    <a:pt x="235" y="194"/>
                    <a:pt x="237" y="201"/>
                  </a:cubicBezTo>
                  <a:cubicBezTo>
                    <a:pt x="238" y="208"/>
                    <a:pt x="239" y="216"/>
                    <a:pt x="240" y="223"/>
                  </a:cubicBezTo>
                  <a:cubicBezTo>
                    <a:pt x="240" y="228"/>
                    <a:pt x="240" y="233"/>
                    <a:pt x="241" y="240"/>
                  </a:cubicBezTo>
                  <a:cubicBezTo>
                    <a:pt x="241" y="246"/>
                    <a:pt x="241" y="252"/>
                    <a:pt x="242" y="259"/>
                  </a:cubicBezTo>
                  <a:cubicBezTo>
                    <a:pt x="242" y="263"/>
                    <a:pt x="242" y="258"/>
                    <a:pt x="242" y="262"/>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7" name="Line 67"/>
            <p:cNvSpPr>
              <a:spLocks noChangeShapeType="1"/>
            </p:cNvSpPr>
            <p:nvPr/>
          </p:nvSpPr>
          <p:spPr bwMode="auto">
            <a:xfrm flipV="1">
              <a:off x="5826125" y="3254376"/>
              <a:ext cx="0" cy="1111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8" name="Freeform 68"/>
            <p:cNvSpPr>
              <a:spLocks/>
            </p:cNvSpPr>
            <p:nvPr/>
          </p:nvSpPr>
          <p:spPr bwMode="auto">
            <a:xfrm>
              <a:off x="6065838" y="2871788"/>
              <a:ext cx="431800" cy="307975"/>
            </a:xfrm>
            <a:custGeom>
              <a:avLst/>
              <a:gdLst>
                <a:gd name="T0" fmla="*/ 71 w 115"/>
                <a:gd name="T1" fmla="*/ 82 h 82"/>
                <a:gd name="T2" fmla="*/ 104 w 115"/>
                <a:gd name="T3" fmla="*/ 72 h 82"/>
                <a:gd name="T4" fmla="*/ 115 w 115"/>
                <a:gd name="T5" fmla="*/ 40 h 82"/>
                <a:gd name="T6" fmla="*/ 104 w 115"/>
                <a:gd name="T7" fmla="*/ 9 h 82"/>
                <a:gd name="T8" fmla="*/ 71 w 115"/>
                <a:gd name="T9" fmla="*/ 0 h 82"/>
                <a:gd name="T10" fmla="*/ 0 w 115"/>
                <a:gd name="T11" fmla="*/ 0 h 82"/>
                <a:gd name="T12" fmla="*/ 0 w 115"/>
                <a:gd name="T13" fmla="*/ 82 h 82"/>
                <a:gd name="T14" fmla="*/ 71 w 115"/>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82">
                  <a:moveTo>
                    <a:pt x="71" y="82"/>
                  </a:moveTo>
                  <a:cubicBezTo>
                    <a:pt x="86" y="82"/>
                    <a:pt x="97" y="79"/>
                    <a:pt x="104" y="72"/>
                  </a:cubicBezTo>
                  <a:cubicBezTo>
                    <a:pt x="112" y="66"/>
                    <a:pt x="115" y="55"/>
                    <a:pt x="115" y="40"/>
                  </a:cubicBezTo>
                  <a:cubicBezTo>
                    <a:pt x="115" y="26"/>
                    <a:pt x="112" y="16"/>
                    <a:pt x="104" y="9"/>
                  </a:cubicBezTo>
                  <a:cubicBezTo>
                    <a:pt x="97" y="3"/>
                    <a:pt x="86" y="0"/>
                    <a:pt x="71" y="0"/>
                  </a:cubicBezTo>
                  <a:cubicBezTo>
                    <a:pt x="0" y="0"/>
                    <a:pt x="0" y="0"/>
                    <a:pt x="0" y="0"/>
                  </a:cubicBezTo>
                  <a:cubicBezTo>
                    <a:pt x="0" y="82"/>
                    <a:pt x="0" y="82"/>
                    <a:pt x="0" y="82"/>
                  </a:cubicBezTo>
                  <a:lnTo>
                    <a:pt x="71" y="82"/>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69" name="Line 69"/>
            <p:cNvSpPr>
              <a:spLocks noChangeShapeType="1"/>
            </p:cNvSpPr>
            <p:nvPr/>
          </p:nvSpPr>
          <p:spPr bwMode="auto">
            <a:xfrm>
              <a:off x="6864350" y="366395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0" name="Freeform 70"/>
            <p:cNvSpPr>
              <a:spLocks/>
            </p:cNvSpPr>
            <p:nvPr/>
          </p:nvSpPr>
          <p:spPr bwMode="auto">
            <a:xfrm>
              <a:off x="6770688" y="3535363"/>
              <a:ext cx="1246188" cy="244475"/>
            </a:xfrm>
            <a:custGeom>
              <a:avLst/>
              <a:gdLst>
                <a:gd name="T0" fmla="*/ 785 w 785"/>
                <a:gd name="T1" fmla="*/ 154 h 154"/>
                <a:gd name="T2" fmla="*/ 548 w 785"/>
                <a:gd name="T3" fmla="*/ 154 h 154"/>
                <a:gd name="T4" fmla="*/ 496 w 785"/>
                <a:gd name="T5" fmla="*/ 0 h 154"/>
                <a:gd name="T6" fmla="*/ 239 w 785"/>
                <a:gd name="T7" fmla="*/ 0 h 154"/>
                <a:gd name="T8" fmla="*/ 185 w 785"/>
                <a:gd name="T9" fmla="*/ 154 h 154"/>
                <a:gd name="T10" fmla="*/ 31 w 785"/>
                <a:gd name="T11" fmla="*/ 154 h 154"/>
                <a:gd name="T12" fmla="*/ 0 w 785"/>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785" h="154">
                  <a:moveTo>
                    <a:pt x="785" y="154"/>
                  </a:moveTo>
                  <a:lnTo>
                    <a:pt x="548" y="154"/>
                  </a:lnTo>
                  <a:lnTo>
                    <a:pt x="496" y="0"/>
                  </a:lnTo>
                  <a:lnTo>
                    <a:pt x="239" y="0"/>
                  </a:lnTo>
                  <a:lnTo>
                    <a:pt x="185" y="154"/>
                  </a:lnTo>
                  <a:lnTo>
                    <a:pt x="31" y="154"/>
                  </a:lnTo>
                  <a:lnTo>
                    <a:pt x="0" y="154"/>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1" name="Line 71"/>
            <p:cNvSpPr>
              <a:spLocks noChangeShapeType="1"/>
            </p:cNvSpPr>
            <p:nvPr/>
          </p:nvSpPr>
          <p:spPr bwMode="auto">
            <a:xfrm>
              <a:off x="7877175" y="373856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2" name="Line 72"/>
            <p:cNvSpPr>
              <a:spLocks noChangeShapeType="1"/>
            </p:cNvSpPr>
            <p:nvPr/>
          </p:nvSpPr>
          <p:spPr bwMode="auto">
            <a:xfrm>
              <a:off x="7862888" y="369728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3" name="Freeform 73"/>
            <p:cNvSpPr>
              <a:spLocks/>
            </p:cNvSpPr>
            <p:nvPr/>
          </p:nvSpPr>
          <p:spPr bwMode="auto">
            <a:xfrm>
              <a:off x="6864350" y="2684463"/>
              <a:ext cx="930275" cy="979488"/>
            </a:xfrm>
            <a:custGeom>
              <a:avLst/>
              <a:gdLst>
                <a:gd name="T0" fmla="*/ 0 w 586"/>
                <a:gd name="T1" fmla="*/ 617 h 617"/>
                <a:gd name="T2" fmla="*/ 234 w 586"/>
                <a:gd name="T3" fmla="*/ 0 h 617"/>
                <a:gd name="T4" fmla="*/ 390 w 586"/>
                <a:gd name="T5" fmla="*/ 0 h 617"/>
                <a:gd name="T6" fmla="*/ 586 w 586"/>
                <a:gd name="T7" fmla="*/ 527 h 617"/>
              </a:gdLst>
              <a:ahLst/>
              <a:cxnLst>
                <a:cxn ang="0">
                  <a:pos x="T0" y="T1"/>
                </a:cxn>
                <a:cxn ang="0">
                  <a:pos x="T2" y="T3"/>
                </a:cxn>
                <a:cxn ang="0">
                  <a:pos x="T4" y="T5"/>
                </a:cxn>
                <a:cxn ang="0">
                  <a:pos x="T6" y="T7"/>
                </a:cxn>
              </a:cxnLst>
              <a:rect l="0" t="0" r="r" b="b"/>
              <a:pathLst>
                <a:path w="586" h="617">
                  <a:moveTo>
                    <a:pt x="0" y="617"/>
                  </a:moveTo>
                  <a:lnTo>
                    <a:pt x="234" y="0"/>
                  </a:lnTo>
                  <a:lnTo>
                    <a:pt x="390" y="0"/>
                  </a:lnTo>
                  <a:lnTo>
                    <a:pt x="586" y="527"/>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4" name="Line 74"/>
            <p:cNvSpPr>
              <a:spLocks noChangeShapeType="1"/>
            </p:cNvSpPr>
            <p:nvPr/>
          </p:nvSpPr>
          <p:spPr bwMode="auto">
            <a:xfrm>
              <a:off x="7381875" y="30257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5" name="Freeform 75"/>
            <p:cNvSpPr>
              <a:spLocks/>
            </p:cNvSpPr>
            <p:nvPr/>
          </p:nvSpPr>
          <p:spPr bwMode="auto">
            <a:xfrm>
              <a:off x="7213600" y="2954338"/>
              <a:ext cx="285750" cy="401638"/>
            </a:xfrm>
            <a:custGeom>
              <a:avLst/>
              <a:gdLst>
                <a:gd name="T0" fmla="*/ 92 w 180"/>
                <a:gd name="T1" fmla="*/ 0 h 253"/>
                <a:gd name="T2" fmla="*/ 90 w 180"/>
                <a:gd name="T3" fmla="*/ 0 h 253"/>
                <a:gd name="T4" fmla="*/ 0 w 180"/>
                <a:gd name="T5" fmla="*/ 253 h 253"/>
                <a:gd name="T6" fmla="*/ 180 w 180"/>
                <a:gd name="T7" fmla="*/ 253 h 253"/>
                <a:gd name="T8" fmla="*/ 135 w 180"/>
                <a:gd name="T9" fmla="*/ 128 h 253"/>
              </a:gdLst>
              <a:ahLst/>
              <a:cxnLst>
                <a:cxn ang="0">
                  <a:pos x="T0" y="T1"/>
                </a:cxn>
                <a:cxn ang="0">
                  <a:pos x="T2" y="T3"/>
                </a:cxn>
                <a:cxn ang="0">
                  <a:pos x="T4" y="T5"/>
                </a:cxn>
                <a:cxn ang="0">
                  <a:pos x="T6" y="T7"/>
                </a:cxn>
                <a:cxn ang="0">
                  <a:pos x="T8" y="T9"/>
                </a:cxn>
              </a:cxnLst>
              <a:rect l="0" t="0" r="r" b="b"/>
              <a:pathLst>
                <a:path w="180" h="253">
                  <a:moveTo>
                    <a:pt x="92" y="0"/>
                  </a:moveTo>
                  <a:lnTo>
                    <a:pt x="90" y="0"/>
                  </a:lnTo>
                  <a:lnTo>
                    <a:pt x="0" y="253"/>
                  </a:lnTo>
                  <a:lnTo>
                    <a:pt x="180" y="253"/>
                  </a:lnTo>
                  <a:lnTo>
                    <a:pt x="135" y="128"/>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6" name="Line 76"/>
            <p:cNvSpPr>
              <a:spLocks noChangeShapeType="1"/>
            </p:cNvSpPr>
            <p:nvPr/>
          </p:nvSpPr>
          <p:spPr bwMode="auto">
            <a:xfrm>
              <a:off x="7989888" y="3576638"/>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7" name="Freeform 77"/>
            <p:cNvSpPr>
              <a:spLocks/>
            </p:cNvSpPr>
            <p:nvPr/>
          </p:nvSpPr>
          <p:spPr bwMode="auto">
            <a:xfrm>
              <a:off x="7989888" y="2346326"/>
              <a:ext cx="776288" cy="1433513"/>
            </a:xfrm>
            <a:custGeom>
              <a:avLst/>
              <a:gdLst>
                <a:gd name="T0" fmla="*/ 151 w 489"/>
                <a:gd name="T1" fmla="*/ 0 h 903"/>
                <a:gd name="T2" fmla="*/ 151 w 489"/>
                <a:gd name="T3" fmla="*/ 775 h 903"/>
                <a:gd name="T4" fmla="*/ 489 w 489"/>
                <a:gd name="T5" fmla="*/ 775 h 903"/>
                <a:gd name="T6" fmla="*/ 489 w 489"/>
                <a:gd name="T7" fmla="*/ 903 h 903"/>
                <a:gd name="T8" fmla="*/ 0 w 489"/>
                <a:gd name="T9" fmla="*/ 903 h 903"/>
                <a:gd name="T10" fmla="*/ 0 w 489"/>
                <a:gd name="T11" fmla="*/ 903 h 903"/>
              </a:gdLst>
              <a:ahLst/>
              <a:cxnLst>
                <a:cxn ang="0">
                  <a:pos x="T0" y="T1"/>
                </a:cxn>
                <a:cxn ang="0">
                  <a:pos x="T2" y="T3"/>
                </a:cxn>
                <a:cxn ang="0">
                  <a:pos x="T4" y="T5"/>
                </a:cxn>
                <a:cxn ang="0">
                  <a:pos x="T6" y="T7"/>
                </a:cxn>
                <a:cxn ang="0">
                  <a:pos x="T8" y="T9"/>
                </a:cxn>
                <a:cxn ang="0">
                  <a:pos x="T10" y="T11"/>
                </a:cxn>
              </a:cxnLst>
              <a:rect l="0" t="0" r="r" b="b"/>
              <a:pathLst>
                <a:path w="489" h="903">
                  <a:moveTo>
                    <a:pt x="151" y="0"/>
                  </a:moveTo>
                  <a:lnTo>
                    <a:pt x="151" y="775"/>
                  </a:lnTo>
                  <a:lnTo>
                    <a:pt x="489" y="775"/>
                  </a:lnTo>
                  <a:lnTo>
                    <a:pt x="489" y="903"/>
                  </a:lnTo>
                  <a:lnTo>
                    <a:pt x="0" y="903"/>
                  </a:lnTo>
                  <a:lnTo>
                    <a:pt x="0" y="903"/>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8" name="Freeform 78"/>
            <p:cNvSpPr>
              <a:spLocks/>
            </p:cNvSpPr>
            <p:nvPr/>
          </p:nvSpPr>
          <p:spPr bwMode="auto">
            <a:xfrm>
              <a:off x="7989888" y="2684463"/>
              <a:ext cx="165100" cy="855663"/>
            </a:xfrm>
            <a:custGeom>
              <a:avLst/>
              <a:gdLst>
                <a:gd name="T0" fmla="*/ 0 w 104"/>
                <a:gd name="T1" fmla="*/ 539 h 539"/>
                <a:gd name="T2" fmla="*/ 0 w 104"/>
                <a:gd name="T3" fmla="*/ 0 h 539"/>
                <a:gd name="T4" fmla="*/ 104 w 104"/>
                <a:gd name="T5" fmla="*/ 0 h 539"/>
              </a:gdLst>
              <a:ahLst/>
              <a:cxnLst>
                <a:cxn ang="0">
                  <a:pos x="T0" y="T1"/>
                </a:cxn>
                <a:cxn ang="0">
                  <a:pos x="T2" y="T3"/>
                </a:cxn>
                <a:cxn ang="0">
                  <a:pos x="T4" y="T5"/>
                </a:cxn>
              </a:cxnLst>
              <a:rect l="0" t="0" r="r" b="b"/>
              <a:pathLst>
                <a:path w="104" h="539">
                  <a:moveTo>
                    <a:pt x="0" y="539"/>
                  </a:moveTo>
                  <a:lnTo>
                    <a:pt x="0" y="0"/>
                  </a:lnTo>
                  <a:lnTo>
                    <a:pt x="104"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79" name="Line 79"/>
            <p:cNvSpPr>
              <a:spLocks noChangeShapeType="1"/>
            </p:cNvSpPr>
            <p:nvPr/>
          </p:nvSpPr>
          <p:spPr bwMode="auto">
            <a:xfrm>
              <a:off x="2233613" y="536575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0" name="Freeform 80"/>
            <p:cNvSpPr>
              <a:spLocks/>
            </p:cNvSpPr>
            <p:nvPr/>
          </p:nvSpPr>
          <p:spPr bwMode="auto">
            <a:xfrm>
              <a:off x="2365375" y="4589463"/>
              <a:ext cx="498475" cy="776288"/>
            </a:xfrm>
            <a:custGeom>
              <a:avLst/>
              <a:gdLst>
                <a:gd name="T0" fmla="*/ 314 w 314"/>
                <a:gd name="T1" fmla="*/ 461 h 489"/>
                <a:gd name="T2" fmla="*/ 314 w 314"/>
                <a:gd name="T3" fmla="*/ 489 h 489"/>
                <a:gd name="T4" fmla="*/ 170 w 314"/>
                <a:gd name="T5" fmla="*/ 489 h 489"/>
                <a:gd name="T6" fmla="*/ 170 w 314"/>
                <a:gd name="T7" fmla="*/ 0 h 489"/>
                <a:gd name="T8" fmla="*/ 170 w 314"/>
                <a:gd name="T9" fmla="*/ 0 h 489"/>
                <a:gd name="T10" fmla="*/ 0 w 314"/>
                <a:gd name="T11" fmla="*/ 489 h 489"/>
                <a:gd name="T12" fmla="*/ 0 w 314"/>
                <a:gd name="T13" fmla="*/ 489 h 489"/>
              </a:gdLst>
              <a:ahLst/>
              <a:cxnLst>
                <a:cxn ang="0">
                  <a:pos x="T0" y="T1"/>
                </a:cxn>
                <a:cxn ang="0">
                  <a:pos x="T2" y="T3"/>
                </a:cxn>
                <a:cxn ang="0">
                  <a:pos x="T4" y="T5"/>
                </a:cxn>
                <a:cxn ang="0">
                  <a:pos x="T6" y="T7"/>
                </a:cxn>
                <a:cxn ang="0">
                  <a:pos x="T8" y="T9"/>
                </a:cxn>
                <a:cxn ang="0">
                  <a:pos x="T10" y="T11"/>
                </a:cxn>
                <a:cxn ang="0">
                  <a:pos x="T12" y="T13"/>
                </a:cxn>
              </a:cxnLst>
              <a:rect l="0" t="0" r="r" b="b"/>
              <a:pathLst>
                <a:path w="314" h="489">
                  <a:moveTo>
                    <a:pt x="314" y="461"/>
                  </a:moveTo>
                  <a:lnTo>
                    <a:pt x="314" y="489"/>
                  </a:lnTo>
                  <a:lnTo>
                    <a:pt x="170" y="489"/>
                  </a:lnTo>
                  <a:lnTo>
                    <a:pt x="170" y="0"/>
                  </a:lnTo>
                  <a:lnTo>
                    <a:pt x="170" y="0"/>
                  </a:lnTo>
                  <a:lnTo>
                    <a:pt x="0" y="489"/>
                  </a:lnTo>
                  <a:lnTo>
                    <a:pt x="0" y="489"/>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1" name="Line 81"/>
            <p:cNvSpPr>
              <a:spLocks noChangeShapeType="1"/>
            </p:cNvSpPr>
            <p:nvPr/>
          </p:nvSpPr>
          <p:spPr bwMode="auto">
            <a:xfrm>
              <a:off x="2863850" y="4457701"/>
              <a:ext cx="0" cy="86360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2" name="Line 82"/>
            <p:cNvSpPr>
              <a:spLocks noChangeShapeType="1"/>
            </p:cNvSpPr>
            <p:nvPr/>
          </p:nvSpPr>
          <p:spPr bwMode="auto">
            <a:xfrm>
              <a:off x="2863850" y="432276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3" name="Freeform 83"/>
            <p:cNvSpPr>
              <a:spLocks/>
            </p:cNvSpPr>
            <p:nvPr/>
          </p:nvSpPr>
          <p:spPr bwMode="auto">
            <a:xfrm>
              <a:off x="1677988" y="4270376"/>
              <a:ext cx="1698625" cy="1095375"/>
            </a:xfrm>
            <a:custGeom>
              <a:avLst/>
              <a:gdLst>
                <a:gd name="T0" fmla="*/ 144 w 1070"/>
                <a:gd name="T1" fmla="*/ 492 h 690"/>
                <a:gd name="T2" fmla="*/ 144 w 1070"/>
                <a:gd name="T3" fmla="*/ 690 h 690"/>
                <a:gd name="T4" fmla="*/ 0 w 1070"/>
                <a:gd name="T5" fmla="*/ 690 h 690"/>
                <a:gd name="T6" fmla="*/ 0 w 1070"/>
                <a:gd name="T7" fmla="*/ 0 h 690"/>
                <a:gd name="T8" fmla="*/ 215 w 1070"/>
                <a:gd name="T9" fmla="*/ 0 h 690"/>
                <a:gd name="T10" fmla="*/ 376 w 1070"/>
                <a:gd name="T11" fmla="*/ 475 h 690"/>
                <a:gd name="T12" fmla="*/ 378 w 1070"/>
                <a:gd name="T13" fmla="*/ 475 h 690"/>
                <a:gd name="T14" fmla="*/ 532 w 1070"/>
                <a:gd name="T15" fmla="*/ 0 h 690"/>
                <a:gd name="T16" fmla="*/ 747 w 1070"/>
                <a:gd name="T17" fmla="*/ 0 h 690"/>
                <a:gd name="T18" fmla="*/ 1070 w 1070"/>
                <a:gd name="T19"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0" h="690">
                  <a:moveTo>
                    <a:pt x="144" y="492"/>
                  </a:moveTo>
                  <a:lnTo>
                    <a:pt x="144" y="690"/>
                  </a:lnTo>
                  <a:lnTo>
                    <a:pt x="0" y="690"/>
                  </a:lnTo>
                  <a:lnTo>
                    <a:pt x="0" y="0"/>
                  </a:lnTo>
                  <a:lnTo>
                    <a:pt x="215" y="0"/>
                  </a:lnTo>
                  <a:lnTo>
                    <a:pt x="376" y="475"/>
                  </a:lnTo>
                  <a:lnTo>
                    <a:pt x="378" y="475"/>
                  </a:lnTo>
                  <a:lnTo>
                    <a:pt x="532" y="0"/>
                  </a:lnTo>
                  <a:lnTo>
                    <a:pt x="747" y="0"/>
                  </a:lnTo>
                  <a:lnTo>
                    <a:pt x="107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4" name="Freeform 84"/>
            <p:cNvSpPr>
              <a:spLocks/>
            </p:cNvSpPr>
            <p:nvPr/>
          </p:nvSpPr>
          <p:spPr bwMode="auto">
            <a:xfrm>
              <a:off x="1906588" y="4597401"/>
              <a:ext cx="271463" cy="768350"/>
            </a:xfrm>
            <a:custGeom>
              <a:avLst/>
              <a:gdLst>
                <a:gd name="T0" fmla="*/ 171 w 171"/>
                <a:gd name="T1" fmla="*/ 484 h 484"/>
                <a:gd name="T2" fmla="*/ 3 w 171"/>
                <a:gd name="T3" fmla="*/ 0 h 484"/>
                <a:gd name="T4" fmla="*/ 0 w 171"/>
                <a:gd name="T5" fmla="*/ 0 h 484"/>
                <a:gd name="T6" fmla="*/ 0 w 171"/>
                <a:gd name="T7" fmla="*/ 286 h 484"/>
              </a:gdLst>
              <a:ahLst/>
              <a:cxnLst>
                <a:cxn ang="0">
                  <a:pos x="T0" y="T1"/>
                </a:cxn>
                <a:cxn ang="0">
                  <a:pos x="T2" y="T3"/>
                </a:cxn>
                <a:cxn ang="0">
                  <a:pos x="T4" y="T5"/>
                </a:cxn>
                <a:cxn ang="0">
                  <a:pos x="T6" y="T7"/>
                </a:cxn>
              </a:cxnLst>
              <a:rect l="0" t="0" r="r" b="b"/>
              <a:pathLst>
                <a:path w="171" h="484">
                  <a:moveTo>
                    <a:pt x="171" y="484"/>
                  </a:moveTo>
                  <a:lnTo>
                    <a:pt x="3" y="0"/>
                  </a:lnTo>
                  <a:lnTo>
                    <a:pt x="0" y="0"/>
                  </a:lnTo>
                  <a:lnTo>
                    <a:pt x="0" y="28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5" name="Freeform 85"/>
            <p:cNvSpPr>
              <a:spLocks noEditPoints="1"/>
            </p:cNvSpPr>
            <p:nvPr/>
          </p:nvSpPr>
          <p:spPr bwMode="auto">
            <a:xfrm>
              <a:off x="2905125" y="4270376"/>
              <a:ext cx="1123950" cy="1238250"/>
            </a:xfrm>
            <a:custGeom>
              <a:avLst/>
              <a:gdLst>
                <a:gd name="T0" fmla="*/ 283 w 708"/>
                <a:gd name="T1" fmla="*/ 29 h 780"/>
                <a:gd name="T2" fmla="*/ 283 w 708"/>
                <a:gd name="T3" fmla="*/ 29 h 780"/>
                <a:gd name="T4" fmla="*/ 0 w 708"/>
                <a:gd name="T5" fmla="*/ 780 h 780"/>
                <a:gd name="T6" fmla="*/ 250 w 708"/>
                <a:gd name="T7" fmla="*/ 116 h 780"/>
                <a:gd name="T8" fmla="*/ 75 w 708"/>
                <a:gd name="T9" fmla="*/ 690 h 780"/>
                <a:gd name="T10" fmla="*/ 75 w 708"/>
                <a:gd name="T11" fmla="*/ 690 h 780"/>
                <a:gd name="T12" fmla="*/ 132 w 708"/>
                <a:gd name="T13" fmla="*/ 690 h 780"/>
                <a:gd name="T14" fmla="*/ 132 w 708"/>
                <a:gd name="T15" fmla="*/ 690 h 780"/>
                <a:gd name="T16" fmla="*/ 652 w 708"/>
                <a:gd name="T17" fmla="*/ 536 h 780"/>
                <a:gd name="T18" fmla="*/ 708 w 708"/>
                <a:gd name="T19" fmla="*/ 690 h 780"/>
                <a:gd name="T20" fmla="*/ 553 w 708"/>
                <a:gd name="T21" fmla="*/ 690 h 780"/>
                <a:gd name="T22" fmla="*/ 501 w 708"/>
                <a:gd name="T23" fmla="*/ 536 h 780"/>
                <a:gd name="T24" fmla="*/ 241 w 708"/>
                <a:gd name="T25" fmla="*/ 536 h 780"/>
                <a:gd name="T26" fmla="*/ 186 w 708"/>
                <a:gd name="T27" fmla="*/ 690 h 780"/>
                <a:gd name="T28" fmla="*/ 184 w 708"/>
                <a:gd name="T29" fmla="*/ 690 h 780"/>
                <a:gd name="T30" fmla="*/ 619 w 708"/>
                <a:gd name="T31" fmla="*/ 449 h 780"/>
                <a:gd name="T32" fmla="*/ 619 w 708"/>
                <a:gd name="T33" fmla="*/ 449 h 780"/>
                <a:gd name="T34" fmla="*/ 295 w 708"/>
                <a:gd name="T35" fmla="*/ 0 h 780"/>
                <a:gd name="T36" fmla="*/ 451 w 708"/>
                <a:gd name="T37" fmla="*/ 0 h 780"/>
                <a:gd name="T38" fmla="*/ 609 w 708"/>
                <a:gd name="T39" fmla="*/ 423 h 780"/>
                <a:gd name="T40" fmla="*/ 413 w 708"/>
                <a:gd name="T41" fmla="*/ 423 h 780"/>
                <a:gd name="T42" fmla="*/ 413 w 708"/>
                <a:gd name="T43" fmla="*/ 423 h 780"/>
                <a:gd name="T44" fmla="*/ 385 w 708"/>
                <a:gd name="T45" fmla="*/ 423 h 780"/>
                <a:gd name="T46" fmla="*/ 385 w 708"/>
                <a:gd name="T47" fmla="*/ 423 h 780"/>
                <a:gd name="T48" fmla="*/ 342 w 708"/>
                <a:gd name="T49" fmla="*/ 423 h 780"/>
                <a:gd name="T50" fmla="*/ 342 w 708"/>
                <a:gd name="T51" fmla="*/ 423 h 780"/>
                <a:gd name="T52" fmla="*/ 460 w 708"/>
                <a:gd name="T53" fmla="*/ 423 h 780"/>
                <a:gd name="T54" fmla="*/ 373 w 708"/>
                <a:gd name="T55" fmla="*/ 170 h 780"/>
                <a:gd name="T56" fmla="*/ 371 w 708"/>
                <a:gd name="T57" fmla="*/ 170 h 780"/>
                <a:gd name="T58" fmla="*/ 281 w 708"/>
                <a:gd name="T59" fmla="*/ 423 h 780"/>
                <a:gd name="T60" fmla="*/ 323 w 708"/>
                <a:gd name="T61" fmla="*/ 423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8" h="780">
                  <a:moveTo>
                    <a:pt x="283" y="29"/>
                  </a:moveTo>
                  <a:lnTo>
                    <a:pt x="283" y="29"/>
                  </a:lnTo>
                  <a:moveTo>
                    <a:pt x="0" y="780"/>
                  </a:moveTo>
                  <a:lnTo>
                    <a:pt x="250" y="116"/>
                  </a:lnTo>
                  <a:moveTo>
                    <a:pt x="75" y="690"/>
                  </a:moveTo>
                  <a:lnTo>
                    <a:pt x="75" y="690"/>
                  </a:lnTo>
                  <a:moveTo>
                    <a:pt x="132" y="690"/>
                  </a:moveTo>
                  <a:lnTo>
                    <a:pt x="132" y="690"/>
                  </a:lnTo>
                  <a:moveTo>
                    <a:pt x="652" y="536"/>
                  </a:moveTo>
                  <a:lnTo>
                    <a:pt x="708" y="690"/>
                  </a:lnTo>
                  <a:lnTo>
                    <a:pt x="553" y="690"/>
                  </a:lnTo>
                  <a:lnTo>
                    <a:pt x="501" y="536"/>
                  </a:lnTo>
                  <a:lnTo>
                    <a:pt x="241" y="536"/>
                  </a:lnTo>
                  <a:lnTo>
                    <a:pt x="186" y="690"/>
                  </a:lnTo>
                  <a:lnTo>
                    <a:pt x="184" y="690"/>
                  </a:lnTo>
                  <a:moveTo>
                    <a:pt x="619" y="449"/>
                  </a:moveTo>
                  <a:lnTo>
                    <a:pt x="619" y="449"/>
                  </a:lnTo>
                  <a:moveTo>
                    <a:pt x="295" y="0"/>
                  </a:moveTo>
                  <a:lnTo>
                    <a:pt x="451" y="0"/>
                  </a:lnTo>
                  <a:lnTo>
                    <a:pt x="609" y="423"/>
                  </a:lnTo>
                  <a:moveTo>
                    <a:pt x="413" y="423"/>
                  </a:moveTo>
                  <a:lnTo>
                    <a:pt x="413" y="423"/>
                  </a:lnTo>
                  <a:moveTo>
                    <a:pt x="385" y="423"/>
                  </a:moveTo>
                  <a:lnTo>
                    <a:pt x="385" y="423"/>
                  </a:lnTo>
                  <a:moveTo>
                    <a:pt x="342" y="423"/>
                  </a:moveTo>
                  <a:lnTo>
                    <a:pt x="342" y="423"/>
                  </a:lnTo>
                  <a:moveTo>
                    <a:pt x="460" y="423"/>
                  </a:moveTo>
                  <a:lnTo>
                    <a:pt x="373" y="170"/>
                  </a:lnTo>
                  <a:lnTo>
                    <a:pt x="371" y="170"/>
                  </a:lnTo>
                  <a:lnTo>
                    <a:pt x="281" y="423"/>
                  </a:lnTo>
                  <a:lnTo>
                    <a:pt x="323" y="423"/>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6" name="Freeform 86"/>
            <p:cNvSpPr>
              <a:spLocks/>
            </p:cNvSpPr>
            <p:nvPr/>
          </p:nvSpPr>
          <p:spPr bwMode="auto">
            <a:xfrm>
              <a:off x="4127500" y="4454526"/>
              <a:ext cx="944563" cy="911225"/>
            </a:xfrm>
            <a:custGeom>
              <a:avLst/>
              <a:gdLst>
                <a:gd name="T0" fmla="*/ 237 w 252"/>
                <a:gd name="T1" fmla="*/ 0 h 243"/>
                <a:gd name="T2" fmla="*/ 243 w 252"/>
                <a:gd name="T3" fmla="*/ 32 h 243"/>
                <a:gd name="T4" fmla="*/ 232 w 252"/>
                <a:gd name="T5" fmla="*/ 76 h 243"/>
                <a:gd name="T6" fmla="*/ 197 w 252"/>
                <a:gd name="T7" fmla="*/ 105 h 243"/>
                <a:gd name="T8" fmla="*/ 197 w 252"/>
                <a:gd name="T9" fmla="*/ 106 h 243"/>
                <a:gd name="T10" fmla="*/ 217 w 252"/>
                <a:gd name="T11" fmla="*/ 116 h 243"/>
                <a:gd name="T12" fmla="*/ 229 w 252"/>
                <a:gd name="T13" fmla="*/ 132 h 243"/>
                <a:gd name="T14" fmla="*/ 237 w 252"/>
                <a:gd name="T15" fmla="*/ 152 h 243"/>
                <a:gd name="T16" fmla="*/ 240 w 252"/>
                <a:gd name="T17" fmla="*/ 174 h 243"/>
                <a:gd name="T18" fmla="*/ 240 w 252"/>
                <a:gd name="T19" fmla="*/ 191 h 243"/>
                <a:gd name="T20" fmla="*/ 242 w 252"/>
                <a:gd name="T21" fmla="*/ 210 h 243"/>
                <a:gd name="T22" fmla="*/ 245 w 252"/>
                <a:gd name="T23" fmla="*/ 228 h 243"/>
                <a:gd name="T24" fmla="*/ 252 w 252"/>
                <a:gd name="T25" fmla="*/ 243 h 243"/>
                <a:gd name="T26" fmla="*/ 188 w 252"/>
                <a:gd name="T27" fmla="*/ 243 h 243"/>
                <a:gd name="T28" fmla="*/ 181 w 252"/>
                <a:gd name="T29" fmla="*/ 210 h 243"/>
                <a:gd name="T30" fmla="*/ 177 w 252"/>
                <a:gd name="T31" fmla="*/ 173 h 243"/>
                <a:gd name="T32" fmla="*/ 163 w 252"/>
                <a:gd name="T33" fmla="*/ 140 h 243"/>
                <a:gd name="T34" fmla="*/ 129 w 252"/>
                <a:gd name="T35" fmla="*/ 129 h 243"/>
                <a:gd name="T36" fmla="*/ 64 w 252"/>
                <a:gd name="T37" fmla="*/ 129 h 243"/>
                <a:gd name="T38" fmla="*/ 64 w 252"/>
                <a:gd name="T39" fmla="*/ 243 h 243"/>
                <a:gd name="T40" fmla="*/ 0 w 252"/>
                <a:gd name="T41" fmla="*/ 243 h 243"/>
                <a:gd name="T42" fmla="*/ 0 w 252"/>
                <a:gd name="T43" fmla="*/ 17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2" h="243">
                  <a:moveTo>
                    <a:pt x="237" y="0"/>
                  </a:moveTo>
                  <a:cubicBezTo>
                    <a:pt x="241" y="10"/>
                    <a:pt x="243" y="20"/>
                    <a:pt x="243" y="32"/>
                  </a:cubicBezTo>
                  <a:cubicBezTo>
                    <a:pt x="243" y="49"/>
                    <a:pt x="240" y="64"/>
                    <a:pt x="232" y="76"/>
                  </a:cubicBezTo>
                  <a:cubicBezTo>
                    <a:pt x="225" y="89"/>
                    <a:pt x="213" y="98"/>
                    <a:pt x="197" y="105"/>
                  </a:cubicBezTo>
                  <a:cubicBezTo>
                    <a:pt x="197" y="106"/>
                    <a:pt x="197" y="106"/>
                    <a:pt x="197" y="106"/>
                  </a:cubicBezTo>
                  <a:cubicBezTo>
                    <a:pt x="205" y="108"/>
                    <a:pt x="211" y="111"/>
                    <a:pt x="217" y="116"/>
                  </a:cubicBezTo>
                  <a:cubicBezTo>
                    <a:pt x="222" y="120"/>
                    <a:pt x="226" y="126"/>
                    <a:pt x="229" y="132"/>
                  </a:cubicBezTo>
                  <a:cubicBezTo>
                    <a:pt x="233" y="138"/>
                    <a:pt x="235" y="145"/>
                    <a:pt x="237" y="152"/>
                  </a:cubicBezTo>
                  <a:cubicBezTo>
                    <a:pt x="238" y="159"/>
                    <a:pt x="239" y="167"/>
                    <a:pt x="240" y="174"/>
                  </a:cubicBezTo>
                  <a:cubicBezTo>
                    <a:pt x="240" y="179"/>
                    <a:pt x="240" y="184"/>
                    <a:pt x="240" y="191"/>
                  </a:cubicBezTo>
                  <a:cubicBezTo>
                    <a:pt x="241" y="197"/>
                    <a:pt x="241" y="203"/>
                    <a:pt x="242" y="210"/>
                  </a:cubicBezTo>
                  <a:cubicBezTo>
                    <a:pt x="243" y="216"/>
                    <a:pt x="244" y="223"/>
                    <a:pt x="245" y="228"/>
                  </a:cubicBezTo>
                  <a:cubicBezTo>
                    <a:pt x="247" y="234"/>
                    <a:pt x="249" y="239"/>
                    <a:pt x="252" y="243"/>
                  </a:cubicBezTo>
                  <a:cubicBezTo>
                    <a:pt x="188" y="243"/>
                    <a:pt x="188" y="243"/>
                    <a:pt x="188" y="243"/>
                  </a:cubicBezTo>
                  <a:cubicBezTo>
                    <a:pt x="184" y="234"/>
                    <a:pt x="182" y="223"/>
                    <a:pt x="181" y="210"/>
                  </a:cubicBezTo>
                  <a:cubicBezTo>
                    <a:pt x="180" y="197"/>
                    <a:pt x="179" y="185"/>
                    <a:pt x="177" y="173"/>
                  </a:cubicBezTo>
                  <a:cubicBezTo>
                    <a:pt x="175" y="158"/>
                    <a:pt x="170" y="147"/>
                    <a:pt x="163" y="140"/>
                  </a:cubicBezTo>
                  <a:cubicBezTo>
                    <a:pt x="156" y="133"/>
                    <a:pt x="145" y="129"/>
                    <a:pt x="129" y="129"/>
                  </a:cubicBezTo>
                  <a:cubicBezTo>
                    <a:pt x="64" y="129"/>
                    <a:pt x="64" y="129"/>
                    <a:pt x="64" y="129"/>
                  </a:cubicBezTo>
                  <a:cubicBezTo>
                    <a:pt x="64" y="243"/>
                    <a:pt x="64" y="243"/>
                    <a:pt x="64" y="243"/>
                  </a:cubicBezTo>
                  <a:cubicBezTo>
                    <a:pt x="0" y="243"/>
                    <a:pt x="0" y="243"/>
                    <a:pt x="0" y="243"/>
                  </a:cubicBezTo>
                  <a:cubicBezTo>
                    <a:pt x="0" y="176"/>
                    <a:pt x="0" y="176"/>
                    <a:pt x="0" y="176"/>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7" name="Line 87"/>
            <p:cNvSpPr>
              <a:spLocks noChangeShapeType="1"/>
            </p:cNvSpPr>
            <p:nvPr/>
          </p:nvSpPr>
          <p:spPr bwMode="auto">
            <a:xfrm>
              <a:off x="4959350" y="436880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8" name="Line 88"/>
            <p:cNvSpPr>
              <a:spLocks noChangeShapeType="1"/>
            </p:cNvSpPr>
            <p:nvPr/>
          </p:nvSpPr>
          <p:spPr bwMode="auto">
            <a:xfrm>
              <a:off x="4922838" y="43338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89" name="Line 89"/>
            <p:cNvSpPr>
              <a:spLocks noChangeShapeType="1"/>
            </p:cNvSpPr>
            <p:nvPr/>
          </p:nvSpPr>
          <p:spPr bwMode="auto">
            <a:xfrm>
              <a:off x="4884738" y="4308476"/>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0" name="Line 90"/>
            <p:cNvSpPr>
              <a:spLocks noChangeShapeType="1"/>
            </p:cNvSpPr>
            <p:nvPr/>
          </p:nvSpPr>
          <p:spPr bwMode="auto">
            <a:xfrm>
              <a:off x="4851400" y="429260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1" name="Line 91"/>
            <p:cNvSpPr>
              <a:spLocks noChangeShapeType="1"/>
            </p:cNvSpPr>
            <p:nvPr/>
          </p:nvSpPr>
          <p:spPr bwMode="auto">
            <a:xfrm>
              <a:off x="4846638" y="429260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2" name="Line 92"/>
            <p:cNvSpPr>
              <a:spLocks noChangeShapeType="1"/>
            </p:cNvSpPr>
            <p:nvPr/>
          </p:nvSpPr>
          <p:spPr bwMode="auto">
            <a:xfrm>
              <a:off x="4127500" y="4270376"/>
              <a:ext cx="59213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3" name="Freeform 93"/>
            <p:cNvSpPr>
              <a:spLocks/>
            </p:cNvSpPr>
            <p:nvPr/>
          </p:nvSpPr>
          <p:spPr bwMode="auto">
            <a:xfrm>
              <a:off x="4367213" y="4457701"/>
              <a:ext cx="431800" cy="307975"/>
            </a:xfrm>
            <a:custGeom>
              <a:avLst/>
              <a:gdLst>
                <a:gd name="T0" fmla="*/ 104 w 115"/>
                <a:gd name="T1" fmla="*/ 72 h 82"/>
                <a:gd name="T2" fmla="*/ 115 w 115"/>
                <a:gd name="T3" fmla="*/ 40 h 82"/>
                <a:gd name="T4" fmla="*/ 104 w 115"/>
                <a:gd name="T5" fmla="*/ 9 h 82"/>
                <a:gd name="T6" fmla="*/ 71 w 115"/>
                <a:gd name="T7" fmla="*/ 0 h 82"/>
                <a:gd name="T8" fmla="*/ 0 w 115"/>
                <a:gd name="T9" fmla="*/ 0 h 82"/>
                <a:gd name="T10" fmla="*/ 0 w 115"/>
                <a:gd name="T11" fmla="*/ 82 h 82"/>
                <a:gd name="T12" fmla="*/ 71 w 115"/>
                <a:gd name="T13" fmla="*/ 82 h 82"/>
                <a:gd name="T14" fmla="*/ 73 w 115"/>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82">
                  <a:moveTo>
                    <a:pt x="104" y="72"/>
                  </a:moveTo>
                  <a:cubicBezTo>
                    <a:pt x="111" y="66"/>
                    <a:pt x="115" y="55"/>
                    <a:pt x="115" y="40"/>
                  </a:cubicBezTo>
                  <a:cubicBezTo>
                    <a:pt x="115" y="26"/>
                    <a:pt x="111" y="16"/>
                    <a:pt x="104" y="9"/>
                  </a:cubicBezTo>
                  <a:cubicBezTo>
                    <a:pt x="97" y="3"/>
                    <a:pt x="85" y="0"/>
                    <a:pt x="71" y="0"/>
                  </a:cubicBezTo>
                  <a:cubicBezTo>
                    <a:pt x="0" y="0"/>
                    <a:pt x="0" y="0"/>
                    <a:pt x="0" y="0"/>
                  </a:cubicBezTo>
                  <a:cubicBezTo>
                    <a:pt x="0" y="82"/>
                    <a:pt x="0" y="82"/>
                    <a:pt x="0" y="82"/>
                  </a:cubicBezTo>
                  <a:cubicBezTo>
                    <a:pt x="71" y="82"/>
                    <a:pt x="71" y="82"/>
                    <a:pt x="71" y="82"/>
                  </a:cubicBezTo>
                  <a:cubicBezTo>
                    <a:pt x="72" y="82"/>
                    <a:pt x="72" y="82"/>
                    <a:pt x="73" y="82"/>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4" name="Freeform 94"/>
            <p:cNvSpPr>
              <a:spLocks/>
            </p:cNvSpPr>
            <p:nvPr/>
          </p:nvSpPr>
          <p:spPr bwMode="auto">
            <a:xfrm>
              <a:off x="5237163" y="4364038"/>
              <a:ext cx="1012825" cy="1001713"/>
            </a:xfrm>
            <a:custGeom>
              <a:avLst/>
              <a:gdLst>
                <a:gd name="T0" fmla="*/ 638 w 638"/>
                <a:gd name="T1" fmla="*/ 631 h 631"/>
                <a:gd name="T2" fmla="*/ 447 w 638"/>
                <a:gd name="T3" fmla="*/ 631 h 631"/>
                <a:gd name="T4" fmla="*/ 239 w 638"/>
                <a:gd name="T5" fmla="*/ 322 h 631"/>
                <a:gd name="T6" fmla="*/ 151 w 638"/>
                <a:gd name="T7" fmla="*/ 409 h 631"/>
                <a:gd name="T8" fmla="*/ 151 w 638"/>
                <a:gd name="T9" fmla="*/ 631 h 631"/>
                <a:gd name="T10" fmla="*/ 0 w 638"/>
                <a:gd name="T11" fmla="*/ 631 h 631"/>
                <a:gd name="T12" fmla="*/ 0 w 638"/>
                <a:gd name="T13" fmla="*/ 0 h 631"/>
              </a:gdLst>
              <a:ahLst/>
              <a:cxnLst>
                <a:cxn ang="0">
                  <a:pos x="T0" y="T1"/>
                </a:cxn>
                <a:cxn ang="0">
                  <a:pos x="T2" y="T3"/>
                </a:cxn>
                <a:cxn ang="0">
                  <a:pos x="T4" y="T5"/>
                </a:cxn>
                <a:cxn ang="0">
                  <a:pos x="T6" y="T7"/>
                </a:cxn>
                <a:cxn ang="0">
                  <a:pos x="T8" y="T9"/>
                </a:cxn>
                <a:cxn ang="0">
                  <a:pos x="T10" y="T11"/>
                </a:cxn>
                <a:cxn ang="0">
                  <a:pos x="T12" y="T13"/>
                </a:cxn>
              </a:cxnLst>
              <a:rect l="0" t="0" r="r" b="b"/>
              <a:pathLst>
                <a:path w="638" h="631">
                  <a:moveTo>
                    <a:pt x="638" y="631"/>
                  </a:moveTo>
                  <a:lnTo>
                    <a:pt x="447" y="631"/>
                  </a:lnTo>
                  <a:lnTo>
                    <a:pt x="239" y="322"/>
                  </a:lnTo>
                  <a:lnTo>
                    <a:pt x="151" y="409"/>
                  </a:lnTo>
                  <a:lnTo>
                    <a:pt x="151" y="631"/>
                  </a:lnTo>
                  <a:lnTo>
                    <a:pt x="0" y="631"/>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5" name="Freeform 95"/>
            <p:cNvSpPr>
              <a:spLocks/>
            </p:cNvSpPr>
            <p:nvPr/>
          </p:nvSpPr>
          <p:spPr bwMode="auto">
            <a:xfrm>
              <a:off x="4719638" y="4270376"/>
              <a:ext cx="1489075" cy="892175"/>
            </a:xfrm>
            <a:custGeom>
              <a:avLst/>
              <a:gdLst>
                <a:gd name="T0" fmla="*/ 0 w 938"/>
                <a:gd name="T1" fmla="*/ 0 h 562"/>
                <a:gd name="T2" fmla="*/ 477 w 938"/>
                <a:gd name="T3" fmla="*/ 0 h 562"/>
                <a:gd name="T4" fmla="*/ 477 w 938"/>
                <a:gd name="T5" fmla="*/ 286 h 562"/>
                <a:gd name="T6" fmla="*/ 747 w 938"/>
                <a:gd name="T7" fmla="*/ 0 h 562"/>
                <a:gd name="T8" fmla="*/ 938 w 938"/>
                <a:gd name="T9" fmla="*/ 0 h 562"/>
                <a:gd name="T10" fmla="*/ 666 w 938"/>
                <a:gd name="T11" fmla="*/ 272 h 562"/>
                <a:gd name="T12" fmla="*/ 872 w 938"/>
                <a:gd name="T13" fmla="*/ 562 h 562"/>
              </a:gdLst>
              <a:ahLst/>
              <a:cxnLst>
                <a:cxn ang="0">
                  <a:pos x="T0" y="T1"/>
                </a:cxn>
                <a:cxn ang="0">
                  <a:pos x="T2" y="T3"/>
                </a:cxn>
                <a:cxn ang="0">
                  <a:pos x="T4" y="T5"/>
                </a:cxn>
                <a:cxn ang="0">
                  <a:pos x="T6" y="T7"/>
                </a:cxn>
                <a:cxn ang="0">
                  <a:pos x="T8" y="T9"/>
                </a:cxn>
                <a:cxn ang="0">
                  <a:pos x="T10" y="T11"/>
                </a:cxn>
                <a:cxn ang="0">
                  <a:pos x="T12" y="T13"/>
                </a:cxn>
              </a:cxnLst>
              <a:rect l="0" t="0" r="r" b="b"/>
              <a:pathLst>
                <a:path w="938" h="562">
                  <a:moveTo>
                    <a:pt x="0" y="0"/>
                  </a:moveTo>
                  <a:lnTo>
                    <a:pt x="477" y="0"/>
                  </a:lnTo>
                  <a:lnTo>
                    <a:pt x="477" y="286"/>
                  </a:lnTo>
                  <a:lnTo>
                    <a:pt x="747" y="0"/>
                  </a:lnTo>
                  <a:lnTo>
                    <a:pt x="938" y="0"/>
                  </a:lnTo>
                  <a:lnTo>
                    <a:pt x="666" y="272"/>
                  </a:lnTo>
                  <a:lnTo>
                    <a:pt x="872" y="5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6" name="Line 96"/>
            <p:cNvSpPr>
              <a:spLocks noChangeShapeType="1"/>
            </p:cNvSpPr>
            <p:nvPr/>
          </p:nvSpPr>
          <p:spPr bwMode="auto">
            <a:xfrm>
              <a:off x="6346825" y="53324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7" name="Freeform 97"/>
            <p:cNvSpPr>
              <a:spLocks/>
            </p:cNvSpPr>
            <p:nvPr/>
          </p:nvSpPr>
          <p:spPr bwMode="auto">
            <a:xfrm>
              <a:off x="6238875" y="4897438"/>
              <a:ext cx="941388" cy="468313"/>
            </a:xfrm>
            <a:custGeom>
              <a:avLst/>
              <a:gdLst>
                <a:gd name="T0" fmla="*/ 555 w 593"/>
                <a:gd name="T1" fmla="*/ 0 h 295"/>
                <a:gd name="T2" fmla="*/ 220 w 593"/>
                <a:gd name="T3" fmla="*/ 0 h 295"/>
                <a:gd name="T4" fmla="*/ 220 w 593"/>
                <a:gd name="T5" fmla="*/ 167 h 295"/>
                <a:gd name="T6" fmla="*/ 593 w 593"/>
                <a:gd name="T7" fmla="*/ 167 h 295"/>
                <a:gd name="T8" fmla="*/ 593 w 593"/>
                <a:gd name="T9" fmla="*/ 295 h 295"/>
                <a:gd name="T10" fmla="*/ 68 w 593"/>
                <a:gd name="T11" fmla="*/ 295 h 295"/>
                <a:gd name="T12" fmla="*/ 0 w 593"/>
                <a:gd name="T13" fmla="*/ 295 h 295"/>
              </a:gdLst>
              <a:ahLst/>
              <a:cxnLst>
                <a:cxn ang="0">
                  <a:pos x="T0" y="T1"/>
                </a:cxn>
                <a:cxn ang="0">
                  <a:pos x="T2" y="T3"/>
                </a:cxn>
                <a:cxn ang="0">
                  <a:pos x="T4" y="T5"/>
                </a:cxn>
                <a:cxn ang="0">
                  <a:pos x="T6" y="T7"/>
                </a:cxn>
                <a:cxn ang="0">
                  <a:pos x="T8" y="T9"/>
                </a:cxn>
                <a:cxn ang="0">
                  <a:pos x="T10" y="T11"/>
                </a:cxn>
                <a:cxn ang="0">
                  <a:pos x="T12" y="T13"/>
                </a:cxn>
              </a:cxnLst>
              <a:rect l="0" t="0" r="r" b="b"/>
              <a:pathLst>
                <a:path w="593" h="295">
                  <a:moveTo>
                    <a:pt x="555" y="0"/>
                  </a:moveTo>
                  <a:lnTo>
                    <a:pt x="220" y="0"/>
                  </a:lnTo>
                  <a:lnTo>
                    <a:pt x="220" y="167"/>
                  </a:lnTo>
                  <a:lnTo>
                    <a:pt x="593" y="167"/>
                  </a:lnTo>
                  <a:lnTo>
                    <a:pt x="593" y="295"/>
                  </a:lnTo>
                  <a:lnTo>
                    <a:pt x="68" y="295"/>
                  </a:lnTo>
                  <a:lnTo>
                    <a:pt x="0" y="295"/>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8" name="Line 98"/>
            <p:cNvSpPr>
              <a:spLocks noChangeShapeType="1"/>
            </p:cNvSpPr>
            <p:nvPr/>
          </p:nvSpPr>
          <p:spPr bwMode="auto">
            <a:xfrm>
              <a:off x="7119938" y="47990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499" name="Line 99"/>
            <p:cNvSpPr>
              <a:spLocks noChangeShapeType="1"/>
            </p:cNvSpPr>
            <p:nvPr/>
          </p:nvSpPr>
          <p:spPr bwMode="auto">
            <a:xfrm>
              <a:off x="7119938" y="477361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0" name="Freeform 100"/>
            <p:cNvSpPr>
              <a:spLocks/>
            </p:cNvSpPr>
            <p:nvPr/>
          </p:nvSpPr>
          <p:spPr bwMode="auto">
            <a:xfrm>
              <a:off x="6588125" y="4473576"/>
              <a:ext cx="576263" cy="269875"/>
            </a:xfrm>
            <a:custGeom>
              <a:avLst/>
              <a:gdLst>
                <a:gd name="T0" fmla="*/ 363 w 363"/>
                <a:gd name="T1" fmla="*/ 0 h 170"/>
                <a:gd name="T2" fmla="*/ 0 w 363"/>
                <a:gd name="T3" fmla="*/ 0 h 170"/>
                <a:gd name="T4" fmla="*/ 0 w 363"/>
                <a:gd name="T5" fmla="*/ 149 h 170"/>
                <a:gd name="T6" fmla="*/ 335 w 363"/>
                <a:gd name="T7" fmla="*/ 149 h 170"/>
                <a:gd name="T8" fmla="*/ 335 w 363"/>
                <a:gd name="T9" fmla="*/ 170 h 170"/>
              </a:gdLst>
              <a:ahLst/>
              <a:cxnLst>
                <a:cxn ang="0">
                  <a:pos x="T0" y="T1"/>
                </a:cxn>
                <a:cxn ang="0">
                  <a:pos x="T2" y="T3"/>
                </a:cxn>
                <a:cxn ang="0">
                  <a:pos x="T4" y="T5"/>
                </a:cxn>
                <a:cxn ang="0">
                  <a:pos x="T6" y="T7"/>
                </a:cxn>
                <a:cxn ang="0">
                  <a:pos x="T8" y="T9"/>
                </a:cxn>
              </a:cxnLst>
              <a:rect l="0" t="0" r="r" b="b"/>
              <a:pathLst>
                <a:path w="363" h="170">
                  <a:moveTo>
                    <a:pt x="363" y="0"/>
                  </a:moveTo>
                  <a:lnTo>
                    <a:pt x="0" y="0"/>
                  </a:lnTo>
                  <a:lnTo>
                    <a:pt x="0" y="149"/>
                  </a:lnTo>
                  <a:lnTo>
                    <a:pt x="335" y="149"/>
                  </a:lnTo>
                  <a:lnTo>
                    <a:pt x="335" y="17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1" name="Freeform 101"/>
            <p:cNvSpPr>
              <a:spLocks/>
            </p:cNvSpPr>
            <p:nvPr/>
          </p:nvSpPr>
          <p:spPr bwMode="auto">
            <a:xfrm>
              <a:off x="6346825" y="4270376"/>
              <a:ext cx="817563" cy="896938"/>
            </a:xfrm>
            <a:custGeom>
              <a:avLst/>
              <a:gdLst>
                <a:gd name="T0" fmla="*/ 0 w 515"/>
                <a:gd name="T1" fmla="*/ 565 h 565"/>
                <a:gd name="T2" fmla="*/ 0 w 515"/>
                <a:gd name="T3" fmla="*/ 0 h 565"/>
                <a:gd name="T4" fmla="*/ 515 w 515"/>
                <a:gd name="T5" fmla="*/ 0 h 565"/>
                <a:gd name="T6" fmla="*/ 515 w 515"/>
                <a:gd name="T7" fmla="*/ 71 h 565"/>
              </a:gdLst>
              <a:ahLst/>
              <a:cxnLst>
                <a:cxn ang="0">
                  <a:pos x="T0" y="T1"/>
                </a:cxn>
                <a:cxn ang="0">
                  <a:pos x="T2" y="T3"/>
                </a:cxn>
                <a:cxn ang="0">
                  <a:pos x="T4" y="T5"/>
                </a:cxn>
                <a:cxn ang="0">
                  <a:pos x="T6" y="T7"/>
                </a:cxn>
              </a:cxnLst>
              <a:rect l="0" t="0" r="r" b="b"/>
              <a:pathLst>
                <a:path w="515" h="565">
                  <a:moveTo>
                    <a:pt x="0" y="565"/>
                  </a:moveTo>
                  <a:lnTo>
                    <a:pt x="0" y="0"/>
                  </a:lnTo>
                  <a:lnTo>
                    <a:pt x="515" y="0"/>
                  </a:lnTo>
                  <a:lnTo>
                    <a:pt x="515" y="71"/>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2" name="Line 102"/>
            <p:cNvSpPr>
              <a:spLocks noChangeShapeType="1"/>
            </p:cNvSpPr>
            <p:nvPr/>
          </p:nvSpPr>
          <p:spPr bwMode="auto">
            <a:xfrm>
              <a:off x="7254875" y="4398963"/>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3" name="Line 103"/>
            <p:cNvSpPr>
              <a:spLocks noChangeShapeType="1"/>
            </p:cNvSpPr>
            <p:nvPr/>
          </p:nvSpPr>
          <p:spPr bwMode="auto">
            <a:xfrm>
              <a:off x="7254875" y="4432301"/>
              <a:ext cx="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4" name="Freeform 104"/>
            <p:cNvSpPr>
              <a:spLocks/>
            </p:cNvSpPr>
            <p:nvPr/>
          </p:nvSpPr>
          <p:spPr bwMode="auto">
            <a:xfrm>
              <a:off x="7131050" y="4473576"/>
              <a:ext cx="454025" cy="1354138"/>
            </a:xfrm>
            <a:custGeom>
              <a:avLst/>
              <a:gdLst>
                <a:gd name="T0" fmla="*/ 286 w 286"/>
                <a:gd name="T1" fmla="*/ 853 h 853"/>
                <a:gd name="T2" fmla="*/ 286 w 286"/>
                <a:gd name="T3" fmla="*/ 0 h 853"/>
                <a:gd name="T4" fmla="*/ 78 w 286"/>
                <a:gd name="T5" fmla="*/ 0 h 853"/>
                <a:gd name="T6" fmla="*/ 0 w 286"/>
                <a:gd name="T7" fmla="*/ 0 h 853"/>
              </a:gdLst>
              <a:ahLst/>
              <a:cxnLst>
                <a:cxn ang="0">
                  <a:pos x="T0" y="T1"/>
                </a:cxn>
                <a:cxn ang="0">
                  <a:pos x="T2" y="T3"/>
                </a:cxn>
                <a:cxn ang="0">
                  <a:pos x="T4" y="T5"/>
                </a:cxn>
                <a:cxn ang="0">
                  <a:pos x="T6" y="T7"/>
                </a:cxn>
              </a:cxnLst>
              <a:rect l="0" t="0" r="r" b="b"/>
              <a:pathLst>
                <a:path w="286" h="853">
                  <a:moveTo>
                    <a:pt x="286" y="853"/>
                  </a:moveTo>
                  <a:lnTo>
                    <a:pt x="286" y="0"/>
                  </a:lnTo>
                  <a:lnTo>
                    <a:pt x="78" y="0"/>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5" name="Freeform 105"/>
            <p:cNvSpPr>
              <a:spLocks/>
            </p:cNvSpPr>
            <p:nvPr/>
          </p:nvSpPr>
          <p:spPr bwMode="auto">
            <a:xfrm>
              <a:off x="7329488" y="4270376"/>
              <a:ext cx="825500" cy="1095375"/>
            </a:xfrm>
            <a:custGeom>
              <a:avLst/>
              <a:gdLst>
                <a:gd name="T0" fmla="*/ 0 w 520"/>
                <a:gd name="T1" fmla="*/ 0 h 690"/>
                <a:gd name="T2" fmla="*/ 520 w 520"/>
                <a:gd name="T3" fmla="*/ 0 h 690"/>
                <a:gd name="T4" fmla="*/ 520 w 520"/>
                <a:gd name="T5" fmla="*/ 128 h 690"/>
                <a:gd name="T6" fmla="*/ 312 w 520"/>
                <a:gd name="T7" fmla="*/ 128 h 690"/>
                <a:gd name="T8" fmla="*/ 312 w 520"/>
                <a:gd name="T9" fmla="*/ 690 h 690"/>
                <a:gd name="T10" fmla="*/ 312 w 520"/>
                <a:gd name="T11" fmla="*/ 690 h 690"/>
              </a:gdLst>
              <a:ahLst/>
              <a:cxnLst>
                <a:cxn ang="0">
                  <a:pos x="T0" y="T1"/>
                </a:cxn>
                <a:cxn ang="0">
                  <a:pos x="T2" y="T3"/>
                </a:cxn>
                <a:cxn ang="0">
                  <a:pos x="T4" y="T5"/>
                </a:cxn>
                <a:cxn ang="0">
                  <a:pos x="T6" y="T7"/>
                </a:cxn>
                <a:cxn ang="0">
                  <a:pos x="T8" y="T9"/>
                </a:cxn>
                <a:cxn ang="0">
                  <a:pos x="T10" y="T11"/>
                </a:cxn>
              </a:cxnLst>
              <a:rect l="0" t="0" r="r" b="b"/>
              <a:pathLst>
                <a:path w="520" h="690">
                  <a:moveTo>
                    <a:pt x="0" y="0"/>
                  </a:moveTo>
                  <a:lnTo>
                    <a:pt x="520" y="0"/>
                  </a:lnTo>
                  <a:lnTo>
                    <a:pt x="520" y="128"/>
                  </a:lnTo>
                  <a:lnTo>
                    <a:pt x="312" y="128"/>
                  </a:lnTo>
                  <a:lnTo>
                    <a:pt x="312" y="690"/>
                  </a:lnTo>
                  <a:lnTo>
                    <a:pt x="312" y="69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6" name="Freeform 106"/>
            <p:cNvSpPr>
              <a:spLocks/>
            </p:cNvSpPr>
            <p:nvPr/>
          </p:nvSpPr>
          <p:spPr bwMode="auto">
            <a:xfrm>
              <a:off x="3111500" y="1030288"/>
              <a:ext cx="2092325" cy="1147763"/>
            </a:xfrm>
            <a:custGeom>
              <a:avLst/>
              <a:gdLst>
                <a:gd name="T0" fmla="*/ 558 w 558"/>
                <a:gd name="T1" fmla="*/ 244 h 306"/>
                <a:gd name="T2" fmla="*/ 558 w 558"/>
                <a:gd name="T3" fmla="*/ 7 h 306"/>
                <a:gd name="T4" fmla="*/ 498 w 558"/>
                <a:gd name="T5" fmla="*/ 7 h 306"/>
                <a:gd name="T6" fmla="*/ 498 w 558"/>
                <a:gd name="T7" fmla="*/ 203 h 306"/>
                <a:gd name="T8" fmla="*/ 497 w 558"/>
                <a:gd name="T9" fmla="*/ 203 h 306"/>
                <a:gd name="T10" fmla="*/ 365 w 558"/>
                <a:gd name="T11" fmla="*/ 0 h 306"/>
                <a:gd name="T12" fmla="*/ 152 w 558"/>
                <a:gd name="T13" fmla="*/ 0 h 306"/>
                <a:gd name="T14" fmla="*/ 152 w 558"/>
                <a:gd name="T15" fmla="*/ 0 h 306"/>
                <a:gd name="T16" fmla="*/ 144 w 558"/>
                <a:gd name="T17" fmla="*/ 0 h 306"/>
                <a:gd name="T18" fmla="*/ 83 w 558"/>
                <a:gd name="T19" fmla="*/ 12 h 306"/>
                <a:gd name="T20" fmla="*/ 38 w 558"/>
                <a:gd name="T21" fmla="*/ 45 h 306"/>
                <a:gd name="T22" fmla="*/ 10 w 558"/>
                <a:gd name="T23" fmla="*/ 94 h 306"/>
                <a:gd name="T24" fmla="*/ 0 w 558"/>
                <a:gd name="T25" fmla="*/ 155 h 306"/>
                <a:gd name="T26" fmla="*/ 10 w 558"/>
                <a:gd name="T27" fmla="*/ 214 h 306"/>
                <a:gd name="T28" fmla="*/ 38 w 558"/>
                <a:gd name="T29" fmla="*/ 262 h 306"/>
                <a:gd name="T30" fmla="*/ 83 w 558"/>
                <a:gd name="T31" fmla="*/ 295 h 306"/>
                <a:gd name="T32" fmla="*/ 144 w 558"/>
                <a:gd name="T33" fmla="*/ 306 h 306"/>
                <a:gd name="T34" fmla="*/ 204 w 558"/>
                <a:gd name="T35" fmla="*/ 295 h 306"/>
                <a:gd name="T36" fmla="*/ 249 w 558"/>
                <a:gd name="T37" fmla="*/ 262 h 306"/>
                <a:gd name="T38" fmla="*/ 278 w 558"/>
                <a:gd name="T39" fmla="*/ 214 h 306"/>
                <a:gd name="T40" fmla="*/ 288 w 558"/>
                <a:gd name="T41" fmla="*/ 155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8" h="306">
                  <a:moveTo>
                    <a:pt x="558" y="244"/>
                  </a:moveTo>
                  <a:cubicBezTo>
                    <a:pt x="558" y="7"/>
                    <a:pt x="558" y="7"/>
                    <a:pt x="558" y="7"/>
                  </a:cubicBezTo>
                  <a:cubicBezTo>
                    <a:pt x="498" y="7"/>
                    <a:pt x="498" y="7"/>
                    <a:pt x="498" y="7"/>
                  </a:cubicBezTo>
                  <a:cubicBezTo>
                    <a:pt x="498" y="203"/>
                    <a:pt x="498" y="203"/>
                    <a:pt x="498" y="203"/>
                  </a:cubicBezTo>
                  <a:cubicBezTo>
                    <a:pt x="497" y="203"/>
                    <a:pt x="497" y="203"/>
                    <a:pt x="497" y="203"/>
                  </a:cubicBezTo>
                  <a:cubicBezTo>
                    <a:pt x="365" y="0"/>
                    <a:pt x="365" y="0"/>
                    <a:pt x="365" y="0"/>
                  </a:cubicBezTo>
                  <a:cubicBezTo>
                    <a:pt x="152" y="0"/>
                    <a:pt x="152" y="0"/>
                    <a:pt x="152" y="0"/>
                  </a:cubicBezTo>
                  <a:cubicBezTo>
                    <a:pt x="152" y="0"/>
                    <a:pt x="152" y="0"/>
                    <a:pt x="152" y="0"/>
                  </a:cubicBezTo>
                  <a:cubicBezTo>
                    <a:pt x="149" y="0"/>
                    <a:pt x="147" y="0"/>
                    <a:pt x="144" y="0"/>
                  </a:cubicBezTo>
                  <a:cubicBezTo>
                    <a:pt x="121" y="0"/>
                    <a:pt x="101" y="4"/>
                    <a:pt x="83" y="12"/>
                  </a:cubicBezTo>
                  <a:cubicBezTo>
                    <a:pt x="65" y="20"/>
                    <a:pt x="50" y="31"/>
                    <a:pt x="38" y="45"/>
                  </a:cubicBezTo>
                  <a:cubicBezTo>
                    <a:pt x="26" y="59"/>
                    <a:pt x="16" y="75"/>
                    <a:pt x="10" y="94"/>
                  </a:cubicBezTo>
                  <a:cubicBezTo>
                    <a:pt x="3" y="112"/>
                    <a:pt x="0" y="133"/>
                    <a:pt x="0" y="155"/>
                  </a:cubicBezTo>
                  <a:cubicBezTo>
                    <a:pt x="0" y="176"/>
                    <a:pt x="3" y="196"/>
                    <a:pt x="10" y="214"/>
                  </a:cubicBezTo>
                  <a:cubicBezTo>
                    <a:pt x="16" y="233"/>
                    <a:pt x="26" y="249"/>
                    <a:pt x="38" y="262"/>
                  </a:cubicBezTo>
                  <a:cubicBezTo>
                    <a:pt x="50" y="276"/>
                    <a:pt x="65" y="287"/>
                    <a:pt x="83" y="295"/>
                  </a:cubicBezTo>
                  <a:cubicBezTo>
                    <a:pt x="101" y="302"/>
                    <a:pt x="121" y="306"/>
                    <a:pt x="144" y="306"/>
                  </a:cubicBezTo>
                  <a:cubicBezTo>
                    <a:pt x="166" y="306"/>
                    <a:pt x="187" y="302"/>
                    <a:pt x="204" y="295"/>
                  </a:cubicBezTo>
                  <a:cubicBezTo>
                    <a:pt x="222" y="287"/>
                    <a:pt x="237" y="276"/>
                    <a:pt x="249" y="262"/>
                  </a:cubicBezTo>
                  <a:cubicBezTo>
                    <a:pt x="262" y="249"/>
                    <a:pt x="271" y="233"/>
                    <a:pt x="278" y="214"/>
                  </a:cubicBezTo>
                  <a:cubicBezTo>
                    <a:pt x="284" y="196"/>
                    <a:pt x="288" y="176"/>
                    <a:pt x="288" y="155"/>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7" name="Freeform 107"/>
            <p:cNvSpPr>
              <a:spLocks/>
            </p:cNvSpPr>
            <p:nvPr/>
          </p:nvSpPr>
          <p:spPr bwMode="auto">
            <a:xfrm>
              <a:off x="5338763" y="1057276"/>
              <a:ext cx="1065213" cy="622300"/>
            </a:xfrm>
            <a:custGeom>
              <a:avLst/>
              <a:gdLst>
                <a:gd name="T0" fmla="*/ 671 w 671"/>
                <a:gd name="T1" fmla="*/ 0 h 392"/>
                <a:gd name="T2" fmla="*/ 0 w 671"/>
                <a:gd name="T3" fmla="*/ 0 h 392"/>
                <a:gd name="T4" fmla="*/ 0 w 671"/>
                <a:gd name="T5" fmla="*/ 392 h 392"/>
              </a:gdLst>
              <a:ahLst/>
              <a:cxnLst>
                <a:cxn ang="0">
                  <a:pos x="T0" y="T1"/>
                </a:cxn>
                <a:cxn ang="0">
                  <a:pos x="T2" y="T3"/>
                </a:cxn>
                <a:cxn ang="0">
                  <a:pos x="T4" y="T5"/>
                </a:cxn>
              </a:cxnLst>
              <a:rect l="0" t="0" r="r" b="b"/>
              <a:pathLst>
                <a:path w="671" h="392">
                  <a:moveTo>
                    <a:pt x="671" y="0"/>
                  </a:moveTo>
                  <a:lnTo>
                    <a:pt x="0" y="0"/>
                  </a:lnTo>
                  <a:lnTo>
                    <a:pt x="0" y="39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8" name="Freeform 108"/>
            <p:cNvSpPr>
              <a:spLocks/>
            </p:cNvSpPr>
            <p:nvPr/>
          </p:nvSpPr>
          <p:spPr bwMode="auto">
            <a:xfrm>
              <a:off x="4276725" y="1181101"/>
              <a:ext cx="1893888" cy="974725"/>
            </a:xfrm>
            <a:custGeom>
              <a:avLst/>
              <a:gdLst>
                <a:gd name="T0" fmla="*/ 0 w 1193"/>
                <a:gd name="T1" fmla="*/ 0 h 614"/>
                <a:gd name="T2" fmla="*/ 0 w 1193"/>
                <a:gd name="T3" fmla="*/ 614 h 614"/>
                <a:gd name="T4" fmla="*/ 142 w 1193"/>
                <a:gd name="T5" fmla="*/ 614 h 614"/>
                <a:gd name="T6" fmla="*/ 142 w 1193"/>
                <a:gd name="T7" fmla="*/ 151 h 614"/>
                <a:gd name="T8" fmla="*/ 144 w 1193"/>
                <a:gd name="T9" fmla="*/ 151 h 614"/>
                <a:gd name="T10" fmla="*/ 433 w 1193"/>
                <a:gd name="T11" fmla="*/ 614 h 614"/>
                <a:gd name="T12" fmla="*/ 501 w 1193"/>
                <a:gd name="T13" fmla="*/ 614 h 614"/>
                <a:gd name="T14" fmla="*/ 584 w 1193"/>
                <a:gd name="T15" fmla="*/ 614 h 614"/>
                <a:gd name="T16" fmla="*/ 669 w 1193"/>
                <a:gd name="T17" fmla="*/ 614 h 614"/>
                <a:gd name="T18" fmla="*/ 806 w 1193"/>
                <a:gd name="T19" fmla="*/ 614 h 614"/>
                <a:gd name="T20" fmla="*/ 1193 w 1193"/>
                <a:gd name="T21" fmla="*/ 614 h 614"/>
                <a:gd name="T22" fmla="*/ 1193 w 1193"/>
                <a:gd name="T23" fmla="*/ 486 h 614"/>
                <a:gd name="T24" fmla="*/ 820 w 1193"/>
                <a:gd name="T25" fmla="*/ 486 h 614"/>
                <a:gd name="T26" fmla="*/ 820 w 1193"/>
                <a:gd name="T27" fmla="*/ 316 h 614"/>
                <a:gd name="T28" fmla="*/ 1156 w 1193"/>
                <a:gd name="T29" fmla="*/ 316 h 614"/>
                <a:gd name="T30" fmla="*/ 1156 w 1193"/>
                <a:gd name="T31" fmla="*/ 198 h 614"/>
                <a:gd name="T32" fmla="*/ 820 w 1193"/>
                <a:gd name="T33" fmla="*/ 198 h 614"/>
                <a:gd name="T34" fmla="*/ 820 w 1193"/>
                <a:gd name="T35" fmla="*/ 49 h 614"/>
                <a:gd name="T36" fmla="*/ 1186 w 1193"/>
                <a:gd name="T37" fmla="*/ 49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3" h="614">
                  <a:moveTo>
                    <a:pt x="0" y="0"/>
                  </a:moveTo>
                  <a:lnTo>
                    <a:pt x="0" y="614"/>
                  </a:lnTo>
                  <a:lnTo>
                    <a:pt x="142" y="614"/>
                  </a:lnTo>
                  <a:lnTo>
                    <a:pt x="142" y="151"/>
                  </a:lnTo>
                  <a:lnTo>
                    <a:pt x="144" y="151"/>
                  </a:lnTo>
                  <a:lnTo>
                    <a:pt x="433" y="614"/>
                  </a:lnTo>
                  <a:lnTo>
                    <a:pt x="501" y="614"/>
                  </a:lnTo>
                  <a:lnTo>
                    <a:pt x="584" y="614"/>
                  </a:lnTo>
                  <a:lnTo>
                    <a:pt x="669" y="614"/>
                  </a:lnTo>
                  <a:lnTo>
                    <a:pt x="806" y="614"/>
                  </a:lnTo>
                  <a:lnTo>
                    <a:pt x="1193" y="614"/>
                  </a:lnTo>
                  <a:lnTo>
                    <a:pt x="1193" y="486"/>
                  </a:lnTo>
                  <a:lnTo>
                    <a:pt x="820" y="486"/>
                  </a:lnTo>
                  <a:lnTo>
                    <a:pt x="820" y="316"/>
                  </a:lnTo>
                  <a:lnTo>
                    <a:pt x="1156" y="316"/>
                  </a:lnTo>
                  <a:lnTo>
                    <a:pt x="1156" y="198"/>
                  </a:lnTo>
                  <a:lnTo>
                    <a:pt x="820" y="198"/>
                  </a:lnTo>
                  <a:lnTo>
                    <a:pt x="820" y="49"/>
                  </a:lnTo>
                  <a:lnTo>
                    <a:pt x="1186" y="49"/>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09" name="Freeform 109"/>
            <p:cNvSpPr>
              <a:spLocks/>
            </p:cNvSpPr>
            <p:nvPr/>
          </p:nvSpPr>
          <p:spPr bwMode="auto">
            <a:xfrm>
              <a:off x="3351213" y="1233488"/>
              <a:ext cx="595313" cy="746125"/>
            </a:xfrm>
            <a:custGeom>
              <a:avLst/>
              <a:gdLst>
                <a:gd name="T0" fmla="*/ 80 w 159"/>
                <a:gd name="T1" fmla="*/ 0 h 199"/>
                <a:gd name="T2" fmla="*/ 117 w 159"/>
                <a:gd name="T3" fmla="*/ 9 h 199"/>
                <a:gd name="T4" fmla="*/ 141 w 159"/>
                <a:gd name="T5" fmla="*/ 31 h 199"/>
                <a:gd name="T6" fmla="*/ 155 w 159"/>
                <a:gd name="T7" fmla="*/ 63 h 199"/>
                <a:gd name="T8" fmla="*/ 159 w 159"/>
                <a:gd name="T9" fmla="*/ 101 h 199"/>
                <a:gd name="T10" fmla="*/ 155 w 159"/>
                <a:gd name="T11" fmla="*/ 136 h 199"/>
                <a:gd name="T12" fmla="*/ 141 w 159"/>
                <a:gd name="T13" fmla="*/ 168 h 199"/>
                <a:gd name="T14" fmla="*/ 117 w 159"/>
                <a:gd name="T15" fmla="*/ 190 h 199"/>
                <a:gd name="T16" fmla="*/ 80 w 159"/>
                <a:gd name="T17" fmla="*/ 199 h 199"/>
                <a:gd name="T18" fmla="*/ 43 w 159"/>
                <a:gd name="T19" fmla="*/ 190 h 199"/>
                <a:gd name="T20" fmla="*/ 18 w 159"/>
                <a:gd name="T21" fmla="*/ 168 h 199"/>
                <a:gd name="T22" fmla="*/ 5 w 159"/>
                <a:gd name="T23" fmla="*/ 136 h 199"/>
                <a:gd name="T24" fmla="*/ 0 w 159"/>
                <a:gd name="T25" fmla="*/ 10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9" h="199">
                  <a:moveTo>
                    <a:pt x="80" y="0"/>
                  </a:moveTo>
                  <a:cubicBezTo>
                    <a:pt x="94" y="0"/>
                    <a:pt x="106" y="3"/>
                    <a:pt x="117" y="9"/>
                  </a:cubicBezTo>
                  <a:cubicBezTo>
                    <a:pt x="127" y="14"/>
                    <a:pt x="135" y="22"/>
                    <a:pt x="141" y="31"/>
                  </a:cubicBezTo>
                  <a:cubicBezTo>
                    <a:pt x="147" y="41"/>
                    <a:pt x="152" y="51"/>
                    <a:pt x="155" y="63"/>
                  </a:cubicBezTo>
                  <a:cubicBezTo>
                    <a:pt x="158" y="75"/>
                    <a:pt x="159" y="88"/>
                    <a:pt x="159" y="101"/>
                  </a:cubicBezTo>
                  <a:cubicBezTo>
                    <a:pt x="159" y="113"/>
                    <a:pt x="158" y="125"/>
                    <a:pt x="155" y="136"/>
                  </a:cubicBezTo>
                  <a:cubicBezTo>
                    <a:pt x="152" y="148"/>
                    <a:pt x="147" y="159"/>
                    <a:pt x="141" y="168"/>
                  </a:cubicBezTo>
                  <a:cubicBezTo>
                    <a:pt x="135" y="177"/>
                    <a:pt x="127" y="185"/>
                    <a:pt x="117" y="190"/>
                  </a:cubicBezTo>
                  <a:cubicBezTo>
                    <a:pt x="106" y="196"/>
                    <a:pt x="94" y="199"/>
                    <a:pt x="80" y="199"/>
                  </a:cubicBezTo>
                  <a:cubicBezTo>
                    <a:pt x="65" y="199"/>
                    <a:pt x="53" y="196"/>
                    <a:pt x="43" y="190"/>
                  </a:cubicBezTo>
                  <a:cubicBezTo>
                    <a:pt x="33" y="185"/>
                    <a:pt x="25" y="177"/>
                    <a:pt x="18" y="168"/>
                  </a:cubicBezTo>
                  <a:cubicBezTo>
                    <a:pt x="12" y="159"/>
                    <a:pt x="7" y="148"/>
                    <a:pt x="5" y="136"/>
                  </a:cubicBezTo>
                  <a:cubicBezTo>
                    <a:pt x="2" y="125"/>
                    <a:pt x="0" y="113"/>
                    <a:pt x="0" y="10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10" name="Line 110"/>
            <p:cNvSpPr>
              <a:spLocks noChangeShapeType="1"/>
            </p:cNvSpPr>
            <p:nvPr/>
          </p:nvSpPr>
          <p:spPr bwMode="auto">
            <a:xfrm flipV="1">
              <a:off x="6729413" y="3659188"/>
              <a:ext cx="142875" cy="47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11" name="Line 111"/>
            <p:cNvSpPr>
              <a:spLocks noChangeShapeType="1"/>
            </p:cNvSpPr>
            <p:nvPr/>
          </p:nvSpPr>
          <p:spPr bwMode="auto">
            <a:xfrm>
              <a:off x="2855913" y="4457701"/>
              <a:ext cx="44608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12" name="Line 112"/>
            <p:cNvSpPr>
              <a:spLocks noChangeShapeType="1"/>
            </p:cNvSpPr>
            <p:nvPr/>
          </p:nvSpPr>
          <p:spPr bwMode="auto">
            <a:xfrm>
              <a:off x="3865563" y="4938713"/>
              <a:ext cx="26193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13" name="Line 113"/>
            <p:cNvSpPr>
              <a:spLocks noChangeShapeType="1"/>
            </p:cNvSpPr>
            <p:nvPr/>
          </p:nvSpPr>
          <p:spPr bwMode="auto">
            <a:xfrm>
              <a:off x="3935413" y="5121276"/>
              <a:ext cx="19208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grpSp>
          <p:nvGrpSpPr>
            <p:cNvPr id="514" name="Group 513"/>
            <p:cNvGrpSpPr/>
            <p:nvPr/>
          </p:nvGrpSpPr>
          <p:grpSpPr>
            <a:xfrm>
              <a:off x="1291431" y="973932"/>
              <a:ext cx="7030245" cy="4937126"/>
              <a:chOff x="1291431" y="973932"/>
              <a:chExt cx="7030245" cy="4937126"/>
            </a:xfrm>
          </p:grpSpPr>
          <p:sp>
            <p:nvSpPr>
              <p:cNvPr id="515" name="Rectangle 514"/>
              <p:cNvSpPr>
                <a:spLocks noChangeArrowheads="1"/>
              </p:cNvSpPr>
              <p:nvPr/>
            </p:nvSpPr>
            <p:spPr bwMode="auto">
              <a:xfrm>
                <a:off x="3278188" y="153047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16" name="Rectangle 515"/>
              <p:cNvSpPr>
                <a:spLocks noChangeArrowheads="1"/>
              </p:cNvSpPr>
              <p:nvPr/>
            </p:nvSpPr>
            <p:spPr bwMode="auto">
              <a:xfrm>
                <a:off x="3609101" y="117857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17" name="Rectangle 516"/>
              <p:cNvSpPr>
                <a:spLocks noChangeArrowheads="1"/>
              </p:cNvSpPr>
              <p:nvPr/>
            </p:nvSpPr>
            <p:spPr bwMode="auto">
              <a:xfrm>
                <a:off x="4068554" y="153454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18" name="Rectangle 517"/>
              <p:cNvSpPr>
                <a:spLocks noChangeArrowheads="1"/>
              </p:cNvSpPr>
              <p:nvPr/>
            </p:nvSpPr>
            <p:spPr bwMode="auto">
              <a:xfrm>
                <a:off x="4181475" y="1129236"/>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19" name="Rectangle 518"/>
              <p:cNvSpPr>
                <a:spLocks noChangeArrowheads="1"/>
              </p:cNvSpPr>
              <p:nvPr/>
            </p:nvSpPr>
            <p:spPr bwMode="auto">
              <a:xfrm>
                <a:off x="5120481" y="1856483"/>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0" name="Rectangle 519"/>
              <p:cNvSpPr>
                <a:spLocks noChangeArrowheads="1"/>
              </p:cNvSpPr>
              <p:nvPr/>
            </p:nvSpPr>
            <p:spPr bwMode="auto">
              <a:xfrm>
                <a:off x="5252244" y="159623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1" name="Rectangle 520"/>
              <p:cNvSpPr>
                <a:spLocks noChangeArrowheads="1"/>
              </p:cNvSpPr>
              <p:nvPr/>
            </p:nvSpPr>
            <p:spPr bwMode="auto">
              <a:xfrm>
                <a:off x="6063609" y="1181101"/>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2" name="Rectangle 521"/>
              <p:cNvSpPr>
                <a:spLocks noChangeArrowheads="1"/>
              </p:cNvSpPr>
              <p:nvPr/>
            </p:nvSpPr>
            <p:spPr bwMode="auto">
              <a:xfrm>
                <a:off x="6364533" y="97393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3" name="Rectangle 522"/>
              <p:cNvSpPr>
                <a:spLocks noChangeArrowheads="1"/>
              </p:cNvSpPr>
              <p:nvPr/>
            </p:nvSpPr>
            <p:spPr bwMode="auto">
              <a:xfrm>
                <a:off x="1594644" y="2372519"/>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4" name="Rectangle 523"/>
              <p:cNvSpPr>
                <a:spLocks noChangeArrowheads="1"/>
              </p:cNvSpPr>
              <p:nvPr/>
            </p:nvSpPr>
            <p:spPr bwMode="auto">
              <a:xfrm>
                <a:off x="2419980" y="2884478"/>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5" name="Rectangle 524"/>
              <p:cNvSpPr>
                <a:spLocks noChangeArrowheads="1"/>
              </p:cNvSpPr>
              <p:nvPr/>
            </p:nvSpPr>
            <p:spPr bwMode="auto">
              <a:xfrm>
                <a:off x="2888032" y="3613150"/>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6" name="Rectangle 525"/>
              <p:cNvSpPr>
                <a:spLocks noChangeArrowheads="1"/>
              </p:cNvSpPr>
              <p:nvPr/>
            </p:nvSpPr>
            <p:spPr bwMode="auto">
              <a:xfrm>
                <a:off x="3111500" y="3752851"/>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7" name="Rectangle 526"/>
              <p:cNvSpPr>
                <a:spLocks noChangeArrowheads="1"/>
              </p:cNvSpPr>
              <p:nvPr/>
            </p:nvSpPr>
            <p:spPr bwMode="auto">
              <a:xfrm>
                <a:off x="3582194" y="302611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8" name="Rectangle 527"/>
              <p:cNvSpPr>
                <a:spLocks noChangeArrowheads="1"/>
              </p:cNvSpPr>
              <p:nvPr/>
            </p:nvSpPr>
            <p:spPr bwMode="auto">
              <a:xfrm>
                <a:off x="3829844" y="3265466"/>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29" name="Rectangle 528"/>
              <p:cNvSpPr>
                <a:spLocks noChangeArrowheads="1"/>
              </p:cNvSpPr>
              <p:nvPr/>
            </p:nvSpPr>
            <p:spPr bwMode="auto">
              <a:xfrm>
                <a:off x="4592638" y="284479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0" name="Rectangle 529"/>
              <p:cNvSpPr>
                <a:spLocks noChangeArrowheads="1"/>
              </p:cNvSpPr>
              <p:nvPr/>
            </p:nvSpPr>
            <p:spPr bwMode="auto">
              <a:xfrm>
                <a:off x="4850951" y="2619375"/>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1" name="Rectangle 530"/>
              <p:cNvSpPr>
                <a:spLocks noChangeArrowheads="1"/>
              </p:cNvSpPr>
              <p:nvPr/>
            </p:nvSpPr>
            <p:spPr bwMode="auto">
              <a:xfrm>
                <a:off x="5547519" y="3309145"/>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2" name="Rectangle 531"/>
              <p:cNvSpPr>
                <a:spLocks noChangeArrowheads="1"/>
              </p:cNvSpPr>
              <p:nvPr/>
            </p:nvSpPr>
            <p:spPr bwMode="auto">
              <a:xfrm>
                <a:off x="4922838" y="3475038"/>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3" name="Rectangle 532"/>
              <p:cNvSpPr>
                <a:spLocks noChangeArrowheads="1"/>
              </p:cNvSpPr>
              <p:nvPr/>
            </p:nvSpPr>
            <p:spPr bwMode="auto">
              <a:xfrm>
                <a:off x="6328764" y="329168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4" name="Rectangle 533"/>
              <p:cNvSpPr>
                <a:spLocks noChangeArrowheads="1"/>
              </p:cNvSpPr>
              <p:nvPr/>
            </p:nvSpPr>
            <p:spPr bwMode="auto">
              <a:xfrm>
                <a:off x="6414294" y="3497263"/>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5" name="Rectangle 534"/>
              <p:cNvSpPr>
                <a:spLocks noChangeArrowheads="1"/>
              </p:cNvSpPr>
              <p:nvPr/>
            </p:nvSpPr>
            <p:spPr bwMode="auto">
              <a:xfrm>
                <a:off x="7708900" y="3436938"/>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6" name="Rectangle 535"/>
              <p:cNvSpPr>
                <a:spLocks noChangeArrowheads="1"/>
              </p:cNvSpPr>
              <p:nvPr/>
            </p:nvSpPr>
            <p:spPr bwMode="auto">
              <a:xfrm>
                <a:off x="8029959" y="2581275"/>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7" name="Rectangle 536"/>
              <p:cNvSpPr>
                <a:spLocks noChangeArrowheads="1"/>
              </p:cNvSpPr>
              <p:nvPr/>
            </p:nvSpPr>
            <p:spPr bwMode="auto">
              <a:xfrm>
                <a:off x="7906544" y="3505201"/>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8" name="Rectangle 537"/>
              <p:cNvSpPr>
                <a:spLocks noChangeArrowheads="1"/>
              </p:cNvSpPr>
              <p:nvPr/>
            </p:nvSpPr>
            <p:spPr bwMode="auto">
              <a:xfrm>
                <a:off x="7381875" y="3112294"/>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39" name="Rectangle 538"/>
              <p:cNvSpPr>
                <a:spLocks noChangeArrowheads="1"/>
              </p:cNvSpPr>
              <p:nvPr/>
            </p:nvSpPr>
            <p:spPr bwMode="auto">
              <a:xfrm>
                <a:off x="8154988" y="2344646"/>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0" name="Rectangle 539"/>
              <p:cNvSpPr>
                <a:spLocks noChangeArrowheads="1"/>
              </p:cNvSpPr>
              <p:nvPr/>
            </p:nvSpPr>
            <p:spPr bwMode="auto">
              <a:xfrm>
                <a:off x="2054226" y="5269696"/>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1" name="Rectangle 540"/>
              <p:cNvSpPr>
                <a:spLocks noChangeArrowheads="1"/>
              </p:cNvSpPr>
              <p:nvPr/>
            </p:nvSpPr>
            <p:spPr bwMode="auto">
              <a:xfrm>
                <a:off x="2821781" y="5436384"/>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2" name="Rectangle 541"/>
              <p:cNvSpPr>
                <a:spLocks noChangeArrowheads="1"/>
              </p:cNvSpPr>
              <p:nvPr/>
            </p:nvSpPr>
            <p:spPr bwMode="auto">
              <a:xfrm>
                <a:off x="3129742" y="5223965"/>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3" name="Rectangle 542"/>
              <p:cNvSpPr>
                <a:spLocks noChangeArrowheads="1"/>
              </p:cNvSpPr>
              <p:nvPr/>
            </p:nvSpPr>
            <p:spPr bwMode="auto">
              <a:xfrm>
                <a:off x="3545832" y="4851204"/>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4" name="Rectangle 543"/>
              <p:cNvSpPr>
                <a:spLocks noChangeArrowheads="1"/>
              </p:cNvSpPr>
              <p:nvPr/>
            </p:nvSpPr>
            <p:spPr bwMode="auto">
              <a:xfrm>
                <a:off x="4044156" y="4167188"/>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5" name="Rectangle 544"/>
              <p:cNvSpPr>
                <a:spLocks noChangeArrowheads="1"/>
              </p:cNvSpPr>
              <p:nvPr/>
            </p:nvSpPr>
            <p:spPr bwMode="auto">
              <a:xfrm>
                <a:off x="4074319" y="4826794"/>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6" name="Rectangle 545"/>
              <p:cNvSpPr>
                <a:spLocks noChangeArrowheads="1"/>
              </p:cNvSpPr>
              <p:nvPr/>
            </p:nvSpPr>
            <p:spPr bwMode="auto">
              <a:xfrm>
                <a:off x="4922838" y="439023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7" name="Rectangle 546"/>
              <p:cNvSpPr>
                <a:spLocks noChangeArrowheads="1"/>
              </p:cNvSpPr>
              <p:nvPr/>
            </p:nvSpPr>
            <p:spPr bwMode="auto">
              <a:xfrm>
                <a:off x="6003925" y="505367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8" name="Rectangle 547"/>
              <p:cNvSpPr>
                <a:spLocks noChangeArrowheads="1"/>
              </p:cNvSpPr>
              <p:nvPr/>
            </p:nvSpPr>
            <p:spPr bwMode="auto">
              <a:xfrm>
                <a:off x="6270625" y="505367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49" name="Rectangle 548"/>
              <p:cNvSpPr>
                <a:spLocks noChangeArrowheads="1"/>
              </p:cNvSpPr>
              <p:nvPr/>
            </p:nvSpPr>
            <p:spPr bwMode="auto">
              <a:xfrm>
                <a:off x="7499350" y="5744370"/>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50" name="Rectangle 549"/>
              <p:cNvSpPr>
                <a:spLocks noChangeArrowheads="1"/>
              </p:cNvSpPr>
              <p:nvPr/>
            </p:nvSpPr>
            <p:spPr bwMode="auto">
              <a:xfrm>
                <a:off x="5153819" y="4333866"/>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51" name="Rectangle 550"/>
              <p:cNvSpPr>
                <a:spLocks noChangeArrowheads="1"/>
              </p:cNvSpPr>
              <p:nvPr/>
            </p:nvSpPr>
            <p:spPr bwMode="auto">
              <a:xfrm>
                <a:off x="7081044" y="4303714"/>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52" name="Rectangle 551"/>
              <p:cNvSpPr>
                <a:spLocks noChangeArrowheads="1"/>
              </p:cNvSpPr>
              <p:nvPr/>
            </p:nvSpPr>
            <p:spPr bwMode="auto">
              <a:xfrm>
                <a:off x="7050617" y="4660107"/>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53" name="Rectangle 552"/>
              <p:cNvSpPr>
                <a:spLocks noChangeArrowheads="1"/>
              </p:cNvSpPr>
              <p:nvPr/>
            </p:nvSpPr>
            <p:spPr bwMode="auto">
              <a:xfrm>
                <a:off x="7277272" y="4194970"/>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54" name="Rectangle 553"/>
              <p:cNvSpPr>
                <a:spLocks noChangeArrowheads="1"/>
              </p:cNvSpPr>
              <p:nvPr/>
            </p:nvSpPr>
            <p:spPr bwMode="auto">
              <a:xfrm>
                <a:off x="7742238" y="5249069"/>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55" name="Rectangle 554"/>
              <p:cNvSpPr>
                <a:spLocks noChangeArrowheads="1"/>
              </p:cNvSpPr>
              <p:nvPr/>
            </p:nvSpPr>
            <p:spPr bwMode="auto">
              <a:xfrm>
                <a:off x="2335212" y="5249069"/>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sp>
            <p:nvSpPr>
              <p:cNvPr id="556" name="Rectangle 555"/>
              <p:cNvSpPr>
                <a:spLocks noChangeArrowheads="1"/>
              </p:cNvSpPr>
              <p:nvPr/>
            </p:nvSpPr>
            <p:spPr bwMode="auto">
              <a:xfrm>
                <a:off x="1291431" y="2754312"/>
                <a:ext cx="166688" cy="166688"/>
              </a:xfrm>
              <a:prstGeom prst="rect">
                <a:avLst/>
              </a:prstGeom>
              <a:solidFill>
                <a:schemeClr val="tx2"/>
              </a:solidFill>
              <a:ln w="12700">
                <a:noFill/>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EE3E27"/>
                  </a:solidFill>
                </a:endParaRPr>
              </a:p>
            </p:txBody>
          </p:sp>
        </p:grpSp>
      </p:grpSp>
      <p:sp>
        <p:nvSpPr>
          <p:cNvPr id="557" name="Rechthoek 10"/>
          <p:cNvSpPr>
            <a:spLocks noChangeAspect="1"/>
          </p:cNvSpPr>
          <p:nvPr/>
        </p:nvSpPr>
        <p:spPr>
          <a:xfrm>
            <a:off x="337407" y="130056"/>
            <a:ext cx="2016000" cy="2016000"/>
          </a:xfrm>
          <a:prstGeom prst="rect">
            <a:avLst/>
          </a:prstGeom>
          <a:solidFill>
            <a:srgbClr val="197AA0"/>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sz="1400" dirty="0">
                <a:latin typeface="Calibri" panose="020F0502020204030204" pitchFamily="34" charset="0"/>
              </a:rPr>
              <a:t>We believe that opening up an integral market for flexibility enables smarter solutions for energy exchange to the benefit of all in the system.</a:t>
            </a:r>
          </a:p>
        </p:txBody>
      </p:sp>
      <p:sp>
        <p:nvSpPr>
          <p:cNvPr id="558" name="Rechthoek 10"/>
          <p:cNvSpPr>
            <a:spLocks noChangeAspect="1"/>
          </p:cNvSpPr>
          <p:nvPr/>
        </p:nvSpPr>
        <p:spPr>
          <a:xfrm>
            <a:off x="6129910" y="144119"/>
            <a:ext cx="2016000" cy="2015999"/>
          </a:xfrm>
          <a:prstGeom prst="rect">
            <a:avLst/>
          </a:prstGeom>
          <a:solidFill>
            <a:srgbClr val="197AA0"/>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sz="1400" dirty="0">
                <a:latin typeface="Calibri" panose="020F0502020204030204" pitchFamily="34" charset="0"/>
              </a:rPr>
              <a:t>Plus, we believe that in order to create such a market, we need to work together, along one common standard, joining forces across roles and boundaries. </a:t>
            </a:r>
          </a:p>
        </p:txBody>
      </p:sp>
      <p:grpSp>
        <p:nvGrpSpPr>
          <p:cNvPr id="5" name="Group 4"/>
          <p:cNvGrpSpPr/>
          <p:nvPr/>
        </p:nvGrpSpPr>
        <p:grpSpPr>
          <a:xfrm>
            <a:off x="582362" y="2043378"/>
            <a:ext cx="2241488" cy="1649270"/>
            <a:chOff x="582361" y="2043378"/>
            <a:chExt cx="2241488" cy="1649270"/>
          </a:xfrm>
        </p:grpSpPr>
        <p:cxnSp>
          <p:nvCxnSpPr>
            <p:cNvPr id="559" name="Straight Connector 558"/>
            <p:cNvCxnSpPr>
              <a:endCxn id="563" idx="2"/>
            </p:cNvCxnSpPr>
            <p:nvPr/>
          </p:nvCxnSpPr>
          <p:spPr>
            <a:xfrm flipV="1">
              <a:off x="683329" y="2245315"/>
              <a:ext cx="1" cy="1447333"/>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60" name="Line 5"/>
            <p:cNvSpPr>
              <a:spLocks noChangeShapeType="1"/>
            </p:cNvSpPr>
            <p:nvPr/>
          </p:nvSpPr>
          <p:spPr bwMode="auto">
            <a:xfrm rot="5400000" flipH="1">
              <a:off x="1753589" y="2609067"/>
              <a:ext cx="0" cy="2140521"/>
            </a:xfrm>
            <a:prstGeom prst="line">
              <a:avLst/>
            </a:prstGeom>
            <a:noFill/>
            <a:ln w="254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63" name="Rectangle 562"/>
            <p:cNvSpPr/>
            <p:nvPr/>
          </p:nvSpPr>
          <p:spPr>
            <a:xfrm>
              <a:off x="582361" y="2043378"/>
              <a:ext cx="201937" cy="2019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565" name="Rectangle 564"/>
          <p:cNvSpPr/>
          <p:nvPr/>
        </p:nvSpPr>
        <p:spPr>
          <a:xfrm>
            <a:off x="7019008" y="3509593"/>
            <a:ext cx="858110" cy="858110"/>
          </a:xfrm>
          <a:prstGeom prst="rect">
            <a:avLst/>
          </a:prstGeom>
          <a:solidFill>
            <a:srgbClr val="0099C6"/>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grpSp>
        <p:nvGrpSpPr>
          <p:cNvPr id="566" name="Group 565"/>
          <p:cNvGrpSpPr/>
          <p:nvPr/>
        </p:nvGrpSpPr>
        <p:grpSpPr>
          <a:xfrm>
            <a:off x="7133798" y="3631071"/>
            <a:ext cx="629848" cy="621904"/>
            <a:chOff x="3629026" y="4476750"/>
            <a:chExt cx="1887538" cy="1863726"/>
          </a:xfrm>
          <a:solidFill>
            <a:schemeClr val="bg2"/>
          </a:solidFill>
        </p:grpSpPr>
        <p:sp>
          <p:nvSpPr>
            <p:cNvPr id="567" name="Freeform 6"/>
            <p:cNvSpPr>
              <a:spLocks/>
            </p:cNvSpPr>
            <p:nvPr/>
          </p:nvSpPr>
          <p:spPr bwMode="auto">
            <a:xfrm>
              <a:off x="4435476" y="4476750"/>
              <a:ext cx="284163" cy="273050"/>
            </a:xfrm>
            <a:custGeom>
              <a:avLst/>
              <a:gdLst>
                <a:gd name="T0" fmla="*/ 89 w 179"/>
                <a:gd name="T1" fmla="*/ 0 h 172"/>
                <a:gd name="T2" fmla="*/ 117 w 179"/>
                <a:gd name="T3" fmla="*/ 57 h 172"/>
                <a:gd name="T4" fmla="*/ 179 w 179"/>
                <a:gd name="T5" fmla="*/ 65 h 172"/>
                <a:gd name="T6" fmla="*/ 134 w 179"/>
                <a:gd name="T7" fmla="*/ 109 h 172"/>
                <a:gd name="T8" fmla="*/ 145 w 179"/>
                <a:gd name="T9" fmla="*/ 172 h 172"/>
                <a:gd name="T10" fmla="*/ 89 w 179"/>
                <a:gd name="T11" fmla="*/ 142 h 172"/>
                <a:gd name="T12" fmla="*/ 34 w 179"/>
                <a:gd name="T13" fmla="*/ 172 h 172"/>
                <a:gd name="T14" fmla="*/ 45 w 179"/>
                <a:gd name="T15" fmla="*/ 109 h 172"/>
                <a:gd name="T16" fmla="*/ 0 w 179"/>
                <a:gd name="T17" fmla="*/ 65 h 172"/>
                <a:gd name="T18" fmla="*/ 61 w 179"/>
                <a:gd name="T19" fmla="*/ 57 h 172"/>
                <a:gd name="T20" fmla="*/ 89 w 179"/>
                <a:gd name="T21" fmla="*/ 0 h 172"/>
                <a:gd name="T22" fmla="*/ 89 w 179"/>
                <a:gd name="T23"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2">
                  <a:moveTo>
                    <a:pt x="89" y="0"/>
                  </a:moveTo>
                  <a:lnTo>
                    <a:pt x="117" y="57"/>
                  </a:lnTo>
                  <a:lnTo>
                    <a:pt x="179" y="65"/>
                  </a:lnTo>
                  <a:lnTo>
                    <a:pt x="134" y="109"/>
                  </a:lnTo>
                  <a:lnTo>
                    <a:pt x="145" y="172"/>
                  </a:lnTo>
                  <a:lnTo>
                    <a:pt x="89" y="142"/>
                  </a:lnTo>
                  <a:lnTo>
                    <a:pt x="34" y="172"/>
                  </a:lnTo>
                  <a:lnTo>
                    <a:pt x="45" y="109"/>
                  </a:lnTo>
                  <a:lnTo>
                    <a:pt x="0" y="65"/>
                  </a:lnTo>
                  <a:lnTo>
                    <a:pt x="61" y="57"/>
                  </a:lnTo>
                  <a:lnTo>
                    <a:pt x="89"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8" name="Freeform 7"/>
            <p:cNvSpPr>
              <a:spLocks/>
            </p:cNvSpPr>
            <p:nvPr/>
          </p:nvSpPr>
          <p:spPr bwMode="auto">
            <a:xfrm>
              <a:off x="4814888" y="4573588"/>
              <a:ext cx="284163" cy="271463"/>
            </a:xfrm>
            <a:custGeom>
              <a:avLst/>
              <a:gdLst>
                <a:gd name="T0" fmla="*/ 89 w 179"/>
                <a:gd name="T1" fmla="*/ 0 h 171"/>
                <a:gd name="T2" fmla="*/ 117 w 179"/>
                <a:gd name="T3" fmla="*/ 56 h 171"/>
                <a:gd name="T4" fmla="*/ 179 w 179"/>
                <a:gd name="T5" fmla="*/ 66 h 171"/>
                <a:gd name="T6" fmla="*/ 134 w 179"/>
                <a:gd name="T7" fmla="*/ 110 h 171"/>
                <a:gd name="T8" fmla="*/ 145 w 179"/>
                <a:gd name="T9" fmla="*/ 171 h 171"/>
                <a:gd name="T10" fmla="*/ 89 w 179"/>
                <a:gd name="T11" fmla="*/ 142 h 171"/>
                <a:gd name="T12" fmla="*/ 34 w 179"/>
                <a:gd name="T13" fmla="*/ 171 h 171"/>
                <a:gd name="T14" fmla="*/ 44 w 179"/>
                <a:gd name="T15" fmla="*/ 110 h 171"/>
                <a:gd name="T16" fmla="*/ 0 w 179"/>
                <a:gd name="T17" fmla="*/ 66 h 171"/>
                <a:gd name="T18" fmla="*/ 61 w 179"/>
                <a:gd name="T19" fmla="*/ 56 h 171"/>
                <a:gd name="T20" fmla="*/ 89 w 179"/>
                <a:gd name="T21" fmla="*/ 0 h 171"/>
                <a:gd name="T22" fmla="*/ 89 w 179"/>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1">
                  <a:moveTo>
                    <a:pt x="89" y="0"/>
                  </a:moveTo>
                  <a:lnTo>
                    <a:pt x="117" y="56"/>
                  </a:lnTo>
                  <a:lnTo>
                    <a:pt x="179" y="66"/>
                  </a:lnTo>
                  <a:lnTo>
                    <a:pt x="134" y="110"/>
                  </a:lnTo>
                  <a:lnTo>
                    <a:pt x="145" y="171"/>
                  </a:lnTo>
                  <a:lnTo>
                    <a:pt x="89" y="142"/>
                  </a:lnTo>
                  <a:lnTo>
                    <a:pt x="34" y="171"/>
                  </a:lnTo>
                  <a:lnTo>
                    <a:pt x="44" y="110"/>
                  </a:lnTo>
                  <a:lnTo>
                    <a:pt x="0" y="66"/>
                  </a:lnTo>
                  <a:lnTo>
                    <a:pt x="61" y="56"/>
                  </a:lnTo>
                  <a:lnTo>
                    <a:pt x="89"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9" name="Freeform 8"/>
            <p:cNvSpPr>
              <a:spLocks/>
            </p:cNvSpPr>
            <p:nvPr/>
          </p:nvSpPr>
          <p:spPr bwMode="auto">
            <a:xfrm>
              <a:off x="5095876" y="4826000"/>
              <a:ext cx="284163" cy="271463"/>
            </a:xfrm>
            <a:custGeom>
              <a:avLst/>
              <a:gdLst>
                <a:gd name="T0" fmla="*/ 90 w 179"/>
                <a:gd name="T1" fmla="*/ 0 h 171"/>
                <a:gd name="T2" fmla="*/ 117 w 179"/>
                <a:gd name="T3" fmla="*/ 57 h 171"/>
                <a:gd name="T4" fmla="*/ 179 w 179"/>
                <a:gd name="T5" fmla="*/ 66 h 171"/>
                <a:gd name="T6" fmla="*/ 134 w 179"/>
                <a:gd name="T7" fmla="*/ 110 h 171"/>
                <a:gd name="T8" fmla="*/ 145 w 179"/>
                <a:gd name="T9" fmla="*/ 171 h 171"/>
                <a:gd name="T10" fmla="*/ 90 w 179"/>
                <a:gd name="T11" fmla="*/ 142 h 171"/>
                <a:gd name="T12" fmla="*/ 34 w 179"/>
                <a:gd name="T13" fmla="*/ 171 h 171"/>
                <a:gd name="T14" fmla="*/ 45 w 179"/>
                <a:gd name="T15" fmla="*/ 110 h 171"/>
                <a:gd name="T16" fmla="*/ 0 w 179"/>
                <a:gd name="T17" fmla="*/ 66 h 171"/>
                <a:gd name="T18" fmla="*/ 61 w 179"/>
                <a:gd name="T19" fmla="*/ 57 h 171"/>
                <a:gd name="T20" fmla="*/ 90 w 179"/>
                <a:gd name="T21" fmla="*/ 0 h 171"/>
                <a:gd name="T22" fmla="*/ 90 w 179"/>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1">
                  <a:moveTo>
                    <a:pt x="90" y="0"/>
                  </a:moveTo>
                  <a:lnTo>
                    <a:pt x="117" y="57"/>
                  </a:lnTo>
                  <a:lnTo>
                    <a:pt x="179" y="66"/>
                  </a:lnTo>
                  <a:lnTo>
                    <a:pt x="134" y="110"/>
                  </a:lnTo>
                  <a:lnTo>
                    <a:pt x="145" y="171"/>
                  </a:lnTo>
                  <a:lnTo>
                    <a:pt x="90" y="142"/>
                  </a:lnTo>
                  <a:lnTo>
                    <a:pt x="34" y="171"/>
                  </a:lnTo>
                  <a:lnTo>
                    <a:pt x="45" y="110"/>
                  </a:lnTo>
                  <a:lnTo>
                    <a:pt x="0" y="66"/>
                  </a:lnTo>
                  <a:lnTo>
                    <a:pt x="61" y="57"/>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0" name="Freeform 9"/>
            <p:cNvSpPr>
              <a:spLocks/>
            </p:cNvSpPr>
            <p:nvPr/>
          </p:nvSpPr>
          <p:spPr bwMode="auto">
            <a:xfrm>
              <a:off x="5232401" y="5187950"/>
              <a:ext cx="284163" cy="269875"/>
            </a:xfrm>
            <a:custGeom>
              <a:avLst/>
              <a:gdLst>
                <a:gd name="T0" fmla="*/ 89 w 179"/>
                <a:gd name="T1" fmla="*/ 0 h 170"/>
                <a:gd name="T2" fmla="*/ 118 w 179"/>
                <a:gd name="T3" fmla="*/ 56 h 170"/>
                <a:gd name="T4" fmla="*/ 179 w 179"/>
                <a:gd name="T5" fmla="*/ 65 h 170"/>
                <a:gd name="T6" fmla="*/ 134 w 179"/>
                <a:gd name="T7" fmla="*/ 109 h 170"/>
                <a:gd name="T8" fmla="*/ 145 w 179"/>
                <a:gd name="T9" fmla="*/ 170 h 170"/>
                <a:gd name="T10" fmla="*/ 89 w 179"/>
                <a:gd name="T11" fmla="*/ 141 h 170"/>
                <a:gd name="T12" fmla="*/ 34 w 179"/>
                <a:gd name="T13" fmla="*/ 170 h 170"/>
                <a:gd name="T14" fmla="*/ 45 w 179"/>
                <a:gd name="T15" fmla="*/ 109 h 170"/>
                <a:gd name="T16" fmla="*/ 0 w 179"/>
                <a:gd name="T17" fmla="*/ 65 h 170"/>
                <a:gd name="T18" fmla="*/ 62 w 179"/>
                <a:gd name="T19" fmla="*/ 56 h 170"/>
                <a:gd name="T20" fmla="*/ 89 w 179"/>
                <a:gd name="T21" fmla="*/ 0 h 170"/>
                <a:gd name="T22" fmla="*/ 89 w 179"/>
                <a:gd name="T2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0">
                  <a:moveTo>
                    <a:pt x="89" y="0"/>
                  </a:moveTo>
                  <a:lnTo>
                    <a:pt x="118" y="56"/>
                  </a:lnTo>
                  <a:lnTo>
                    <a:pt x="179" y="65"/>
                  </a:lnTo>
                  <a:lnTo>
                    <a:pt x="134" y="109"/>
                  </a:lnTo>
                  <a:lnTo>
                    <a:pt x="145" y="170"/>
                  </a:lnTo>
                  <a:lnTo>
                    <a:pt x="89" y="141"/>
                  </a:lnTo>
                  <a:lnTo>
                    <a:pt x="34" y="170"/>
                  </a:lnTo>
                  <a:lnTo>
                    <a:pt x="45" y="109"/>
                  </a:lnTo>
                  <a:lnTo>
                    <a:pt x="0" y="65"/>
                  </a:lnTo>
                  <a:lnTo>
                    <a:pt x="62" y="56"/>
                  </a:lnTo>
                  <a:lnTo>
                    <a:pt x="89"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1" name="Freeform 10"/>
            <p:cNvSpPr>
              <a:spLocks/>
            </p:cNvSpPr>
            <p:nvPr/>
          </p:nvSpPr>
          <p:spPr bwMode="auto">
            <a:xfrm>
              <a:off x="5183188" y="5580063"/>
              <a:ext cx="284163" cy="271463"/>
            </a:xfrm>
            <a:custGeom>
              <a:avLst/>
              <a:gdLst>
                <a:gd name="T0" fmla="*/ 89 w 179"/>
                <a:gd name="T1" fmla="*/ 0 h 171"/>
                <a:gd name="T2" fmla="*/ 117 w 179"/>
                <a:gd name="T3" fmla="*/ 57 h 171"/>
                <a:gd name="T4" fmla="*/ 179 w 179"/>
                <a:gd name="T5" fmla="*/ 66 h 171"/>
                <a:gd name="T6" fmla="*/ 134 w 179"/>
                <a:gd name="T7" fmla="*/ 109 h 171"/>
                <a:gd name="T8" fmla="*/ 145 w 179"/>
                <a:gd name="T9" fmla="*/ 171 h 171"/>
                <a:gd name="T10" fmla="*/ 89 w 179"/>
                <a:gd name="T11" fmla="*/ 142 h 171"/>
                <a:gd name="T12" fmla="*/ 34 w 179"/>
                <a:gd name="T13" fmla="*/ 171 h 171"/>
                <a:gd name="T14" fmla="*/ 44 w 179"/>
                <a:gd name="T15" fmla="*/ 109 h 171"/>
                <a:gd name="T16" fmla="*/ 0 w 179"/>
                <a:gd name="T17" fmla="*/ 66 h 171"/>
                <a:gd name="T18" fmla="*/ 62 w 179"/>
                <a:gd name="T19" fmla="*/ 57 h 171"/>
                <a:gd name="T20" fmla="*/ 89 w 179"/>
                <a:gd name="T21" fmla="*/ 0 h 171"/>
                <a:gd name="T22" fmla="*/ 89 w 179"/>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1">
                  <a:moveTo>
                    <a:pt x="89" y="0"/>
                  </a:moveTo>
                  <a:lnTo>
                    <a:pt x="117" y="57"/>
                  </a:lnTo>
                  <a:lnTo>
                    <a:pt x="179" y="66"/>
                  </a:lnTo>
                  <a:lnTo>
                    <a:pt x="134" y="109"/>
                  </a:lnTo>
                  <a:lnTo>
                    <a:pt x="145" y="171"/>
                  </a:lnTo>
                  <a:lnTo>
                    <a:pt x="89" y="142"/>
                  </a:lnTo>
                  <a:lnTo>
                    <a:pt x="34" y="171"/>
                  </a:lnTo>
                  <a:lnTo>
                    <a:pt x="44" y="109"/>
                  </a:lnTo>
                  <a:lnTo>
                    <a:pt x="0" y="66"/>
                  </a:lnTo>
                  <a:lnTo>
                    <a:pt x="62" y="57"/>
                  </a:lnTo>
                  <a:lnTo>
                    <a:pt x="89"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2" name="Freeform 11"/>
            <p:cNvSpPr>
              <a:spLocks/>
            </p:cNvSpPr>
            <p:nvPr/>
          </p:nvSpPr>
          <p:spPr bwMode="auto">
            <a:xfrm>
              <a:off x="4964113" y="5891213"/>
              <a:ext cx="284163" cy="271463"/>
            </a:xfrm>
            <a:custGeom>
              <a:avLst/>
              <a:gdLst>
                <a:gd name="T0" fmla="*/ 90 w 179"/>
                <a:gd name="T1" fmla="*/ 0 h 171"/>
                <a:gd name="T2" fmla="*/ 118 w 179"/>
                <a:gd name="T3" fmla="*/ 56 h 171"/>
                <a:gd name="T4" fmla="*/ 179 w 179"/>
                <a:gd name="T5" fmla="*/ 66 h 171"/>
                <a:gd name="T6" fmla="*/ 135 w 179"/>
                <a:gd name="T7" fmla="*/ 109 h 171"/>
                <a:gd name="T8" fmla="*/ 145 w 179"/>
                <a:gd name="T9" fmla="*/ 171 h 171"/>
                <a:gd name="T10" fmla="*/ 90 w 179"/>
                <a:gd name="T11" fmla="*/ 142 h 171"/>
                <a:gd name="T12" fmla="*/ 34 w 179"/>
                <a:gd name="T13" fmla="*/ 171 h 171"/>
                <a:gd name="T14" fmla="*/ 45 w 179"/>
                <a:gd name="T15" fmla="*/ 109 h 171"/>
                <a:gd name="T16" fmla="*/ 0 w 179"/>
                <a:gd name="T17" fmla="*/ 66 h 171"/>
                <a:gd name="T18" fmla="*/ 62 w 179"/>
                <a:gd name="T19" fmla="*/ 56 h 171"/>
                <a:gd name="T20" fmla="*/ 90 w 179"/>
                <a:gd name="T21" fmla="*/ 0 h 171"/>
                <a:gd name="T22" fmla="*/ 90 w 179"/>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1">
                  <a:moveTo>
                    <a:pt x="90" y="0"/>
                  </a:moveTo>
                  <a:lnTo>
                    <a:pt x="118" y="56"/>
                  </a:lnTo>
                  <a:lnTo>
                    <a:pt x="179" y="66"/>
                  </a:lnTo>
                  <a:lnTo>
                    <a:pt x="135" y="109"/>
                  </a:lnTo>
                  <a:lnTo>
                    <a:pt x="145" y="171"/>
                  </a:lnTo>
                  <a:lnTo>
                    <a:pt x="90" y="142"/>
                  </a:lnTo>
                  <a:lnTo>
                    <a:pt x="34" y="171"/>
                  </a:lnTo>
                  <a:lnTo>
                    <a:pt x="45" y="109"/>
                  </a:lnTo>
                  <a:lnTo>
                    <a:pt x="0" y="66"/>
                  </a:lnTo>
                  <a:lnTo>
                    <a:pt x="62" y="56"/>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3" name="Freeform 12"/>
            <p:cNvSpPr>
              <a:spLocks/>
            </p:cNvSpPr>
            <p:nvPr/>
          </p:nvSpPr>
          <p:spPr bwMode="auto">
            <a:xfrm>
              <a:off x="4627563" y="6069013"/>
              <a:ext cx="284163" cy="271463"/>
            </a:xfrm>
            <a:custGeom>
              <a:avLst/>
              <a:gdLst>
                <a:gd name="T0" fmla="*/ 89 w 179"/>
                <a:gd name="T1" fmla="*/ 0 h 171"/>
                <a:gd name="T2" fmla="*/ 117 w 179"/>
                <a:gd name="T3" fmla="*/ 57 h 171"/>
                <a:gd name="T4" fmla="*/ 179 w 179"/>
                <a:gd name="T5" fmla="*/ 66 h 171"/>
                <a:gd name="T6" fmla="*/ 134 w 179"/>
                <a:gd name="T7" fmla="*/ 110 h 171"/>
                <a:gd name="T8" fmla="*/ 145 w 179"/>
                <a:gd name="T9" fmla="*/ 171 h 171"/>
                <a:gd name="T10" fmla="*/ 89 w 179"/>
                <a:gd name="T11" fmla="*/ 142 h 171"/>
                <a:gd name="T12" fmla="*/ 34 w 179"/>
                <a:gd name="T13" fmla="*/ 171 h 171"/>
                <a:gd name="T14" fmla="*/ 44 w 179"/>
                <a:gd name="T15" fmla="*/ 110 h 171"/>
                <a:gd name="T16" fmla="*/ 0 w 179"/>
                <a:gd name="T17" fmla="*/ 66 h 171"/>
                <a:gd name="T18" fmla="*/ 62 w 179"/>
                <a:gd name="T19" fmla="*/ 57 h 171"/>
                <a:gd name="T20" fmla="*/ 89 w 179"/>
                <a:gd name="T21" fmla="*/ 0 h 171"/>
                <a:gd name="T22" fmla="*/ 89 w 179"/>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1">
                  <a:moveTo>
                    <a:pt x="89" y="0"/>
                  </a:moveTo>
                  <a:lnTo>
                    <a:pt x="117" y="57"/>
                  </a:lnTo>
                  <a:lnTo>
                    <a:pt x="179" y="66"/>
                  </a:lnTo>
                  <a:lnTo>
                    <a:pt x="134" y="110"/>
                  </a:lnTo>
                  <a:lnTo>
                    <a:pt x="145" y="171"/>
                  </a:lnTo>
                  <a:lnTo>
                    <a:pt x="89" y="142"/>
                  </a:lnTo>
                  <a:lnTo>
                    <a:pt x="34" y="171"/>
                  </a:lnTo>
                  <a:lnTo>
                    <a:pt x="44" y="110"/>
                  </a:lnTo>
                  <a:lnTo>
                    <a:pt x="0" y="66"/>
                  </a:lnTo>
                  <a:lnTo>
                    <a:pt x="62" y="57"/>
                  </a:lnTo>
                  <a:lnTo>
                    <a:pt x="89"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4" name="Freeform 13"/>
            <p:cNvSpPr>
              <a:spLocks/>
            </p:cNvSpPr>
            <p:nvPr/>
          </p:nvSpPr>
          <p:spPr bwMode="auto">
            <a:xfrm>
              <a:off x="4229101" y="6067425"/>
              <a:ext cx="284163" cy="271463"/>
            </a:xfrm>
            <a:custGeom>
              <a:avLst/>
              <a:gdLst>
                <a:gd name="T0" fmla="*/ 90 w 179"/>
                <a:gd name="T1" fmla="*/ 0 h 171"/>
                <a:gd name="T2" fmla="*/ 118 w 179"/>
                <a:gd name="T3" fmla="*/ 57 h 171"/>
                <a:gd name="T4" fmla="*/ 179 w 179"/>
                <a:gd name="T5" fmla="*/ 66 h 171"/>
                <a:gd name="T6" fmla="*/ 135 w 179"/>
                <a:gd name="T7" fmla="*/ 110 h 171"/>
                <a:gd name="T8" fmla="*/ 145 w 179"/>
                <a:gd name="T9" fmla="*/ 171 h 171"/>
                <a:gd name="T10" fmla="*/ 90 w 179"/>
                <a:gd name="T11" fmla="*/ 142 h 171"/>
                <a:gd name="T12" fmla="*/ 34 w 179"/>
                <a:gd name="T13" fmla="*/ 171 h 171"/>
                <a:gd name="T14" fmla="*/ 45 w 179"/>
                <a:gd name="T15" fmla="*/ 110 h 171"/>
                <a:gd name="T16" fmla="*/ 0 w 179"/>
                <a:gd name="T17" fmla="*/ 66 h 171"/>
                <a:gd name="T18" fmla="*/ 63 w 179"/>
                <a:gd name="T19" fmla="*/ 57 h 171"/>
                <a:gd name="T20" fmla="*/ 90 w 179"/>
                <a:gd name="T21" fmla="*/ 0 h 171"/>
                <a:gd name="T22" fmla="*/ 90 w 179"/>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1">
                  <a:moveTo>
                    <a:pt x="90" y="0"/>
                  </a:moveTo>
                  <a:lnTo>
                    <a:pt x="118" y="57"/>
                  </a:lnTo>
                  <a:lnTo>
                    <a:pt x="179" y="66"/>
                  </a:lnTo>
                  <a:lnTo>
                    <a:pt x="135" y="110"/>
                  </a:lnTo>
                  <a:lnTo>
                    <a:pt x="145" y="171"/>
                  </a:lnTo>
                  <a:lnTo>
                    <a:pt x="90" y="142"/>
                  </a:lnTo>
                  <a:lnTo>
                    <a:pt x="34" y="171"/>
                  </a:lnTo>
                  <a:lnTo>
                    <a:pt x="45" y="110"/>
                  </a:lnTo>
                  <a:lnTo>
                    <a:pt x="0" y="66"/>
                  </a:lnTo>
                  <a:lnTo>
                    <a:pt x="63" y="57"/>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14"/>
            <p:cNvSpPr>
              <a:spLocks/>
            </p:cNvSpPr>
            <p:nvPr/>
          </p:nvSpPr>
          <p:spPr bwMode="auto">
            <a:xfrm>
              <a:off x="3892551" y="5888038"/>
              <a:ext cx="285750" cy="271463"/>
            </a:xfrm>
            <a:custGeom>
              <a:avLst/>
              <a:gdLst>
                <a:gd name="T0" fmla="*/ 90 w 180"/>
                <a:gd name="T1" fmla="*/ 0 h 171"/>
                <a:gd name="T2" fmla="*/ 118 w 180"/>
                <a:gd name="T3" fmla="*/ 57 h 171"/>
                <a:gd name="T4" fmla="*/ 180 w 180"/>
                <a:gd name="T5" fmla="*/ 66 h 171"/>
                <a:gd name="T6" fmla="*/ 135 w 180"/>
                <a:gd name="T7" fmla="*/ 110 h 171"/>
                <a:gd name="T8" fmla="*/ 145 w 180"/>
                <a:gd name="T9" fmla="*/ 171 h 171"/>
                <a:gd name="T10" fmla="*/ 90 w 180"/>
                <a:gd name="T11" fmla="*/ 142 h 171"/>
                <a:gd name="T12" fmla="*/ 35 w 180"/>
                <a:gd name="T13" fmla="*/ 171 h 171"/>
                <a:gd name="T14" fmla="*/ 45 w 180"/>
                <a:gd name="T15" fmla="*/ 110 h 171"/>
                <a:gd name="T16" fmla="*/ 0 w 180"/>
                <a:gd name="T17" fmla="*/ 66 h 171"/>
                <a:gd name="T18" fmla="*/ 62 w 180"/>
                <a:gd name="T19" fmla="*/ 57 h 171"/>
                <a:gd name="T20" fmla="*/ 90 w 180"/>
                <a:gd name="T21" fmla="*/ 0 h 171"/>
                <a:gd name="T22" fmla="*/ 90 w 180"/>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0" h="171">
                  <a:moveTo>
                    <a:pt x="90" y="0"/>
                  </a:moveTo>
                  <a:lnTo>
                    <a:pt x="118" y="57"/>
                  </a:lnTo>
                  <a:lnTo>
                    <a:pt x="180" y="66"/>
                  </a:lnTo>
                  <a:lnTo>
                    <a:pt x="135" y="110"/>
                  </a:lnTo>
                  <a:lnTo>
                    <a:pt x="145" y="171"/>
                  </a:lnTo>
                  <a:lnTo>
                    <a:pt x="90" y="142"/>
                  </a:lnTo>
                  <a:lnTo>
                    <a:pt x="35" y="171"/>
                  </a:lnTo>
                  <a:lnTo>
                    <a:pt x="45" y="110"/>
                  </a:lnTo>
                  <a:lnTo>
                    <a:pt x="0" y="66"/>
                  </a:lnTo>
                  <a:lnTo>
                    <a:pt x="62" y="57"/>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6" name="Freeform 15"/>
            <p:cNvSpPr>
              <a:spLocks/>
            </p:cNvSpPr>
            <p:nvPr/>
          </p:nvSpPr>
          <p:spPr bwMode="auto">
            <a:xfrm>
              <a:off x="3676651" y="5575300"/>
              <a:ext cx="285750" cy="271463"/>
            </a:xfrm>
            <a:custGeom>
              <a:avLst/>
              <a:gdLst>
                <a:gd name="T0" fmla="*/ 90 w 180"/>
                <a:gd name="T1" fmla="*/ 0 h 171"/>
                <a:gd name="T2" fmla="*/ 117 w 180"/>
                <a:gd name="T3" fmla="*/ 57 h 171"/>
                <a:gd name="T4" fmla="*/ 180 w 180"/>
                <a:gd name="T5" fmla="*/ 66 h 171"/>
                <a:gd name="T6" fmla="*/ 135 w 180"/>
                <a:gd name="T7" fmla="*/ 110 h 171"/>
                <a:gd name="T8" fmla="*/ 145 w 180"/>
                <a:gd name="T9" fmla="*/ 171 h 171"/>
                <a:gd name="T10" fmla="*/ 90 w 180"/>
                <a:gd name="T11" fmla="*/ 143 h 171"/>
                <a:gd name="T12" fmla="*/ 34 w 180"/>
                <a:gd name="T13" fmla="*/ 171 h 171"/>
                <a:gd name="T14" fmla="*/ 45 w 180"/>
                <a:gd name="T15" fmla="*/ 110 h 171"/>
                <a:gd name="T16" fmla="*/ 0 w 180"/>
                <a:gd name="T17" fmla="*/ 66 h 171"/>
                <a:gd name="T18" fmla="*/ 62 w 180"/>
                <a:gd name="T19" fmla="*/ 57 h 171"/>
                <a:gd name="T20" fmla="*/ 90 w 180"/>
                <a:gd name="T21" fmla="*/ 0 h 171"/>
                <a:gd name="T22" fmla="*/ 90 w 180"/>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0" h="171">
                  <a:moveTo>
                    <a:pt x="90" y="0"/>
                  </a:moveTo>
                  <a:lnTo>
                    <a:pt x="117" y="57"/>
                  </a:lnTo>
                  <a:lnTo>
                    <a:pt x="180" y="66"/>
                  </a:lnTo>
                  <a:lnTo>
                    <a:pt x="135" y="110"/>
                  </a:lnTo>
                  <a:lnTo>
                    <a:pt x="145" y="171"/>
                  </a:lnTo>
                  <a:lnTo>
                    <a:pt x="90" y="143"/>
                  </a:lnTo>
                  <a:lnTo>
                    <a:pt x="34" y="171"/>
                  </a:lnTo>
                  <a:lnTo>
                    <a:pt x="45" y="110"/>
                  </a:lnTo>
                  <a:lnTo>
                    <a:pt x="0" y="66"/>
                  </a:lnTo>
                  <a:lnTo>
                    <a:pt x="62" y="57"/>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7" name="Freeform 16"/>
            <p:cNvSpPr>
              <a:spLocks/>
            </p:cNvSpPr>
            <p:nvPr/>
          </p:nvSpPr>
          <p:spPr bwMode="auto">
            <a:xfrm>
              <a:off x="3629026" y="5183188"/>
              <a:ext cx="284163" cy="269875"/>
            </a:xfrm>
            <a:custGeom>
              <a:avLst/>
              <a:gdLst>
                <a:gd name="T0" fmla="*/ 90 w 179"/>
                <a:gd name="T1" fmla="*/ 0 h 170"/>
                <a:gd name="T2" fmla="*/ 118 w 179"/>
                <a:gd name="T3" fmla="*/ 56 h 170"/>
                <a:gd name="T4" fmla="*/ 179 w 179"/>
                <a:gd name="T5" fmla="*/ 65 h 170"/>
                <a:gd name="T6" fmla="*/ 135 w 179"/>
                <a:gd name="T7" fmla="*/ 109 h 170"/>
                <a:gd name="T8" fmla="*/ 145 w 179"/>
                <a:gd name="T9" fmla="*/ 170 h 170"/>
                <a:gd name="T10" fmla="*/ 90 w 179"/>
                <a:gd name="T11" fmla="*/ 142 h 170"/>
                <a:gd name="T12" fmla="*/ 34 w 179"/>
                <a:gd name="T13" fmla="*/ 170 h 170"/>
                <a:gd name="T14" fmla="*/ 45 w 179"/>
                <a:gd name="T15" fmla="*/ 109 h 170"/>
                <a:gd name="T16" fmla="*/ 0 w 179"/>
                <a:gd name="T17" fmla="*/ 65 h 170"/>
                <a:gd name="T18" fmla="*/ 62 w 179"/>
                <a:gd name="T19" fmla="*/ 56 h 170"/>
                <a:gd name="T20" fmla="*/ 90 w 179"/>
                <a:gd name="T21" fmla="*/ 0 h 170"/>
                <a:gd name="T22" fmla="*/ 90 w 179"/>
                <a:gd name="T2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0">
                  <a:moveTo>
                    <a:pt x="90" y="0"/>
                  </a:moveTo>
                  <a:lnTo>
                    <a:pt x="118" y="56"/>
                  </a:lnTo>
                  <a:lnTo>
                    <a:pt x="179" y="65"/>
                  </a:lnTo>
                  <a:lnTo>
                    <a:pt x="135" y="109"/>
                  </a:lnTo>
                  <a:lnTo>
                    <a:pt x="145" y="170"/>
                  </a:lnTo>
                  <a:lnTo>
                    <a:pt x="90" y="142"/>
                  </a:lnTo>
                  <a:lnTo>
                    <a:pt x="34" y="170"/>
                  </a:lnTo>
                  <a:lnTo>
                    <a:pt x="45" y="109"/>
                  </a:lnTo>
                  <a:lnTo>
                    <a:pt x="0" y="65"/>
                  </a:lnTo>
                  <a:lnTo>
                    <a:pt x="62" y="56"/>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8" name="Freeform 17"/>
            <p:cNvSpPr>
              <a:spLocks/>
            </p:cNvSpPr>
            <p:nvPr/>
          </p:nvSpPr>
          <p:spPr bwMode="auto">
            <a:xfrm>
              <a:off x="3768726" y="4822825"/>
              <a:ext cx="284163" cy="271463"/>
            </a:xfrm>
            <a:custGeom>
              <a:avLst/>
              <a:gdLst>
                <a:gd name="T0" fmla="*/ 89 w 179"/>
                <a:gd name="T1" fmla="*/ 0 h 171"/>
                <a:gd name="T2" fmla="*/ 117 w 179"/>
                <a:gd name="T3" fmla="*/ 56 h 171"/>
                <a:gd name="T4" fmla="*/ 179 w 179"/>
                <a:gd name="T5" fmla="*/ 66 h 171"/>
                <a:gd name="T6" fmla="*/ 134 w 179"/>
                <a:gd name="T7" fmla="*/ 110 h 171"/>
                <a:gd name="T8" fmla="*/ 145 w 179"/>
                <a:gd name="T9" fmla="*/ 171 h 171"/>
                <a:gd name="T10" fmla="*/ 89 w 179"/>
                <a:gd name="T11" fmla="*/ 142 h 171"/>
                <a:gd name="T12" fmla="*/ 34 w 179"/>
                <a:gd name="T13" fmla="*/ 171 h 171"/>
                <a:gd name="T14" fmla="*/ 45 w 179"/>
                <a:gd name="T15" fmla="*/ 110 h 171"/>
                <a:gd name="T16" fmla="*/ 0 w 179"/>
                <a:gd name="T17" fmla="*/ 66 h 171"/>
                <a:gd name="T18" fmla="*/ 61 w 179"/>
                <a:gd name="T19" fmla="*/ 56 h 171"/>
                <a:gd name="T20" fmla="*/ 89 w 179"/>
                <a:gd name="T21" fmla="*/ 0 h 171"/>
                <a:gd name="T22" fmla="*/ 89 w 179"/>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1">
                  <a:moveTo>
                    <a:pt x="89" y="0"/>
                  </a:moveTo>
                  <a:lnTo>
                    <a:pt x="117" y="56"/>
                  </a:lnTo>
                  <a:lnTo>
                    <a:pt x="179" y="66"/>
                  </a:lnTo>
                  <a:lnTo>
                    <a:pt x="134" y="110"/>
                  </a:lnTo>
                  <a:lnTo>
                    <a:pt x="145" y="171"/>
                  </a:lnTo>
                  <a:lnTo>
                    <a:pt x="89" y="142"/>
                  </a:lnTo>
                  <a:lnTo>
                    <a:pt x="34" y="171"/>
                  </a:lnTo>
                  <a:lnTo>
                    <a:pt x="45" y="110"/>
                  </a:lnTo>
                  <a:lnTo>
                    <a:pt x="0" y="66"/>
                  </a:lnTo>
                  <a:lnTo>
                    <a:pt x="61" y="56"/>
                  </a:lnTo>
                  <a:lnTo>
                    <a:pt x="89"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Freeform 18"/>
            <p:cNvSpPr>
              <a:spLocks/>
            </p:cNvSpPr>
            <p:nvPr/>
          </p:nvSpPr>
          <p:spPr bwMode="auto">
            <a:xfrm>
              <a:off x="4051301" y="4572000"/>
              <a:ext cx="284163" cy="271463"/>
            </a:xfrm>
            <a:custGeom>
              <a:avLst/>
              <a:gdLst>
                <a:gd name="T0" fmla="*/ 90 w 179"/>
                <a:gd name="T1" fmla="*/ 0 h 171"/>
                <a:gd name="T2" fmla="*/ 117 w 179"/>
                <a:gd name="T3" fmla="*/ 56 h 171"/>
                <a:gd name="T4" fmla="*/ 179 w 179"/>
                <a:gd name="T5" fmla="*/ 65 h 171"/>
                <a:gd name="T6" fmla="*/ 135 w 179"/>
                <a:gd name="T7" fmla="*/ 109 h 171"/>
                <a:gd name="T8" fmla="*/ 145 w 179"/>
                <a:gd name="T9" fmla="*/ 171 h 171"/>
                <a:gd name="T10" fmla="*/ 90 w 179"/>
                <a:gd name="T11" fmla="*/ 142 h 171"/>
                <a:gd name="T12" fmla="*/ 34 w 179"/>
                <a:gd name="T13" fmla="*/ 171 h 171"/>
                <a:gd name="T14" fmla="*/ 45 w 179"/>
                <a:gd name="T15" fmla="*/ 109 h 171"/>
                <a:gd name="T16" fmla="*/ 0 w 179"/>
                <a:gd name="T17" fmla="*/ 65 h 171"/>
                <a:gd name="T18" fmla="*/ 61 w 179"/>
                <a:gd name="T19" fmla="*/ 56 h 171"/>
                <a:gd name="T20" fmla="*/ 90 w 179"/>
                <a:gd name="T21" fmla="*/ 0 h 171"/>
                <a:gd name="T22" fmla="*/ 90 w 179"/>
                <a:gd name="T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1">
                  <a:moveTo>
                    <a:pt x="90" y="0"/>
                  </a:moveTo>
                  <a:lnTo>
                    <a:pt x="117" y="56"/>
                  </a:lnTo>
                  <a:lnTo>
                    <a:pt x="179" y="65"/>
                  </a:lnTo>
                  <a:lnTo>
                    <a:pt x="135" y="109"/>
                  </a:lnTo>
                  <a:lnTo>
                    <a:pt x="145" y="171"/>
                  </a:lnTo>
                  <a:lnTo>
                    <a:pt x="90" y="142"/>
                  </a:lnTo>
                  <a:lnTo>
                    <a:pt x="34" y="171"/>
                  </a:lnTo>
                  <a:lnTo>
                    <a:pt x="45" y="109"/>
                  </a:lnTo>
                  <a:lnTo>
                    <a:pt x="0" y="65"/>
                  </a:lnTo>
                  <a:lnTo>
                    <a:pt x="61" y="56"/>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Freeform 19"/>
            <p:cNvSpPr>
              <a:spLocks/>
            </p:cNvSpPr>
            <p:nvPr/>
          </p:nvSpPr>
          <p:spPr bwMode="auto">
            <a:xfrm>
              <a:off x="4430713" y="4476750"/>
              <a:ext cx="284163" cy="273050"/>
            </a:xfrm>
            <a:custGeom>
              <a:avLst/>
              <a:gdLst>
                <a:gd name="T0" fmla="*/ 90 w 179"/>
                <a:gd name="T1" fmla="*/ 0 h 172"/>
                <a:gd name="T2" fmla="*/ 117 w 179"/>
                <a:gd name="T3" fmla="*/ 57 h 172"/>
                <a:gd name="T4" fmla="*/ 179 w 179"/>
                <a:gd name="T5" fmla="*/ 65 h 172"/>
                <a:gd name="T6" fmla="*/ 134 w 179"/>
                <a:gd name="T7" fmla="*/ 109 h 172"/>
                <a:gd name="T8" fmla="*/ 145 w 179"/>
                <a:gd name="T9" fmla="*/ 172 h 172"/>
                <a:gd name="T10" fmla="*/ 90 w 179"/>
                <a:gd name="T11" fmla="*/ 142 h 172"/>
                <a:gd name="T12" fmla="*/ 34 w 179"/>
                <a:gd name="T13" fmla="*/ 172 h 172"/>
                <a:gd name="T14" fmla="*/ 45 w 179"/>
                <a:gd name="T15" fmla="*/ 109 h 172"/>
                <a:gd name="T16" fmla="*/ 0 w 179"/>
                <a:gd name="T17" fmla="*/ 65 h 172"/>
                <a:gd name="T18" fmla="*/ 62 w 179"/>
                <a:gd name="T19" fmla="*/ 57 h 172"/>
                <a:gd name="T20" fmla="*/ 90 w 179"/>
                <a:gd name="T21" fmla="*/ 0 h 172"/>
                <a:gd name="T22" fmla="*/ 90 w 179"/>
                <a:gd name="T23"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2">
                  <a:moveTo>
                    <a:pt x="90" y="0"/>
                  </a:moveTo>
                  <a:lnTo>
                    <a:pt x="117" y="57"/>
                  </a:lnTo>
                  <a:lnTo>
                    <a:pt x="179" y="65"/>
                  </a:lnTo>
                  <a:lnTo>
                    <a:pt x="134" y="109"/>
                  </a:lnTo>
                  <a:lnTo>
                    <a:pt x="145" y="172"/>
                  </a:lnTo>
                  <a:lnTo>
                    <a:pt x="90" y="142"/>
                  </a:lnTo>
                  <a:lnTo>
                    <a:pt x="34" y="172"/>
                  </a:lnTo>
                  <a:lnTo>
                    <a:pt x="45" y="109"/>
                  </a:lnTo>
                  <a:lnTo>
                    <a:pt x="0" y="65"/>
                  </a:lnTo>
                  <a:lnTo>
                    <a:pt x="62" y="57"/>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p:cNvGrpSpPr/>
          <p:nvPr/>
        </p:nvGrpSpPr>
        <p:grpSpPr>
          <a:xfrm>
            <a:off x="6509391" y="2060228"/>
            <a:ext cx="1367728" cy="1509474"/>
            <a:chOff x="6509390" y="2060228"/>
            <a:chExt cx="1367728" cy="1509474"/>
          </a:xfrm>
        </p:grpSpPr>
        <p:sp>
          <p:nvSpPr>
            <p:cNvPr id="561" name="Line 5"/>
            <p:cNvSpPr>
              <a:spLocks noChangeShapeType="1"/>
            </p:cNvSpPr>
            <p:nvPr/>
          </p:nvSpPr>
          <p:spPr bwMode="auto">
            <a:xfrm rot="5400000" flipH="1">
              <a:off x="7142770" y="1941690"/>
              <a:ext cx="0" cy="1266760"/>
            </a:xfrm>
            <a:prstGeom prst="line">
              <a:avLst/>
            </a:prstGeom>
            <a:noFill/>
            <a:ln w="254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cxnSp>
          <p:nvCxnSpPr>
            <p:cNvPr id="562" name="Straight Connector 561"/>
            <p:cNvCxnSpPr>
              <a:stCxn id="581" idx="0"/>
            </p:cNvCxnSpPr>
            <p:nvPr/>
          </p:nvCxnSpPr>
          <p:spPr>
            <a:xfrm flipH="1" flipV="1">
              <a:off x="7776150" y="2060229"/>
              <a:ext cx="5625" cy="1408504"/>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64" name="Rectangle 563"/>
            <p:cNvSpPr/>
            <p:nvPr/>
          </p:nvSpPr>
          <p:spPr>
            <a:xfrm>
              <a:off x="7675181" y="2060228"/>
              <a:ext cx="201937" cy="2019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81" name="Rectangle 580"/>
            <p:cNvSpPr/>
            <p:nvPr/>
          </p:nvSpPr>
          <p:spPr>
            <a:xfrm>
              <a:off x="7731290" y="3468733"/>
              <a:ext cx="100969" cy="10096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39626045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382587" y="1706340"/>
            <a:ext cx="99060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grpSp>
        <p:nvGrpSpPr>
          <p:cNvPr id="6" name="Group 5"/>
          <p:cNvGrpSpPr/>
          <p:nvPr/>
        </p:nvGrpSpPr>
        <p:grpSpPr>
          <a:xfrm rot="5400000">
            <a:off x="1863738" y="1532760"/>
            <a:ext cx="337043" cy="331029"/>
            <a:chOff x="729433" y="3050414"/>
            <a:chExt cx="360000" cy="360000"/>
          </a:xfrm>
        </p:grpSpPr>
        <p:sp>
          <p:nvSpPr>
            <p:cNvPr id="21" name="Rechthoek 11"/>
            <p:cNvSpPr>
              <a:spLocks/>
            </p:cNvSpPr>
            <p:nvPr/>
          </p:nvSpPr>
          <p:spPr>
            <a:xfrm>
              <a:off x="729433" y="3050414"/>
              <a:ext cx="360000" cy="3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22" name="Isosceles Triangle 1026"/>
            <p:cNvSpPr/>
            <p:nvPr/>
          </p:nvSpPr>
          <p:spPr>
            <a:xfrm>
              <a:off x="834926" y="3191893"/>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Calibri" pitchFamily="34" charset="0"/>
              </a:endParaRPr>
            </a:p>
          </p:txBody>
        </p:sp>
      </p:grpSp>
      <p:sp>
        <p:nvSpPr>
          <p:cNvPr id="7" name="Rechthoek 10"/>
          <p:cNvSpPr>
            <a:spLocks noChangeAspect="1"/>
          </p:cNvSpPr>
          <p:nvPr/>
        </p:nvSpPr>
        <p:spPr>
          <a:xfrm>
            <a:off x="2334716" y="1152874"/>
            <a:ext cx="1087195" cy="110694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sz="1600" dirty="0">
                <a:latin typeface="Calibri" pitchFamily="34" charset="0"/>
              </a:rPr>
              <a:t>Plan</a:t>
            </a:r>
          </a:p>
        </p:txBody>
      </p:sp>
      <p:sp>
        <p:nvSpPr>
          <p:cNvPr id="8" name="Rechthoek 10"/>
          <p:cNvSpPr>
            <a:spLocks noChangeAspect="1"/>
          </p:cNvSpPr>
          <p:nvPr/>
        </p:nvSpPr>
        <p:spPr>
          <a:xfrm>
            <a:off x="4026824" y="1152874"/>
            <a:ext cx="1087195" cy="110694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sz="1600" dirty="0">
                <a:latin typeface="Calibri" pitchFamily="34" charset="0"/>
              </a:rPr>
              <a:t>Validate</a:t>
            </a:r>
          </a:p>
        </p:txBody>
      </p:sp>
      <p:sp>
        <p:nvSpPr>
          <p:cNvPr id="9" name="Rechthoek 10"/>
          <p:cNvSpPr>
            <a:spLocks noChangeAspect="1"/>
          </p:cNvSpPr>
          <p:nvPr/>
        </p:nvSpPr>
        <p:spPr>
          <a:xfrm>
            <a:off x="7411037" y="1152874"/>
            <a:ext cx="1087195" cy="110694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sz="1600" dirty="0">
                <a:latin typeface="Calibri" pitchFamily="34" charset="0"/>
              </a:rPr>
              <a:t>Settle</a:t>
            </a:r>
          </a:p>
        </p:txBody>
      </p:sp>
      <p:sp>
        <p:nvSpPr>
          <p:cNvPr id="10" name="Rechthoek 10"/>
          <p:cNvSpPr>
            <a:spLocks noChangeAspect="1"/>
          </p:cNvSpPr>
          <p:nvPr/>
        </p:nvSpPr>
        <p:spPr>
          <a:xfrm>
            <a:off x="5718932" y="1152874"/>
            <a:ext cx="1087195" cy="110694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sz="1600" dirty="0">
                <a:latin typeface="Calibri" pitchFamily="34" charset="0"/>
              </a:rPr>
              <a:t>Operate</a:t>
            </a:r>
          </a:p>
        </p:txBody>
      </p:sp>
      <p:grpSp>
        <p:nvGrpSpPr>
          <p:cNvPr id="11" name="Group 10"/>
          <p:cNvGrpSpPr/>
          <p:nvPr/>
        </p:nvGrpSpPr>
        <p:grpSpPr>
          <a:xfrm rot="5400000">
            <a:off x="3555846" y="1532760"/>
            <a:ext cx="337043" cy="331029"/>
            <a:chOff x="729433" y="3030326"/>
            <a:chExt cx="360000" cy="360000"/>
          </a:xfrm>
        </p:grpSpPr>
        <p:sp>
          <p:nvSpPr>
            <p:cNvPr id="19" name="Rechthoek 11"/>
            <p:cNvSpPr>
              <a:spLocks/>
            </p:cNvSpPr>
            <p:nvPr/>
          </p:nvSpPr>
          <p:spPr>
            <a:xfrm>
              <a:off x="729433" y="3030326"/>
              <a:ext cx="360000" cy="3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20" name="Isosceles Triangle 1026"/>
            <p:cNvSpPr/>
            <p:nvPr/>
          </p:nvSpPr>
          <p:spPr>
            <a:xfrm>
              <a:off x="834926" y="3171804"/>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Calibri" pitchFamily="34" charset="0"/>
              </a:endParaRPr>
            </a:p>
          </p:txBody>
        </p:sp>
      </p:grpSp>
      <p:grpSp>
        <p:nvGrpSpPr>
          <p:cNvPr id="12" name="Group 11"/>
          <p:cNvGrpSpPr/>
          <p:nvPr/>
        </p:nvGrpSpPr>
        <p:grpSpPr>
          <a:xfrm rot="5400000">
            <a:off x="5247954" y="1532760"/>
            <a:ext cx="337043" cy="331029"/>
            <a:chOff x="729433" y="3020282"/>
            <a:chExt cx="360000" cy="360000"/>
          </a:xfrm>
        </p:grpSpPr>
        <p:sp>
          <p:nvSpPr>
            <p:cNvPr id="17" name="Rechthoek 11"/>
            <p:cNvSpPr>
              <a:spLocks/>
            </p:cNvSpPr>
            <p:nvPr/>
          </p:nvSpPr>
          <p:spPr>
            <a:xfrm>
              <a:off x="729433" y="3020282"/>
              <a:ext cx="360000" cy="3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18" name="Isosceles Triangle 1026"/>
            <p:cNvSpPr/>
            <p:nvPr/>
          </p:nvSpPr>
          <p:spPr>
            <a:xfrm>
              <a:off x="834926" y="3161760"/>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Calibri" pitchFamily="34" charset="0"/>
              </a:endParaRPr>
            </a:p>
          </p:txBody>
        </p:sp>
      </p:grpSp>
      <p:grpSp>
        <p:nvGrpSpPr>
          <p:cNvPr id="13" name="Group 12"/>
          <p:cNvGrpSpPr/>
          <p:nvPr/>
        </p:nvGrpSpPr>
        <p:grpSpPr>
          <a:xfrm rot="5400000">
            <a:off x="6940062" y="1532760"/>
            <a:ext cx="337043" cy="331029"/>
            <a:chOff x="729433" y="3010238"/>
            <a:chExt cx="360000" cy="360000"/>
          </a:xfrm>
        </p:grpSpPr>
        <p:sp>
          <p:nvSpPr>
            <p:cNvPr id="15" name="Rechthoek 11"/>
            <p:cNvSpPr>
              <a:spLocks/>
            </p:cNvSpPr>
            <p:nvPr/>
          </p:nvSpPr>
          <p:spPr>
            <a:xfrm>
              <a:off x="729433" y="3010238"/>
              <a:ext cx="360000" cy="3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16" name="Isosceles Triangle 1026"/>
            <p:cNvSpPr/>
            <p:nvPr/>
          </p:nvSpPr>
          <p:spPr>
            <a:xfrm>
              <a:off x="834926" y="3151716"/>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Calibri" pitchFamily="34" charset="0"/>
              </a:endParaRPr>
            </a:p>
          </p:txBody>
        </p:sp>
      </p:grpSp>
      <p:sp>
        <p:nvSpPr>
          <p:cNvPr id="14" name="Rechthoek 10"/>
          <p:cNvSpPr>
            <a:spLocks noChangeAspect="1"/>
          </p:cNvSpPr>
          <p:nvPr/>
        </p:nvSpPr>
        <p:spPr>
          <a:xfrm>
            <a:off x="642608" y="1152874"/>
            <a:ext cx="1087195" cy="110694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sz="1600" dirty="0">
                <a:latin typeface="Calibri" pitchFamily="34" charset="0"/>
              </a:rPr>
              <a:t>Contract</a:t>
            </a:r>
          </a:p>
        </p:txBody>
      </p:sp>
      <p:cxnSp>
        <p:nvCxnSpPr>
          <p:cNvPr id="23" name="Straight Connector 22"/>
          <p:cNvCxnSpPr/>
          <p:nvPr/>
        </p:nvCxnSpPr>
        <p:spPr>
          <a:xfrm>
            <a:off x="-384631" y="3304474"/>
            <a:ext cx="99060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grpSp>
        <p:nvGrpSpPr>
          <p:cNvPr id="56" name="Group 55"/>
          <p:cNvGrpSpPr/>
          <p:nvPr/>
        </p:nvGrpSpPr>
        <p:grpSpPr>
          <a:xfrm>
            <a:off x="626038" y="2423902"/>
            <a:ext cx="7884677" cy="1639650"/>
            <a:chOff x="626031" y="2423902"/>
            <a:chExt cx="7884677" cy="1639650"/>
          </a:xfrm>
        </p:grpSpPr>
        <p:sp>
          <p:nvSpPr>
            <p:cNvPr id="57" name="Rectangle 56"/>
            <p:cNvSpPr/>
            <p:nvPr/>
          </p:nvSpPr>
          <p:spPr>
            <a:xfrm>
              <a:off x="655083" y="2579890"/>
              <a:ext cx="7855625" cy="148366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nvGrpSpPr>
            <p:cNvPr id="58" name="Group 57"/>
            <p:cNvGrpSpPr/>
            <p:nvPr/>
          </p:nvGrpSpPr>
          <p:grpSpPr>
            <a:xfrm>
              <a:off x="4385095" y="2423902"/>
              <a:ext cx="360000" cy="180001"/>
              <a:chOff x="729433" y="3210324"/>
              <a:chExt cx="360000" cy="180001"/>
            </a:xfrm>
          </p:grpSpPr>
          <p:sp>
            <p:nvSpPr>
              <p:cNvPr id="82" name="Rechthoek 11"/>
              <p:cNvSpPr>
                <a:spLocks/>
              </p:cNvSpPr>
              <p:nvPr/>
            </p:nvSpPr>
            <p:spPr>
              <a:xfrm>
                <a:off x="729433" y="3210324"/>
                <a:ext cx="360000" cy="18000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83" name="Isosceles Triangle 1026"/>
              <p:cNvSpPr/>
              <p:nvPr/>
            </p:nvSpPr>
            <p:spPr>
              <a:xfrm>
                <a:off x="834926" y="3261802"/>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Calibri" pitchFamily="34" charset="0"/>
                </a:endParaRPr>
              </a:p>
            </p:txBody>
          </p:sp>
        </p:grpSp>
        <p:sp>
          <p:nvSpPr>
            <p:cNvPr id="59" name="Rechthoek 10"/>
            <p:cNvSpPr>
              <a:spLocks noChangeAspect="1"/>
            </p:cNvSpPr>
            <p:nvPr/>
          </p:nvSpPr>
          <p:spPr>
            <a:xfrm>
              <a:off x="4021498" y="3617248"/>
              <a:ext cx="1087195" cy="362212"/>
            </a:xfrm>
            <a:prstGeom prst="rect">
              <a:avLst/>
            </a:prstGeom>
            <a:solidFill>
              <a:srgbClr val="E951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solidFill>
                    <a:schemeClr val="bg1"/>
                  </a:solidFill>
                  <a:latin typeface="Calibri" pitchFamily="34" charset="0"/>
                </a:rPr>
                <a:t>Supply</a:t>
              </a:r>
              <a:endParaRPr lang="en-GB" dirty="0">
                <a:solidFill>
                  <a:schemeClr val="bg1"/>
                </a:solidFill>
                <a:latin typeface="Calibri" pitchFamily="34" charset="0"/>
              </a:endParaRPr>
            </a:p>
          </p:txBody>
        </p:sp>
        <p:sp>
          <p:nvSpPr>
            <p:cNvPr id="60" name="Rechthoek 10"/>
            <p:cNvSpPr>
              <a:spLocks noChangeAspect="1"/>
            </p:cNvSpPr>
            <p:nvPr/>
          </p:nvSpPr>
          <p:spPr>
            <a:xfrm>
              <a:off x="6627926" y="3617248"/>
              <a:ext cx="1492896" cy="362212"/>
            </a:xfrm>
            <a:prstGeom prst="rect">
              <a:avLst/>
            </a:prstGeom>
            <a:solidFill>
              <a:srgbClr val="E951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solidFill>
                    <a:schemeClr val="bg1"/>
                  </a:solidFill>
                  <a:latin typeface="Calibri" pitchFamily="34" charset="0"/>
                </a:rPr>
                <a:t>Flexibility</a:t>
              </a:r>
              <a:endParaRPr lang="en-GB" dirty="0">
                <a:solidFill>
                  <a:schemeClr val="bg1"/>
                </a:solidFill>
                <a:latin typeface="Calibri" pitchFamily="34" charset="0"/>
              </a:endParaRPr>
            </a:p>
          </p:txBody>
        </p:sp>
        <p:sp>
          <p:nvSpPr>
            <p:cNvPr id="61" name="Rechthoek 10"/>
            <p:cNvSpPr>
              <a:spLocks noChangeAspect="1"/>
            </p:cNvSpPr>
            <p:nvPr/>
          </p:nvSpPr>
          <p:spPr>
            <a:xfrm>
              <a:off x="1039389" y="3617248"/>
              <a:ext cx="1224696" cy="362212"/>
            </a:xfrm>
            <a:prstGeom prst="rect">
              <a:avLst/>
            </a:prstGeom>
            <a:solidFill>
              <a:srgbClr val="E951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solidFill>
                    <a:schemeClr val="bg1"/>
                  </a:solidFill>
                  <a:latin typeface="Calibri" pitchFamily="34" charset="0"/>
                </a:rPr>
                <a:t>Demand</a:t>
              </a:r>
              <a:endParaRPr lang="en-GB" dirty="0">
                <a:solidFill>
                  <a:schemeClr val="bg1"/>
                </a:solidFill>
                <a:latin typeface="Calibri" pitchFamily="34" charset="0"/>
              </a:endParaRPr>
            </a:p>
          </p:txBody>
        </p:sp>
        <p:sp>
          <p:nvSpPr>
            <p:cNvPr id="62" name="Rectangle 61"/>
            <p:cNvSpPr/>
            <p:nvPr/>
          </p:nvSpPr>
          <p:spPr>
            <a:xfrm>
              <a:off x="626031" y="2615569"/>
              <a:ext cx="7820025" cy="369332"/>
            </a:xfrm>
            <a:prstGeom prst="rect">
              <a:avLst/>
            </a:prstGeom>
          </p:spPr>
          <p:txBody>
            <a:bodyPr wrap="square">
              <a:spAutoFit/>
            </a:bodyPr>
            <a:lstStyle/>
            <a:p>
              <a:pPr algn="ctr"/>
              <a:endParaRPr lang="en-GB" dirty="0">
                <a:solidFill>
                  <a:schemeClr val="bg1"/>
                </a:solidFill>
                <a:latin typeface="Calibri" pitchFamily="34" charset="0"/>
              </a:endParaRPr>
            </a:p>
          </p:txBody>
        </p:sp>
        <p:sp>
          <p:nvSpPr>
            <p:cNvPr id="63" name="Oval 62"/>
            <p:cNvSpPr/>
            <p:nvPr/>
          </p:nvSpPr>
          <p:spPr>
            <a:xfrm>
              <a:off x="4267557" y="3053497"/>
              <a:ext cx="595076" cy="5950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dirty="0">
                <a:solidFill>
                  <a:srgbClr val="E95120"/>
                </a:solidFill>
                <a:latin typeface="Calibri" pitchFamily="34" charset="0"/>
              </a:endParaRPr>
            </a:p>
          </p:txBody>
        </p:sp>
        <p:sp>
          <p:nvSpPr>
            <p:cNvPr id="64" name="Oval 63"/>
            <p:cNvSpPr/>
            <p:nvPr/>
          </p:nvSpPr>
          <p:spPr>
            <a:xfrm>
              <a:off x="7064658" y="3053497"/>
              <a:ext cx="595076" cy="5950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dirty="0">
                <a:solidFill>
                  <a:srgbClr val="E95120"/>
                </a:solidFill>
                <a:latin typeface="Calibri" pitchFamily="34" charset="0"/>
              </a:endParaRPr>
            </a:p>
          </p:txBody>
        </p:sp>
        <p:grpSp>
          <p:nvGrpSpPr>
            <p:cNvPr id="65" name="Group 64"/>
            <p:cNvGrpSpPr/>
            <p:nvPr/>
          </p:nvGrpSpPr>
          <p:grpSpPr>
            <a:xfrm>
              <a:off x="4429088" y="3148334"/>
              <a:ext cx="268823" cy="390161"/>
              <a:chOff x="3622676" y="-4397375"/>
              <a:chExt cx="2774950" cy="4027487"/>
            </a:xfrm>
            <a:solidFill>
              <a:srgbClr val="FF5415"/>
            </a:solidFill>
          </p:grpSpPr>
          <p:sp>
            <p:nvSpPr>
              <p:cNvPr id="76" name="Freeform 7"/>
              <p:cNvSpPr>
                <a:spLocks noEditPoints="1"/>
              </p:cNvSpPr>
              <p:nvPr/>
            </p:nvSpPr>
            <p:spPr bwMode="auto">
              <a:xfrm>
                <a:off x="4403726" y="-1955800"/>
                <a:ext cx="1390650" cy="1147762"/>
              </a:xfrm>
              <a:custGeom>
                <a:avLst/>
                <a:gdLst>
                  <a:gd name="T0" fmla="*/ 455 w 546"/>
                  <a:gd name="T1" fmla="*/ 47 h 450"/>
                  <a:gd name="T2" fmla="*/ 196 w 546"/>
                  <a:gd name="T3" fmla="*/ 311 h 450"/>
                  <a:gd name="T4" fmla="*/ 110 w 546"/>
                  <a:gd name="T5" fmla="*/ 189 h 450"/>
                  <a:gd name="T6" fmla="*/ 21 w 546"/>
                  <a:gd name="T7" fmla="*/ 261 h 450"/>
                  <a:gd name="T8" fmla="*/ 149 w 546"/>
                  <a:gd name="T9" fmla="*/ 429 h 450"/>
                  <a:gd name="T10" fmla="*/ 218 w 546"/>
                  <a:gd name="T11" fmla="*/ 411 h 450"/>
                  <a:gd name="T12" fmla="*/ 495 w 546"/>
                  <a:gd name="T13" fmla="*/ 122 h 450"/>
                  <a:gd name="T14" fmla="*/ 455 w 546"/>
                  <a:gd name="T15" fmla="*/ 47 h 450"/>
                  <a:gd name="T16" fmla="*/ 455 w 546"/>
                  <a:gd name="T17" fmla="*/ 47 h 450"/>
                  <a:gd name="T18" fmla="*/ 455 w 546"/>
                  <a:gd name="T19" fmla="*/ 47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450">
                    <a:moveTo>
                      <a:pt x="455" y="47"/>
                    </a:moveTo>
                    <a:cubicBezTo>
                      <a:pt x="357" y="124"/>
                      <a:pt x="277" y="218"/>
                      <a:pt x="196" y="311"/>
                    </a:cubicBezTo>
                    <a:cubicBezTo>
                      <a:pt x="162" y="274"/>
                      <a:pt x="131" y="236"/>
                      <a:pt x="110" y="189"/>
                    </a:cubicBezTo>
                    <a:cubicBezTo>
                      <a:pt x="87" y="135"/>
                      <a:pt x="0" y="213"/>
                      <a:pt x="21" y="261"/>
                    </a:cubicBezTo>
                    <a:cubicBezTo>
                      <a:pt x="49" y="326"/>
                      <a:pt x="100" y="379"/>
                      <a:pt x="149" y="429"/>
                    </a:cubicBezTo>
                    <a:cubicBezTo>
                      <a:pt x="169" y="450"/>
                      <a:pt x="204" y="427"/>
                      <a:pt x="218" y="411"/>
                    </a:cubicBezTo>
                    <a:cubicBezTo>
                      <a:pt x="306" y="310"/>
                      <a:pt x="389" y="205"/>
                      <a:pt x="495" y="122"/>
                    </a:cubicBezTo>
                    <a:cubicBezTo>
                      <a:pt x="546" y="82"/>
                      <a:pt x="515" y="0"/>
                      <a:pt x="455" y="47"/>
                    </a:cubicBezTo>
                    <a:close/>
                    <a:moveTo>
                      <a:pt x="455" y="47"/>
                    </a:moveTo>
                    <a:cubicBezTo>
                      <a:pt x="455" y="47"/>
                      <a:pt x="455" y="47"/>
                      <a:pt x="455"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77" name="Freeform 8"/>
              <p:cNvSpPr>
                <a:spLocks noEditPoints="1"/>
              </p:cNvSpPr>
              <p:nvPr/>
            </p:nvSpPr>
            <p:spPr bwMode="auto">
              <a:xfrm>
                <a:off x="3622676" y="-4397375"/>
                <a:ext cx="2774950" cy="4027487"/>
              </a:xfrm>
              <a:custGeom>
                <a:avLst/>
                <a:gdLst>
                  <a:gd name="T0" fmla="*/ 1042 w 1089"/>
                  <a:gd name="T1" fmla="*/ 113 h 1579"/>
                  <a:gd name="T2" fmla="*/ 798 w 1089"/>
                  <a:gd name="T3" fmla="*/ 113 h 1579"/>
                  <a:gd name="T4" fmla="*/ 729 w 1089"/>
                  <a:gd name="T5" fmla="*/ 82 h 1579"/>
                  <a:gd name="T6" fmla="*/ 635 w 1089"/>
                  <a:gd name="T7" fmla="*/ 82 h 1579"/>
                  <a:gd name="T8" fmla="*/ 635 w 1089"/>
                  <a:gd name="T9" fmla="*/ 66 h 1579"/>
                  <a:gd name="T10" fmla="*/ 545 w 1089"/>
                  <a:gd name="T11" fmla="*/ 0 h 1579"/>
                  <a:gd name="T12" fmla="*/ 454 w 1089"/>
                  <a:gd name="T13" fmla="*/ 66 h 1579"/>
                  <a:gd name="T14" fmla="*/ 454 w 1089"/>
                  <a:gd name="T15" fmla="*/ 82 h 1579"/>
                  <a:gd name="T16" fmla="*/ 360 w 1089"/>
                  <a:gd name="T17" fmla="*/ 82 h 1579"/>
                  <a:gd name="T18" fmla="*/ 291 w 1089"/>
                  <a:gd name="T19" fmla="*/ 113 h 1579"/>
                  <a:gd name="T20" fmla="*/ 47 w 1089"/>
                  <a:gd name="T21" fmla="*/ 113 h 1579"/>
                  <a:gd name="T22" fmla="*/ 0 w 1089"/>
                  <a:gd name="T23" fmla="*/ 160 h 1579"/>
                  <a:gd name="T24" fmla="*/ 0 w 1089"/>
                  <a:gd name="T25" fmla="*/ 1532 h 1579"/>
                  <a:gd name="T26" fmla="*/ 47 w 1089"/>
                  <a:gd name="T27" fmla="*/ 1579 h 1579"/>
                  <a:gd name="T28" fmla="*/ 1042 w 1089"/>
                  <a:gd name="T29" fmla="*/ 1579 h 1579"/>
                  <a:gd name="T30" fmla="*/ 1089 w 1089"/>
                  <a:gd name="T31" fmla="*/ 1532 h 1579"/>
                  <a:gd name="T32" fmla="*/ 1089 w 1089"/>
                  <a:gd name="T33" fmla="*/ 160 h 1579"/>
                  <a:gd name="T34" fmla="*/ 1042 w 1089"/>
                  <a:gd name="T35" fmla="*/ 113 h 1579"/>
                  <a:gd name="T36" fmla="*/ 995 w 1089"/>
                  <a:gd name="T37" fmla="*/ 1485 h 1579"/>
                  <a:gd name="T38" fmla="*/ 93 w 1089"/>
                  <a:gd name="T39" fmla="*/ 1485 h 1579"/>
                  <a:gd name="T40" fmla="*/ 93 w 1089"/>
                  <a:gd name="T41" fmla="*/ 206 h 1579"/>
                  <a:gd name="T42" fmla="*/ 229 w 1089"/>
                  <a:gd name="T43" fmla="*/ 206 h 1579"/>
                  <a:gd name="T44" fmla="*/ 229 w 1089"/>
                  <a:gd name="T45" fmla="*/ 206 h 1579"/>
                  <a:gd name="T46" fmla="*/ 272 w 1089"/>
                  <a:gd name="T47" fmla="*/ 206 h 1579"/>
                  <a:gd name="T48" fmla="*/ 360 w 1089"/>
                  <a:gd name="T49" fmla="*/ 270 h 1579"/>
                  <a:gd name="T50" fmla="*/ 729 w 1089"/>
                  <a:gd name="T51" fmla="*/ 270 h 1579"/>
                  <a:gd name="T52" fmla="*/ 817 w 1089"/>
                  <a:gd name="T53" fmla="*/ 206 h 1579"/>
                  <a:gd name="T54" fmla="*/ 860 w 1089"/>
                  <a:gd name="T55" fmla="*/ 206 h 1579"/>
                  <a:gd name="T56" fmla="*/ 860 w 1089"/>
                  <a:gd name="T57" fmla="*/ 206 h 1579"/>
                  <a:gd name="T58" fmla="*/ 995 w 1089"/>
                  <a:gd name="T59" fmla="*/ 206 h 1579"/>
                  <a:gd name="T60" fmla="*/ 995 w 1089"/>
                  <a:gd name="T61" fmla="*/ 1485 h 1579"/>
                  <a:gd name="T62" fmla="*/ 995 w 1089"/>
                  <a:gd name="T63" fmla="*/ 1485 h 1579"/>
                  <a:gd name="T64" fmla="*/ 995 w 1089"/>
                  <a:gd name="T65" fmla="*/ 1485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9" h="1579">
                    <a:moveTo>
                      <a:pt x="1042" y="113"/>
                    </a:moveTo>
                    <a:cubicBezTo>
                      <a:pt x="798" y="113"/>
                      <a:pt x="798" y="113"/>
                      <a:pt x="798" y="113"/>
                    </a:cubicBezTo>
                    <a:cubicBezTo>
                      <a:pt x="781" y="94"/>
                      <a:pt x="756" y="82"/>
                      <a:pt x="729" y="82"/>
                    </a:cubicBezTo>
                    <a:cubicBezTo>
                      <a:pt x="635" y="82"/>
                      <a:pt x="635" y="82"/>
                      <a:pt x="635" y="82"/>
                    </a:cubicBezTo>
                    <a:cubicBezTo>
                      <a:pt x="635" y="66"/>
                      <a:pt x="635" y="66"/>
                      <a:pt x="635" y="66"/>
                    </a:cubicBezTo>
                    <a:cubicBezTo>
                      <a:pt x="635" y="31"/>
                      <a:pt x="588" y="0"/>
                      <a:pt x="545" y="0"/>
                    </a:cubicBezTo>
                    <a:cubicBezTo>
                      <a:pt x="501" y="0"/>
                      <a:pt x="454" y="31"/>
                      <a:pt x="454" y="66"/>
                    </a:cubicBezTo>
                    <a:cubicBezTo>
                      <a:pt x="454" y="82"/>
                      <a:pt x="454" y="82"/>
                      <a:pt x="454" y="82"/>
                    </a:cubicBezTo>
                    <a:cubicBezTo>
                      <a:pt x="360" y="82"/>
                      <a:pt x="360" y="82"/>
                      <a:pt x="360" y="82"/>
                    </a:cubicBezTo>
                    <a:cubicBezTo>
                      <a:pt x="333" y="82"/>
                      <a:pt x="308" y="94"/>
                      <a:pt x="291" y="113"/>
                    </a:cubicBezTo>
                    <a:cubicBezTo>
                      <a:pt x="47" y="113"/>
                      <a:pt x="47" y="113"/>
                      <a:pt x="47" y="113"/>
                    </a:cubicBezTo>
                    <a:cubicBezTo>
                      <a:pt x="21" y="113"/>
                      <a:pt x="0" y="134"/>
                      <a:pt x="0" y="160"/>
                    </a:cubicBezTo>
                    <a:cubicBezTo>
                      <a:pt x="0" y="1532"/>
                      <a:pt x="0" y="1532"/>
                      <a:pt x="0" y="1532"/>
                    </a:cubicBezTo>
                    <a:cubicBezTo>
                      <a:pt x="0" y="1558"/>
                      <a:pt x="21" y="1579"/>
                      <a:pt x="47" y="1579"/>
                    </a:cubicBezTo>
                    <a:cubicBezTo>
                      <a:pt x="1042" y="1579"/>
                      <a:pt x="1042" y="1579"/>
                      <a:pt x="1042" y="1579"/>
                    </a:cubicBezTo>
                    <a:cubicBezTo>
                      <a:pt x="1068" y="1579"/>
                      <a:pt x="1089" y="1558"/>
                      <a:pt x="1089" y="1532"/>
                    </a:cubicBezTo>
                    <a:cubicBezTo>
                      <a:pt x="1089" y="160"/>
                      <a:pt x="1089" y="160"/>
                      <a:pt x="1089" y="160"/>
                    </a:cubicBezTo>
                    <a:cubicBezTo>
                      <a:pt x="1089" y="134"/>
                      <a:pt x="1068" y="113"/>
                      <a:pt x="1042" y="113"/>
                    </a:cubicBezTo>
                    <a:close/>
                    <a:moveTo>
                      <a:pt x="995" y="1485"/>
                    </a:moveTo>
                    <a:cubicBezTo>
                      <a:pt x="93" y="1485"/>
                      <a:pt x="93" y="1485"/>
                      <a:pt x="93" y="1485"/>
                    </a:cubicBezTo>
                    <a:cubicBezTo>
                      <a:pt x="93" y="206"/>
                      <a:pt x="93" y="206"/>
                      <a:pt x="93" y="206"/>
                    </a:cubicBezTo>
                    <a:cubicBezTo>
                      <a:pt x="229" y="206"/>
                      <a:pt x="229" y="206"/>
                      <a:pt x="229" y="206"/>
                    </a:cubicBezTo>
                    <a:cubicBezTo>
                      <a:pt x="229" y="206"/>
                      <a:pt x="229" y="206"/>
                      <a:pt x="229" y="206"/>
                    </a:cubicBezTo>
                    <a:cubicBezTo>
                      <a:pt x="272" y="206"/>
                      <a:pt x="272" y="206"/>
                      <a:pt x="272" y="206"/>
                    </a:cubicBezTo>
                    <a:cubicBezTo>
                      <a:pt x="285" y="243"/>
                      <a:pt x="319" y="270"/>
                      <a:pt x="360" y="270"/>
                    </a:cubicBezTo>
                    <a:cubicBezTo>
                      <a:pt x="729" y="270"/>
                      <a:pt x="729" y="270"/>
                      <a:pt x="729" y="270"/>
                    </a:cubicBezTo>
                    <a:cubicBezTo>
                      <a:pt x="770" y="270"/>
                      <a:pt x="804" y="243"/>
                      <a:pt x="817" y="206"/>
                    </a:cubicBezTo>
                    <a:cubicBezTo>
                      <a:pt x="860" y="206"/>
                      <a:pt x="860" y="206"/>
                      <a:pt x="860" y="206"/>
                    </a:cubicBezTo>
                    <a:cubicBezTo>
                      <a:pt x="860" y="206"/>
                      <a:pt x="860" y="206"/>
                      <a:pt x="860" y="206"/>
                    </a:cubicBezTo>
                    <a:cubicBezTo>
                      <a:pt x="995" y="206"/>
                      <a:pt x="995" y="206"/>
                      <a:pt x="995" y="206"/>
                    </a:cubicBezTo>
                    <a:lnTo>
                      <a:pt x="995" y="1485"/>
                    </a:lnTo>
                    <a:close/>
                    <a:moveTo>
                      <a:pt x="995" y="1485"/>
                    </a:moveTo>
                    <a:cubicBezTo>
                      <a:pt x="995" y="1485"/>
                      <a:pt x="995" y="1485"/>
                      <a:pt x="995" y="1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78" name="Rectangle 9"/>
              <p:cNvSpPr>
                <a:spLocks noChangeArrowheads="1"/>
              </p:cNvSpPr>
              <p:nvPr/>
            </p:nvSpPr>
            <p:spPr bwMode="auto">
              <a:xfrm>
                <a:off x="4084638" y="-3460750"/>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79" name="Rectangle 10"/>
              <p:cNvSpPr>
                <a:spLocks noChangeArrowheads="1"/>
              </p:cNvSpPr>
              <p:nvPr/>
            </p:nvSpPr>
            <p:spPr bwMode="auto">
              <a:xfrm>
                <a:off x="4084638" y="-3052763"/>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80" name="Rectangle 11"/>
              <p:cNvSpPr>
                <a:spLocks noChangeArrowheads="1"/>
              </p:cNvSpPr>
              <p:nvPr/>
            </p:nvSpPr>
            <p:spPr bwMode="auto">
              <a:xfrm>
                <a:off x="4084638" y="-2644775"/>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81" name="Rectangle 12"/>
              <p:cNvSpPr>
                <a:spLocks noChangeArrowheads="1"/>
              </p:cNvSpPr>
              <p:nvPr/>
            </p:nvSpPr>
            <p:spPr bwMode="auto">
              <a:xfrm>
                <a:off x="4084638" y="-2236788"/>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grpSp>
        <p:grpSp>
          <p:nvGrpSpPr>
            <p:cNvPr id="66" name="Group 65"/>
            <p:cNvGrpSpPr/>
            <p:nvPr/>
          </p:nvGrpSpPr>
          <p:grpSpPr>
            <a:xfrm>
              <a:off x="7192859" y="3192435"/>
              <a:ext cx="338674" cy="331974"/>
              <a:chOff x="7112001" y="-3495675"/>
              <a:chExt cx="2889250" cy="2832100"/>
            </a:xfrm>
            <a:solidFill>
              <a:srgbClr val="FF5415"/>
            </a:solidFill>
          </p:grpSpPr>
          <p:sp>
            <p:nvSpPr>
              <p:cNvPr id="72" name="Freeform 13"/>
              <p:cNvSpPr>
                <a:spLocks noEditPoints="1"/>
              </p:cNvSpPr>
              <p:nvPr/>
            </p:nvSpPr>
            <p:spPr bwMode="auto">
              <a:xfrm>
                <a:off x="7112001" y="-3495675"/>
                <a:ext cx="1774825" cy="1244600"/>
              </a:xfrm>
              <a:custGeom>
                <a:avLst/>
                <a:gdLst>
                  <a:gd name="T0" fmla="*/ 153 w 697"/>
                  <a:gd name="T1" fmla="*/ 488 h 488"/>
                  <a:gd name="T2" fmla="*/ 265 w 697"/>
                  <a:gd name="T3" fmla="*/ 377 h 488"/>
                  <a:gd name="T4" fmla="*/ 204 w 697"/>
                  <a:gd name="T5" fmla="*/ 316 h 488"/>
                  <a:gd name="T6" fmla="*/ 204 w 697"/>
                  <a:gd name="T7" fmla="*/ 204 h 488"/>
                  <a:gd name="T8" fmla="*/ 316 w 697"/>
                  <a:gd name="T9" fmla="*/ 204 h 488"/>
                  <a:gd name="T10" fmla="*/ 586 w 697"/>
                  <a:gd name="T11" fmla="*/ 474 h 488"/>
                  <a:gd name="T12" fmla="*/ 697 w 697"/>
                  <a:gd name="T13" fmla="*/ 362 h 488"/>
                  <a:gd name="T14" fmla="*/ 428 w 697"/>
                  <a:gd name="T15" fmla="*/ 92 h 488"/>
                  <a:gd name="T16" fmla="*/ 92 w 697"/>
                  <a:gd name="T17" fmla="*/ 92 h 488"/>
                  <a:gd name="T18" fmla="*/ 92 w 697"/>
                  <a:gd name="T19" fmla="*/ 427 h 488"/>
                  <a:gd name="T20" fmla="*/ 153 w 697"/>
                  <a:gd name="T21" fmla="*/ 488 h 488"/>
                  <a:gd name="T22" fmla="*/ 153 w 697"/>
                  <a:gd name="T23" fmla="*/ 488 h 488"/>
                  <a:gd name="T24" fmla="*/ 153 w 697"/>
                  <a:gd name="T25"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488">
                    <a:moveTo>
                      <a:pt x="153" y="488"/>
                    </a:moveTo>
                    <a:cubicBezTo>
                      <a:pt x="265" y="377"/>
                      <a:pt x="265" y="377"/>
                      <a:pt x="265" y="377"/>
                    </a:cubicBezTo>
                    <a:cubicBezTo>
                      <a:pt x="204" y="316"/>
                      <a:pt x="204" y="316"/>
                      <a:pt x="204" y="316"/>
                    </a:cubicBezTo>
                    <a:cubicBezTo>
                      <a:pt x="173" y="285"/>
                      <a:pt x="173" y="235"/>
                      <a:pt x="204" y="204"/>
                    </a:cubicBezTo>
                    <a:cubicBezTo>
                      <a:pt x="235" y="173"/>
                      <a:pt x="285" y="173"/>
                      <a:pt x="316" y="204"/>
                    </a:cubicBezTo>
                    <a:cubicBezTo>
                      <a:pt x="586" y="474"/>
                      <a:pt x="586" y="474"/>
                      <a:pt x="586" y="474"/>
                    </a:cubicBezTo>
                    <a:cubicBezTo>
                      <a:pt x="697" y="362"/>
                      <a:pt x="697" y="362"/>
                      <a:pt x="697" y="362"/>
                    </a:cubicBezTo>
                    <a:cubicBezTo>
                      <a:pt x="428" y="92"/>
                      <a:pt x="428" y="92"/>
                      <a:pt x="428" y="92"/>
                    </a:cubicBezTo>
                    <a:cubicBezTo>
                      <a:pt x="335" y="0"/>
                      <a:pt x="185" y="0"/>
                      <a:pt x="92" y="92"/>
                    </a:cubicBezTo>
                    <a:cubicBezTo>
                      <a:pt x="0" y="185"/>
                      <a:pt x="0" y="335"/>
                      <a:pt x="92" y="427"/>
                    </a:cubicBezTo>
                    <a:lnTo>
                      <a:pt x="153" y="488"/>
                    </a:lnTo>
                    <a:close/>
                    <a:moveTo>
                      <a:pt x="153" y="488"/>
                    </a:moveTo>
                    <a:cubicBezTo>
                      <a:pt x="153" y="488"/>
                      <a:pt x="153" y="488"/>
                      <a:pt x="153" y="4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73" name="Freeform 14"/>
              <p:cNvSpPr>
                <a:spLocks noEditPoints="1"/>
              </p:cNvSpPr>
              <p:nvPr/>
            </p:nvSpPr>
            <p:spPr bwMode="auto">
              <a:xfrm>
                <a:off x="8224838" y="-1851025"/>
                <a:ext cx="1776413" cy="1187450"/>
              </a:xfrm>
              <a:custGeom>
                <a:avLst/>
                <a:gdLst>
                  <a:gd name="T0" fmla="*/ 544 w 697"/>
                  <a:gd name="T1" fmla="*/ 0 h 466"/>
                  <a:gd name="T2" fmla="*/ 432 w 697"/>
                  <a:gd name="T3" fmla="*/ 112 h 466"/>
                  <a:gd name="T4" fmla="*/ 493 w 697"/>
                  <a:gd name="T5" fmla="*/ 173 h 466"/>
                  <a:gd name="T6" fmla="*/ 493 w 697"/>
                  <a:gd name="T7" fmla="*/ 285 h 466"/>
                  <a:gd name="T8" fmla="*/ 381 w 697"/>
                  <a:gd name="T9" fmla="*/ 285 h 466"/>
                  <a:gd name="T10" fmla="*/ 111 w 697"/>
                  <a:gd name="T11" fmla="*/ 15 h 466"/>
                  <a:gd name="T12" fmla="*/ 0 w 697"/>
                  <a:gd name="T13" fmla="*/ 127 h 466"/>
                  <a:gd name="T14" fmla="*/ 269 w 697"/>
                  <a:gd name="T15" fmla="*/ 396 h 466"/>
                  <a:gd name="T16" fmla="*/ 437 w 697"/>
                  <a:gd name="T17" fmla="*/ 466 h 466"/>
                  <a:gd name="T18" fmla="*/ 605 w 697"/>
                  <a:gd name="T19" fmla="*/ 396 h 466"/>
                  <a:gd name="T20" fmla="*/ 605 w 697"/>
                  <a:gd name="T21" fmla="*/ 61 h 466"/>
                  <a:gd name="T22" fmla="*/ 544 w 697"/>
                  <a:gd name="T23" fmla="*/ 0 h 466"/>
                  <a:gd name="T24" fmla="*/ 544 w 697"/>
                  <a:gd name="T25" fmla="*/ 0 h 466"/>
                  <a:gd name="T26" fmla="*/ 544 w 697"/>
                  <a:gd name="T27"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7" h="466">
                    <a:moveTo>
                      <a:pt x="544" y="0"/>
                    </a:moveTo>
                    <a:cubicBezTo>
                      <a:pt x="432" y="112"/>
                      <a:pt x="432" y="112"/>
                      <a:pt x="432" y="112"/>
                    </a:cubicBezTo>
                    <a:cubicBezTo>
                      <a:pt x="493" y="173"/>
                      <a:pt x="493" y="173"/>
                      <a:pt x="493" y="173"/>
                    </a:cubicBezTo>
                    <a:cubicBezTo>
                      <a:pt x="524" y="204"/>
                      <a:pt x="524" y="254"/>
                      <a:pt x="493" y="285"/>
                    </a:cubicBezTo>
                    <a:cubicBezTo>
                      <a:pt x="462" y="315"/>
                      <a:pt x="412" y="315"/>
                      <a:pt x="381" y="285"/>
                    </a:cubicBezTo>
                    <a:cubicBezTo>
                      <a:pt x="111" y="15"/>
                      <a:pt x="111" y="15"/>
                      <a:pt x="111" y="15"/>
                    </a:cubicBezTo>
                    <a:cubicBezTo>
                      <a:pt x="0" y="127"/>
                      <a:pt x="0" y="127"/>
                      <a:pt x="0" y="127"/>
                    </a:cubicBezTo>
                    <a:cubicBezTo>
                      <a:pt x="269" y="396"/>
                      <a:pt x="269" y="396"/>
                      <a:pt x="269" y="396"/>
                    </a:cubicBezTo>
                    <a:cubicBezTo>
                      <a:pt x="316" y="443"/>
                      <a:pt x="376" y="466"/>
                      <a:pt x="437" y="466"/>
                    </a:cubicBezTo>
                    <a:cubicBezTo>
                      <a:pt x="498" y="466"/>
                      <a:pt x="558" y="443"/>
                      <a:pt x="605" y="396"/>
                    </a:cubicBezTo>
                    <a:cubicBezTo>
                      <a:pt x="697" y="304"/>
                      <a:pt x="697" y="154"/>
                      <a:pt x="605" y="61"/>
                    </a:cubicBezTo>
                    <a:lnTo>
                      <a:pt x="544" y="0"/>
                    </a:lnTo>
                    <a:close/>
                    <a:moveTo>
                      <a:pt x="544" y="0"/>
                    </a:moveTo>
                    <a:cubicBezTo>
                      <a:pt x="544" y="0"/>
                      <a:pt x="544" y="0"/>
                      <a:pt x="5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74" name="Freeform 15"/>
              <p:cNvSpPr>
                <a:spLocks noEditPoints="1"/>
              </p:cNvSpPr>
              <p:nvPr/>
            </p:nvSpPr>
            <p:spPr bwMode="auto">
              <a:xfrm>
                <a:off x="8755063" y="-3495675"/>
                <a:ext cx="1246188" cy="1776412"/>
              </a:xfrm>
              <a:custGeom>
                <a:avLst/>
                <a:gdLst>
                  <a:gd name="T0" fmla="*/ 173 w 489"/>
                  <a:gd name="T1" fmla="*/ 204 h 697"/>
                  <a:gd name="T2" fmla="*/ 285 w 489"/>
                  <a:gd name="T3" fmla="*/ 204 h 697"/>
                  <a:gd name="T4" fmla="*/ 285 w 489"/>
                  <a:gd name="T5" fmla="*/ 316 h 697"/>
                  <a:gd name="T6" fmla="*/ 15 w 489"/>
                  <a:gd name="T7" fmla="*/ 585 h 697"/>
                  <a:gd name="T8" fmla="*/ 127 w 489"/>
                  <a:gd name="T9" fmla="*/ 697 h 697"/>
                  <a:gd name="T10" fmla="*/ 397 w 489"/>
                  <a:gd name="T11" fmla="*/ 427 h 697"/>
                  <a:gd name="T12" fmla="*/ 397 w 489"/>
                  <a:gd name="T13" fmla="*/ 92 h 697"/>
                  <a:gd name="T14" fmla="*/ 61 w 489"/>
                  <a:gd name="T15" fmla="*/ 92 h 697"/>
                  <a:gd name="T16" fmla="*/ 0 w 489"/>
                  <a:gd name="T17" fmla="*/ 153 h 697"/>
                  <a:gd name="T18" fmla="*/ 112 w 489"/>
                  <a:gd name="T19" fmla="*/ 265 h 697"/>
                  <a:gd name="T20" fmla="*/ 173 w 489"/>
                  <a:gd name="T21" fmla="*/ 204 h 697"/>
                  <a:gd name="T22" fmla="*/ 173 w 489"/>
                  <a:gd name="T23" fmla="*/ 204 h 697"/>
                  <a:gd name="T24" fmla="*/ 173 w 489"/>
                  <a:gd name="T25" fmla="*/ 20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9" h="697">
                    <a:moveTo>
                      <a:pt x="173" y="204"/>
                    </a:moveTo>
                    <a:cubicBezTo>
                      <a:pt x="204" y="173"/>
                      <a:pt x="254" y="173"/>
                      <a:pt x="285" y="204"/>
                    </a:cubicBezTo>
                    <a:cubicBezTo>
                      <a:pt x="316" y="235"/>
                      <a:pt x="316" y="285"/>
                      <a:pt x="285" y="316"/>
                    </a:cubicBezTo>
                    <a:cubicBezTo>
                      <a:pt x="15" y="585"/>
                      <a:pt x="15" y="585"/>
                      <a:pt x="15" y="585"/>
                    </a:cubicBezTo>
                    <a:cubicBezTo>
                      <a:pt x="127" y="697"/>
                      <a:pt x="127" y="697"/>
                      <a:pt x="127" y="697"/>
                    </a:cubicBezTo>
                    <a:cubicBezTo>
                      <a:pt x="397" y="427"/>
                      <a:pt x="397" y="427"/>
                      <a:pt x="397" y="427"/>
                    </a:cubicBezTo>
                    <a:cubicBezTo>
                      <a:pt x="489" y="335"/>
                      <a:pt x="489" y="185"/>
                      <a:pt x="397" y="92"/>
                    </a:cubicBezTo>
                    <a:cubicBezTo>
                      <a:pt x="304" y="0"/>
                      <a:pt x="154" y="0"/>
                      <a:pt x="61" y="92"/>
                    </a:cubicBezTo>
                    <a:cubicBezTo>
                      <a:pt x="0" y="153"/>
                      <a:pt x="0" y="153"/>
                      <a:pt x="0" y="153"/>
                    </a:cubicBezTo>
                    <a:cubicBezTo>
                      <a:pt x="112" y="265"/>
                      <a:pt x="112" y="265"/>
                      <a:pt x="112" y="265"/>
                    </a:cubicBezTo>
                    <a:lnTo>
                      <a:pt x="173" y="204"/>
                    </a:lnTo>
                    <a:close/>
                    <a:moveTo>
                      <a:pt x="173" y="204"/>
                    </a:moveTo>
                    <a:cubicBezTo>
                      <a:pt x="173" y="204"/>
                      <a:pt x="173" y="204"/>
                      <a:pt x="173" y="2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75" name="Freeform 16"/>
              <p:cNvSpPr>
                <a:spLocks noEditPoints="1"/>
              </p:cNvSpPr>
              <p:nvPr/>
            </p:nvSpPr>
            <p:spPr bwMode="auto">
              <a:xfrm>
                <a:off x="7112001" y="-2384425"/>
                <a:ext cx="1244600" cy="1720850"/>
              </a:xfrm>
              <a:custGeom>
                <a:avLst/>
                <a:gdLst>
                  <a:gd name="T0" fmla="*/ 316 w 489"/>
                  <a:gd name="T1" fmla="*/ 494 h 675"/>
                  <a:gd name="T2" fmla="*/ 204 w 489"/>
                  <a:gd name="T3" fmla="*/ 494 h 675"/>
                  <a:gd name="T4" fmla="*/ 204 w 489"/>
                  <a:gd name="T5" fmla="*/ 382 h 675"/>
                  <a:gd name="T6" fmla="*/ 474 w 489"/>
                  <a:gd name="T7" fmla="*/ 112 h 675"/>
                  <a:gd name="T8" fmla="*/ 362 w 489"/>
                  <a:gd name="T9" fmla="*/ 0 h 675"/>
                  <a:gd name="T10" fmla="*/ 92 w 489"/>
                  <a:gd name="T11" fmla="*/ 270 h 675"/>
                  <a:gd name="T12" fmla="*/ 92 w 489"/>
                  <a:gd name="T13" fmla="*/ 605 h 675"/>
                  <a:gd name="T14" fmla="*/ 260 w 489"/>
                  <a:gd name="T15" fmla="*/ 675 h 675"/>
                  <a:gd name="T16" fmla="*/ 428 w 489"/>
                  <a:gd name="T17" fmla="*/ 605 h 675"/>
                  <a:gd name="T18" fmla="*/ 489 w 489"/>
                  <a:gd name="T19" fmla="*/ 544 h 675"/>
                  <a:gd name="T20" fmla="*/ 377 w 489"/>
                  <a:gd name="T21" fmla="*/ 433 h 675"/>
                  <a:gd name="T22" fmla="*/ 316 w 489"/>
                  <a:gd name="T23" fmla="*/ 494 h 675"/>
                  <a:gd name="T24" fmla="*/ 316 w 489"/>
                  <a:gd name="T25" fmla="*/ 494 h 675"/>
                  <a:gd name="T26" fmla="*/ 316 w 489"/>
                  <a:gd name="T27" fmla="*/ 494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675">
                    <a:moveTo>
                      <a:pt x="316" y="494"/>
                    </a:moveTo>
                    <a:cubicBezTo>
                      <a:pt x="285" y="524"/>
                      <a:pt x="235" y="524"/>
                      <a:pt x="204" y="494"/>
                    </a:cubicBezTo>
                    <a:cubicBezTo>
                      <a:pt x="173" y="463"/>
                      <a:pt x="173" y="413"/>
                      <a:pt x="204" y="382"/>
                    </a:cubicBezTo>
                    <a:cubicBezTo>
                      <a:pt x="474" y="112"/>
                      <a:pt x="474" y="112"/>
                      <a:pt x="474" y="112"/>
                    </a:cubicBezTo>
                    <a:cubicBezTo>
                      <a:pt x="362" y="0"/>
                      <a:pt x="362" y="0"/>
                      <a:pt x="362" y="0"/>
                    </a:cubicBezTo>
                    <a:cubicBezTo>
                      <a:pt x="92" y="270"/>
                      <a:pt x="92" y="270"/>
                      <a:pt x="92" y="270"/>
                    </a:cubicBezTo>
                    <a:cubicBezTo>
                      <a:pt x="0" y="363"/>
                      <a:pt x="0" y="513"/>
                      <a:pt x="92" y="605"/>
                    </a:cubicBezTo>
                    <a:cubicBezTo>
                      <a:pt x="139" y="652"/>
                      <a:pt x="199" y="675"/>
                      <a:pt x="260" y="675"/>
                    </a:cubicBezTo>
                    <a:cubicBezTo>
                      <a:pt x="321" y="675"/>
                      <a:pt x="381" y="652"/>
                      <a:pt x="428" y="605"/>
                    </a:cubicBezTo>
                    <a:cubicBezTo>
                      <a:pt x="489" y="544"/>
                      <a:pt x="489" y="544"/>
                      <a:pt x="489" y="544"/>
                    </a:cubicBezTo>
                    <a:cubicBezTo>
                      <a:pt x="377" y="433"/>
                      <a:pt x="377" y="433"/>
                      <a:pt x="377" y="433"/>
                    </a:cubicBezTo>
                    <a:lnTo>
                      <a:pt x="316" y="494"/>
                    </a:lnTo>
                    <a:close/>
                    <a:moveTo>
                      <a:pt x="316" y="494"/>
                    </a:moveTo>
                    <a:cubicBezTo>
                      <a:pt x="316" y="494"/>
                      <a:pt x="316" y="494"/>
                      <a:pt x="316" y="4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grpSp>
        <p:grpSp>
          <p:nvGrpSpPr>
            <p:cNvPr id="67" name="Group 66"/>
            <p:cNvGrpSpPr/>
            <p:nvPr/>
          </p:nvGrpSpPr>
          <p:grpSpPr>
            <a:xfrm>
              <a:off x="1354028" y="3053497"/>
              <a:ext cx="595076" cy="595076"/>
              <a:chOff x="1354028" y="3053497"/>
              <a:chExt cx="595076" cy="595076"/>
            </a:xfrm>
          </p:grpSpPr>
          <p:sp>
            <p:nvSpPr>
              <p:cNvPr id="68" name="Oval 67"/>
              <p:cNvSpPr/>
              <p:nvPr/>
            </p:nvSpPr>
            <p:spPr>
              <a:xfrm>
                <a:off x="1354028" y="3053497"/>
                <a:ext cx="595076" cy="5950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dirty="0">
                  <a:solidFill>
                    <a:srgbClr val="E95120"/>
                  </a:solidFill>
                  <a:latin typeface="Calibri" pitchFamily="34" charset="0"/>
                </a:endParaRPr>
              </a:p>
            </p:txBody>
          </p:sp>
          <p:sp>
            <p:nvSpPr>
              <p:cNvPr id="69" name="Rectangle 25"/>
              <p:cNvSpPr/>
              <p:nvPr/>
            </p:nvSpPr>
            <p:spPr>
              <a:xfrm rot="2933454" flipH="1">
                <a:off x="1451877" y="3206444"/>
                <a:ext cx="399719" cy="273939"/>
              </a:xfrm>
              <a:custGeom>
                <a:avLst/>
                <a:gdLst>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4528781 w 5167630"/>
                  <a:gd name="connsiteY4" fmla="*/ 801003 h 3408302"/>
                  <a:gd name="connsiteX5" fmla="*/ 4806383 w 5167630"/>
                  <a:gd name="connsiteY5" fmla="*/ 1078605 h 3408302"/>
                  <a:gd name="connsiteX6" fmla="*/ 4528781 w 5167630"/>
                  <a:gd name="connsiteY6" fmla="*/ 1356207 h 3408302"/>
                  <a:gd name="connsiteX7" fmla="*/ 2853691 w 5167630"/>
                  <a:gd name="connsiteY7" fmla="*/ 1356207 h 3408302"/>
                  <a:gd name="connsiteX8" fmla="*/ 2853691 w 5167630"/>
                  <a:gd name="connsiteY8" fmla="*/ 1356209 h 3408302"/>
                  <a:gd name="connsiteX9" fmla="*/ 2730366 w 5167630"/>
                  <a:gd name="connsiteY9" fmla="*/ 1356209 h 3408302"/>
                  <a:gd name="connsiteX10" fmla="*/ 2665951 w 5167630"/>
                  <a:gd name="connsiteY10" fmla="*/ 1420624 h 3408302"/>
                  <a:gd name="connsiteX11" fmla="*/ 2730366 w 5167630"/>
                  <a:gd name="connsiteY11" fmla="*/ 1485039 h 3408302"/>
                  <a:gd name="connsiteX12" fmla="*/ 3727927 w 5167630"/>
                  <a:gd name="connsiteY12" fmla="*/ 1485039 h 3408302"/>
                  <a:gd name="connsiteX13" fmla="*/ 3727942 w 5167630"/>
                  <a:gd name="connsiteY13" fmla="*/ 1485036 h 3408302"/>
                  <a:gd name="connsiteX14" fmla="*/ 4890028 w 5167630"/>
                  <a:gd name="connsiteY14" fmla="*/ 1485036 h 3408302"/>
                  <a:gd name="connsiteX15" fmla="*/ 5167630 w 5167630"/>
                  <a:gd name="connsiteY15" fmla="*/ 1762638 h 3408302"/>
                  <a:gd name="connsiteX16" fmla="*/ 4890028 w 5167630"/>
                  <a:gd name="connsiteY16" fmla="*/ 2040240 h 3408302"/>
                  <a:gd name="connsiteX17" fmla="*/ 2853691 w 5167630"/>
                  <a:gd name="connsiteY17" fmla="*/ 2040240 h 3408302"/>
                  <a:gd name="connsiteX18" fmla="*/ 2853691 w 5167630"/>
                  <a:gd name="connsiteY18" fmla="*/ 2040241 h 3408302"/>
                  <a:gd name="connsiteX19" fmla="*/ 2730366 w 5167630"/>
                  <a:gd name="connsiteY19" fmla="*/ 2040241 h 3408302"/>
                  <a:gd name="connsiteX20" fmla="*/ 2665951 w 5167630"/>
                  <a:gd name="connsiteY20" fmla="*/ 2104656 h 3408302"/>
                  <a:gd name="connsiteX21" fmla="*/ 2730366 w 5167630"/>
                  <a:gd name="connsiteY21" fmla="*/ 2169070 h 3408302"/>
                  <a:gd name="connsiteX22" fmla="*/ 3727927 w 5167630"/>
                  <a:gd name="connsiteY22" fmla="*/ 2169071 h 3408302"/>
                  <a:gd name="connsiteX23" fmla="*/ 3727937 w 5167630"/>
                  <a:gd name="connsiteY23" fmla="*/ 2169069 h 3408302"/>
                  <a:gd name="connsiteX24" fmla="*/ 4528784 w 5167630"/>
                  <a:gd name="connsiteY24" fmla="*/ 2169069 h 3408302"/>
                  <a:gd name="connsiteX25" fmla="*/ 4806386 w 5167630"/>
                  <a:gd name="connsiteY25" fmla="*/ 2446671 h 3408302"/>
                  <a:gd name="connsiteX26" fmla="*/ 4528784 w 5167630"/>
                  <a:gd name="connsiteY26" fmla="*/ 2724273 h 3408302"/>
                  <a:gd name="connsiteX27" fmla="*/ 2853691 w 5167630"/>
                  <a:gd name="connsiteY27" fmla="*/ 2724273 h 3408302"/>
                  <a:gd name="connsiteX28" fmla="*/ 2853691 w 5167630"/>
                  <a:gd name="connsiteY28" fmla="*/ 2724275 h 3408302"/>
                  <a:gd name="connsiteX29" fmla="*/ 2730364 w 5167630"/>
                  <a:gd name="connsiteY29" fmla="*/ 2724275 h 3408302"/>
                  <a:gd name="connsiteX30" fmla="*/ 2665951 w 5167630"/>
                  <a:gd name="connsiteY30" fmla="*/ 2788688 h 3408302"/>
                  <a:gd name="connsiteX31" fmla="*/ 2730364 w 5167630"/>
                  <a:gd name="connsiteY31" fmla="*/ 2853101 h 3408302"/>
                  <a:gd name="connsiteX32" fmla="*/ 3727929 w 5167630"/>
                  <a:gd name="connsiteY32" fmla="*/ 2853101 h 3408302"/>
                  <a:gd name="connsiteX33" fmla="*/ 3727944 w 5167630"/>
                  <a:gd name="connsiteY33" fmla="*/ 2853098 h 3408302"/>
                  <a:gd name="connsiteX34" fmla="*/ 4087037 w 5167630"/>
                  <a:gd name="connsiteY34" fmla="*/ 2853098 h 3408302"/>
                  <a:gd name="connsiteX35" fmla="*/ 4364639 w 5167630"/>
                  <a:gd name="connsiteY35" fmla="*/ 3130700 h 3408302"/>
                  <a:gd name="connsiteX36" fmla="*/ 4087037 w 5167630"/>
                  <a:gd name="connsiteY36" fmla="*/ 3408302 h 3408302"/>
                  <a:gd name="connsiteX37" fmla="*/ 1714025 w 5167630"/>
                  <a:gd name="connsiteY37" fmla="*/ 3408302 h 3408302"/>
                  <a:gd name="connsiteX38" fmla="*/ 983851 w 5167630"/>
                  <a:gd name="connsiteY38" fmla="*/ 3290969 h 3408302"/>
                  <a:gd name="connsiteX39" fmla="*/ 503045 w 5167630"/>
                  <a:gd name="connsiteY39" fmla="*/ 3130700 h 3408302"/>
                  <a:gd name="connsiteX40" fmla="*/ 0 w 5167630"/>
                  <a:gd name="connsiteY40" fmla="*/ 3130700 h 3408302"/>
                  <a:gd name="connsiteX41" fmla="*/ 0 w 5167630"/>
                  <a:gd name="connsiteY41" fmla="*/ 942327 h 3408302"/>
                  <a:gd name="connsiteX42" fmla="*/ 813477 w 5167630"/>
                  <a:gd name="connsiteY42" fmla="*/ 942327 h 3408302"/>
                  <a:gd name="connsiteX43" fmla="*/ 1050903 w 5167630"/>
                  <a:gd name="connsiteY43" fmla="*/ 829267 h 3408302"/>
                  <a:gd name="connsiteX44" fmla="*/ 1220705 w 5167630"/>
                  <a:gd name="connsiteY44" fmla="*/ 627695 h 3408302"/>
                  <a:gd name="connsiteX45" fmla="*/ 2444035 w 5167630"/>
                  <a:gd name="connsiteY45" fmla="*/ 32942 h 3408302"/>
                  <a:gd name="connsiteX46" fmla="*/ 2570015 w 5167630"/>
                  <a:gd name="connsiteY46"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2536191 w 5167630"/>
                  <a:gd name="connsiteY4" fmla="*/ 7943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502924 w 5167630"/>
                  <a:gd name="connsiteY3" fmla="*/ 71845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502924 w 5167630"/>
                  <a:gd name="connsiteY3" fmla="*/ 71845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502924 w 5167630"/>
                  <a:gd name="connsiteY3" fmla="*/ 71845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98515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98515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98515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55652 w 5167630"/>
                  <a:gd name="connsiteY44" fmla="*/ 843554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679552 w 5167630"/>
                  <a:gd name="connsiteY0" fmla="*/ 250 h 3446323"/>
                  <a:gd name="connsiteX1" fmla="*/ 2882046 w 5167630"/>
                  <a:gd name="connsiteY1" fmla="*/ 222399 h 3446323"/>
                  <a:gd name="connsiteX2" fmla="*/ 2717910 w 5167630"/>
                  <a:gd name="connsiteY2" fmla="*/ 603260 h 3446323"/>
                  <a:gd name="connsiteX3" fmla="*/ 2498162 w 5167630"/>
                  <a:gd name="connsiteY3" fmla="*/ 746949 h 3446323"/>
                  <a:gd name="connsiteX4" fmla="*/ 2561591 w 5167630"/>
                  <a:gd name="connsiteY4" fmla="*/ 845046 h 3446323"/>
                  <a:gd name="connsiteX5" fmla="*/ 4528781 w 5167630"/>
                  <a:gd name="connsiteY5" fmla="*/ 839024 h 3446323"/>
                  <a:gd name="connsiteX6" fmla="*/ 4806383 w 5167630"/>
                  <a:gd name="connsiteY6" fmla="*/ 1116626 h 3446323"/>
                  <a:gd name="connsiteX7" fmla="*/ 4528781 w 5167630"/>
                  <a:gd name="connsiteY7" fmla="*/ 1394228 h 3446323"/>
                  <a:gd name="connsiteX8" fmla="*/ 2853691 w 5167630"/>
                  <a:gd name="connsiteY8" fmla="*/ 1394228 h 3446323"/>
                  <a:gd name="connsiteX9" fmla="*/ 2853691 w 5167630"/>
                  <a:gd name="connsiteY9" fmla="*/ 1394230 h 3446323"/>
                  <a:gd name="connsiteX10" fmla="*/ 2730366 w 5167630"/>
                  <a:gd name="connsiteY10" fmla="*/ 1394230 h 3446323"/>
                  <a:gd name="connsiteX11" fmla="*/ 2665951 w 5167630"/>
                  <a:gd name="connsiteY11" fmla="*/ 1458645 h 3446323"/>
                  <a:gd name="connsiteX12" fmla="*/ 2730366 w 5167630"/>
                  <a:gd name="connsiteY12" fmla="*/ 1523060 h 3446323"/>
                  <a:gd name="connsiteX13" fmla="*/ 3727927 w 5167630"/>
                  <a:gd name="connsiteY13" fmla="*/ 1523060 h 3446323"/>
                  <a:gd name="connsiteX14" fmla="*/ 3727942 w 5167630"/>
                  <a:gd name="connsiteY14" fmla="*/ 1523057 h 3446323"/>
                  <a:gd name="connsiteX15" fmla="*/ 4890028 w 5167630"/>
                  <a:gd name="connsiteY15" fmla="*/ 1523057 h 3446323"/>
                  <a:gd name="connsiteX16" fmla="*/ 5167630 w 5167630"/>
                  <a:gd name="connsiteY16" fmla="*/ 1800659 h 3446323"/>
                  <a:gd name="connsiteX17" fmla="*/ 4890028 w 5167630"/>
                  <a:gd name="connsiteY17" fmla="*/ 2078261 h 3446323"/>
                  <a:gd name="connsiteX18" fmla="*/ 2853691 w 5167630"/>
                  <a:gd name="connsiteY18" fmla="*/ 2078261 h 3446323"/>
                  <a:gd name="connsiteX19" fmla="*/ 2853691 w 5167630"/>
                  <a:gd name="connsiteY19" fmla="*/ 2078262 h 3446323"/>
                  <a:gd name="connsiteX20" fmla="*/ 2730366 w 5167630"/>
                  <a:gd name="connsiteY20" fmla="*/ 2078262 h 3446323"/>
                  <a:gd name="connsiteX21" fmla="*/ 2665951 w 5167630"/>
                  <a:gd name="connsiteY21" fmla="*/ 2142677 h 3446323"/>
                  <a:gd name="connsiteX22" fmla="*/ 2730366 w 5167630"/>
                  <a:gd name="connsiteY22" fmla="*/ 2207091 h 3446323"/>
                  <a:gd name="connsiteX23" fmla="*/ 3727927 w 5167630"/>
                  <a:gd name="connsiteY23" fmla="*/ 2207092 h 3446323"/>
                  <a:gd name="connsiteX24" fmla="*/ 3727937 w 5167630"/>
                  <a:gd name="connsiteY24" fmla="*/ 2207090 h 3446323"/>
                  <a:gd name="connsiteX25" fmla="*/ 4528784 w 5167630"/>
                  <a:gd name="connsiteY25" fmla="*/ 2207090 h 3446323"/>
                  <a:gd name="connsiteX26" fmla="*/ 4806386 w 5167630"/>
                  <a:gd name="connsiteY26" fmla="*/ 2484692 h 3446323"/>
                  <a:gd name="connsiteX27" fmla="*/ 4528784 w 5167630"/>
                  <a:gd name="connsiteY27" fmla="*/ 2762294 h 3446323"/>
                  <a:gd name="connsiteX28" fmla="*/ 2853691 w 5167630"/>
                  <a:gd name="connsiteY28" fmla="*/ 2762294 h 3446323"/>
                  <a:gd name="connsiteX29" fmla="*/ 2853691 w 5167630"/>
                  <a:gd name="connsiteY29" fmla="*/ 2762296 h 3446323"/>
                  <a:gd name="connsiteX30" fmla="*/ 2730364 w 5167630"/>
                  <a:gd name="connsiteY30" fmla="*/ 2762296 h 3446323"/>
                  <a:gd name="connsiteX31" fmla="*/ 2665951 w 5167630"/>
                  <a:gd name="connsiteY31" fmla="*/ 2826709 h 3446323"/>
                  <a:gd name="connsiteX32" fmla="*/ 2730364 w 5167630"/>
                  <a:gd name="connsiteY32" fmla="*/ 2891122 h 3446323"/>
                  <a:gd name="connsiteX33" fmla="*/ 3727929 w 5167630"/>
                  <a:gd name="connsiteY33" fmla="*/ 2891122 h 3446323"/>
                  <a:gd name="connsiteX34" fmla="*/ 3727944 w 5167630"/>
                  <a:gd name="connsiteY34" fmla="*/ 2891119 h 3446323"/>
                  <a:gd name="connsiteX35" fmla="*/ 4087037 w 5167630"/>
                  <a:gd name="connsiteY35" fmla="*/ 2891119 h 3446323"/>
                  <a:gd name="connsiteX36" fmla="*/ 4364639 w 5167630"/>
                  <a:gd name="connsiteY36" fmla="*/ 3168721 h 3446323"/>
                  <a:gd name="connsiteX37" fmla="*/ 4087037 w 5167630"/>
                  <a:gd name="connsiteY37" fmla="*/ 3446323 h 3446323"/>
                  <a:gd name="connsiteX38" fmla="*/ 1714025 w 5167630"/>
                  <a:gd name="connsiteY38" fmla="*/ 3446323 h 3446323"/>
                  <a:gd name="connsiteX39" fmla="*/ 983851 w 5167630"/>
                  <a:gd name="connsiteY39" fmla="*/ 3328990 h 3446323"/>
                  <a:gd name="connsiteX40" fmla="*/ 503045 w 5167630"/>
                  <a:gd name="connsiteY40" fmla="*/ 3168721 h 3446323"/>
                  <a:gd name="connsiteX41" fmla="*/ 0 w 5167630"/>
                  <a:gd name="connsiteY41" fmla="*/ 3168721 h 3446323"/>
                  <a:gd name="connsiteX42" fmla="*/ 0 w 5167630"/>
                  <a:gd name="connsiteY42" fmla="*/ 980348 h 3446323"/>
                  <a:gd name="connsiteX43" fmla="*/ 665839 w 5167630"/>
                  <a:gd name="connsiteY43" fmla="*/ 980348 h 3446323"/>
                  <a:gd name="connsiteX44" fmla="*/ 955652 w 5167630"/>
                  <a:gd name="connsiteY44" fmla="*/ 881575 h 3446323"/>
                  <a:gd name="connsiteX45" fmla="*/ 1220705 w 5167630"/>
                  <a:gd name="connsiteY45" fmla="*/ 665716 h 3446323"/>
                  <a:gd name="connsiteX46" fmla="*/ 2444035 w 5167630"/>
                  <a:gd name="connsiteY46" fmla="*/ 70963 h 3446323"/>
                  <a:gd name="connsiteX47" fmla="*/ 2679552 w 5167630"/>
                  <a:gd name="connsiteY47" fmla="*/ 250 h 3446323"/>
                  <a:gd name="connsiteX0" fmla="*/ 2679552 w 5167630"/>
                  <a:gd name="connsiteY0" fmla="*/ 462 h 3446535"/>
                  <a:gd name="connsiteX1" fmla="*/ 3029684 w 5167630"/>
                  <a:gd name="connsiteY1" fmla="*/ 160699 h 3446535"/>
                  <a:gd name="connsiteX2" fmla="*/ 2717910 w 5167630"/>
                  <a:gd name="connsiteY2" fmla="*/ 603472 h 3446535"/>
                  <a:gd name="connsiteX3" fmla="*/ 2498162 w 5167630"/>
                  <a:gd name="connsiteY3" fmla="*/ 747161 h 3446535"/>
                  <a:gd name="connsiteX4" fmla="*/ 2561591 w 5167630"/>
                  <a:gd name="connsiteY4" fmla="*/ 845258 h 3446535"/>
                  <a:gd name="connsiteX5" fmla="*/ 4528781 w 5167630"/>
                  <a:gd name="connsiteY5" fmla="*/ 839236 h 3446535"/>
                  <a:gd name="connsiteX6" fmla="*/ 4806383 w 5167630"/>
                  <a:gd name="connsiteY6" fmla="*/ 1116838 h 3446535"/>
                  <a:gd name="connsiteX7" fmla="*/ 4528781 w 5167630"/>
                  <a:gd name="connsiteY7" fmla="*/ 1394440 h 3446535"/>
                  <a:gd name="connsiteX8" fmla="*/ 2853691 w 5167630"/>
                  <a:gd name="connsiteY8" fmla="*/ 1394440 h 3446535"/>
                  <a:gd name="connsiteX9" fmla="*/ 2853691 w 5167630"/>
                  <a:gd name="connsiteY9" fmla="*/ 1394442 h 3446535"/>
                  <a:gd name="connsiteX10" fmla="*/ 2730366 w 5167630"/>
                  <a:gd name="connsiteY10" fmla="*/ 1394442 h 3446535"/>
                  <a:gd name="connsiteX11" fmla="*/ 2665951 w 5167630"/>
                  <a:gd name="connsiteY11" fmla="*/ 1458857 h 3446535"/>
                  <a:gd name="connsiteX12" fmla="*/ 2730366 w 5167630"/>
                  <a:gd name="connsiteY12" fmla="*/ 1523272 h 3446535"/>
                  <a:gd name="connsiteX13" fmla="*/ 3727927 w 5167630"/>
                  <a:gd name="connsiteY13" fmla="*/ 1523272 h 3446535"/>
                  <a:gd name="connsiteX14" fmla="*/ 3727942 w 5167630"/>
                  <a:gd name="connsiteY14" fmla="*/ 1523269 h 3446535"/>
                  <a:gd name="connsiteX15" fmla="*/ 4890028 w 5167630"/>
                  <a:gd name="connsiteY15" fmla="*/ 1523269 h 3446535"/>
                  <a:gd name="connsiteX16" fmla="*/ 5167630 w 5167630"/>
                  <a:gd name="connsiteY16" fmla="*/ 1800871 h 3446535"/>
                  <a:gd name="connsiteX17" fmla="*/ 4890028 w 5167630"/>
                  <a:gd name="connsiteY17" fmla="*/ 2078473 h 3446535"/>
                  <a:gd name="connsiteX18" fmla="*/ 2853691 w 5167630"/>
                  <a:gd name="connsiteY18" fmla="*/ 2078473 h 3446535"/>
                  <a:gd name="connsiteX19" fmla="*/ 2853691 w 5167630"/>
                  <a:gd name="connsiteY19" fmla="*/ 2078474 h 3446535"/>
                  <a:gd name="connsiteX20" fmla="*/ 2730366 w 5167630"/>
                  <a:gd name="connsiteY20" fmla="*/ 2078474 h 3446535"/>
                  <a:gd name="connsiteX21" fmla="*/ 2665951 w 5167630"/>
                  <a:gd name="connsiteY21" fmla="*/ 2142889 h 3446535"/>
                  <a:gd name="connsiteX22" fmla="*/ 2730366 w 5167630"/>
                  <a:gd name="connsiteY22" fmla="*/ 2207303 h 3446535"/>
                  <a:gd name="connsiteX23" fmla="*/ 3727927 w 5167630"/>
                  <a:gd name="connsiteY23" fmla="*/ 2207304 h 3446535"/>
                  <a:gd name="connsiteX24" fmla="*/ 3727937 w 5167630"/>
                  <a:gd name="connsiteY24" fmla="*/ 2207302 h 3446535"/>
                  <a:gd name="connsiteX25" fmla="*/ 4528784 w 5167630"/>
                  <a:gd name="connsiteY25" fmla="*/ 2207302 h 3446535"/>
                  <a:gd name="connsiteX26" fmla="*/ 4806386 w 5167630"/>
                  <a:gd name="connsiteY26" fmla="*/ 2484904 h 3446535"/>
                  <a:gd name="connsiteX27" fmla="*/ 4528784 w 5167630"/>
                  <a:gd name="connsiteY27" fmla="*/ 2762506 h 3446535"/>
                  <a:gd name="connsiteX28" fmla="*/ 2853691 w 5167630"/>
                  <a:gd name="connsiteY28" fmla="*/ 2762506 h 3446535"/>
                  <a:gd name="connsiteX29" fmla="*/ 2853691 w 5167630"/>
                  <a:gd name="connsiteY29" fmla="*/ 2762508 h 3446535"/>
                  <a:gd name="connsiteX30" fmla="*/ 2730364 w 5167630"/>
                  <a:gd name="connsiteY30" fmla="*/ 2762508 h 3446535"/>
                  <a:gd name="connsiteX31" fmla="*/ 2665951 w 5167630"/>
                  <a:gd name="connsiteY31" fmla="*/ 2826921 h 3446535"/>
                  <a:gd name="connsiteX32" fmla="*/ 2730364 w 5167630"/>
                  <a:gd name="connsiteY32" fmla="*/ 2891334 h 3446535"/>
                  <a:gd name="connsiteX33" fmla="*/ 3727929 w 5167630"/>
                  <a:gd name="connsiteY33" fmla="*/ 2891334 h 3446535"/>
                  <a:gd name="connsiteX34" fmla="*/ 3727944 w 5167630"/>
                  <a:gd name="connsiteY34" fmla="*/ 2891331 h 3446535"/>
                  <a:gd name="connsiteX35" fmla="*/ 4087037 w 5167630"/>
                  <a:gd name="connsiteY35" fmla="*/ 2891331 h 3446535"/>
                  <a:gd name="connsiteX36" fmla="*/ 4364639 w 5167630"/>
                  <a:gd name="connsiteY36" fmla="*/ 3168933 h 3446535"/>
                  <a:gd name="connsiteX37" fmla="*/ 4087037 w 5167630"/>
                  <a:gd name="connsiteY37" fmla="*/ 3446535 h 3446535"/>
                  <a:gd name="connsiteX38" fmla="*/ 1714025 w 5167630"/>
                  <a:gd name="connsiteY38" fmla="*/ 3446535 h 3446535"/>
                  <a:gd name="connsiteX39" fmla="*/ 983851 w 5167630"/>
                  <a:gd name="connsiteY39" fmla="*/ 3329202 h 3446535"/>
                  <a:gd name="connsiteX40" fmla="*/ 503045 w 5167630"/>
                  <a:gd name="connsiteY40" fmla="*/ 3168933 h 3446535"/>
                  <a:gd name="connsiteX41" fmla="*/ 0 w 5167630"/>
                  <a:gd name="connsiteY41" fmla="*/ 3168933 h 3446535"/>
                  <a:gd name="connsiteX42" fmla="*/ 0 w 5167630"/>
                  <a:gd name="connsiteY42" fmla="*/ 980560 h 3446535"/>
                  <a:gd name="connsiteX43" fmla="*/ 665839 w 5167630"/>
                  <a:gd name="connsiteY43" fmla="*/ 980560 h 3446535"/>
                  <a:gd name="connsiteX44" fmla="*/ 955652 w 5167630"/>
                  <a:gd name="connsiteY44" fmla="*/ 881787 h 3446535"/>
                  <a:gd name="connsiteX45" fmla="*/ 1220705 w 5167630"/>
                  <a:gd name="connsiteY45" fmla="*/ 665928 h 3446535"/>
                  <a:gd name="connsiteX46" fmla="*/ 2444035 w 5167630"/>
                  <a:gd name="connsiteY46" fmla="*/ 71175 h 3446535"/>
                  <a:gd name="connsiteX47" fmla="*/ 2679552 w 5167630"/>
                  <a:gd name="connsiteY47" fmla="*/ 462 h 3446535"/>
                  <a:gd name="connsiteX0" fmla="*/ 2760515 w 5167630"/>
                  <a:gd name="connsiteY0" fmla="*/ 349 h 3474997"/>
                  <a:gd name="connsiteX1" fmla="*/ 3029684 w 5167630"/>
                  <a:gd name="connsiteY1" fmla="*/ 189161 h 3474997"/>
                  <a:gd name="connsiteX2" fmla="*/ 2717910 w 5167630"/>
                  <a:gd name="connsiteY2" fmla="*/ 631934 h 3474997"/>
                  <a:gd name="connsiteX3" fmla="*/ 2498162 w 5167630"/>
                  <a:gd name="connsiteY3" fmla="*/ 775623 h 3474997"/>
                  <a:gd name="connsiteX4" fmla="*/ 2561591 w 5167630"/>
                  <a:gd name="connsiteY4" fmla="*/ 873720 h 3474997"/>
                  <a:gd name="connsiteX5" fmla="*/ 4528781 w 5167630"/>
                  <a:gd name="connsiteY5" fmla="*/ 867698 h 3474997"/>
                  <a:gd name="connsiteX6" fmla="*/ 4806383 w 5167630"/>
                  <a:gd name="connsiteY6" fmla="*/ 1145300 h 3474997"/>
                  <a:gd name="connsiteX7" fmla="*/ 4528781 w 5167630"/>
                  <a:gd name="connsiteY7" fmla="*/ 1422902 h 3474997"/>
                  <a:gd name="connsiteX8" fmla="*/ 2853691 w 5167630"/>
                  <a:gd name="connsiteY8" fmla="*/ 1422902 h 3474997"/>
                  <a:gd name="connsiteX9" fmla="*/ 2853691 w 5167630"/>
                  <a:gd name="connsiteY9" fmla="*/ 1422904 h 3474997"/>
                  <a:gd name="connsiteX10" fmla="*/ 2730366 w 5167630"/>
                  <a:gd name="connsiteY10" fmla="*/ 1422904 h 3474997"/>
                  <a:gd name="connsiteX11" fmla="*/ 2665951 w 5167630"/>
                  <a:gd name="connsiteY11" fmla="*/ 1487319 h 3474997"/>
                  <a:gd name="connsiteX12" fmla="*/ 2730366 w 5167630"/>
                  <a:gd name="connsiteY12" fmla="*/ 1551734 h 3474997"/>
                  <a:gd name="connsiteX13" fmla="*/ 3727927 w 5167630"/>
                  <a:gd name="connsiteY13" fmla="*/ 1551734 h 3474997"/>
                  <a:gd name="connsiteX14" fmla="*/ 3727942 w 5167630"/>
                  <a:gd name="connsiteY14" fmla="*/ 1551731 h 3474997"/>
                  <a:gd name="connsiteX15" fmla="*/ 4890028 w 5167630"/>
                  <a:gd name="connsiteY15" fmla="*/ 1551731 h 3474997"/>
                  <a:gd name="connsiteX16" fmla="*/ 5167630 w 5167630"/>
                  <a:gd name="connsiteY16" fmla="*/ 1829333 h 3474997"/>
                  <a:gd name="connsiteX17" fmla="*/ 4890028 w 5167630"/>
                  <a:gd name="connsiteY17" fmla="*/ 2106935 h 3474997"/>
                  <a:gd name="connsiteX18" fmla="*/ 2853691 w 5167630"/>
                  <a:gd name="connsiteY18" fmla="*/ 2106935 h 3474997"/>
                  <a:gd name="connsiteX19" fmla="*/ 2853691 w 5167630"/>
                  <a:gd name="connsiteY19" fmla="*/ 2106936 h 3474997"/>
                  <a:gd name="connsiteX20" fmla="*/ 2730366 w 5167630"/>
                  <a:gd name="connsiteY20" fmla="*/ 2106936 h 3474997"/>
                  <a:gd name="connsiteX21" fmla="*/ 2665951 w 5167630"/>
                  <a:gd name="connsiteY21" fmla="*/ 2171351 h 3474997"/>
                  <a:gd name="connsiteX22" fmla="*/ 2730366 w 5167630"/>
                  <a:gd name="connsiteY22" fmla="*/ 2235765 h 3474997"/>
                  <a:gd name="connsiteX23" fmla="*/ 3727927 w 5167630"/>
                  <a:gd name="connsiteY23" fmla="*/ 2235766 h 3474997"/>
                  <a:gd name="connsiteX24" fmla="*/ 3727937 w 5167630"/>
                  <a:gd name="connsiteY24" fmla="*/ 2235764 h 3474997"/>
                  <a:gd name="connsiteX25" fmla="*/ 4528784 w 5167630"/>
                  <a:gd name="connsiteY25" fmla="*/ 2235764 h 3474997"/>
                  <a:gd name="connsiteX26" fmla="*/ 4806386 w 5167630"/>
                  <a:gd name="connsiteY26" fmla="*/ 2513366 h 3474997"/>
                  <a:gd name="connsiteX27" fmla="*/ 4528784 w 5167630"/>
                  <a:gd name="connsiteY27" fmla="*/ 2790968 h 3474997"/>
                  <a:gd name="connsiteX28" fmla="*/ 2853691 w 5167630"/>
                  <a:gd name="connsiteY28" fmla="*/ 2790968 h 3474997"/>
                  <a:gd name="connsiteX29" fmla="*/ 2853691 w 5167630"/>
                  <a:gd name="connsiteY29" fmla="*/ 2790970 h 3474997"/>
                  <a:gd name="connsiteX30" fmla="*/ 2730364 w 5167630"/>
                  <a:gd name="connsiteY30" fmla="*/ 2790970 h 3474997"/>
                  <a:gd name="connsiteX31" fmla="*/ 2665951 w 5167630"/>
                  <a:gd name="connsiteY31" fmla="*/ 2855383 h 3474997"/>
                  <a:gd name="connsiteX32" fmla="*/ 2730364 w 5167630"/>
                  <a:gd name="connsiteY32" fmla="*/ 2919796 h 3474997"/>
                  <a:gd name="connsiteX33" fmla="*/ 3727929 w 5167630"/>
                  <a:gd name="connsiteY33" fmla="*/ 2919796 h 3474997"/>
                  <a:gd name="connsiteX34" fmla="*/ 3727944 w 5167630"/>
                  <a:gd name="connsiteY34" fmla="*/ 2919793 h 3474997"/>
                  <a:gd name="connsiteX35" fmla="*/ 4087037 w 5167630"/>
                  <a:gd name="connsiteY35" fmla="*/ 2919793 h 3474997"/>
                  <a:gd name="connsiteX36" fmla="*/ 4364639 w 5167630"/>
                  <a:gd name="connsiteY36" fmla="*/ 3197395 h 3474997"/>
                  <a:gd name="connsiteX37" fmla="*/ 4087037 w 5167630"/>
                  <a:gd name="connsiteY37" fmla="*/ 3474997 h 3474997"/>
                  <a:gd name="connsiteX38" fmla="*/ 1714025 w 5167630"/>
                  <a:gd name="connsiteY38" fmla="*/ 3474997 h 3474997"/>
                  <a:gd name="connsiteX39" fmla="*/ 983851 w 5167630"/>
                  <a:gd name="connsiteY39" fmla="*/ 3357664 h 3474997"/>
                  <a:gd name="connsiteX40" fmla="*/ 503045 w 5167630"/>
                  <a:gd name="connsiteY40" fmla="*/ 3197395 h 3474997"/>
                  <a:gd name="connsiteX41" fmla="*/ 0 w 5167630"/>
                  <a:gd name="connsiteY41" fmla="*/ 3197395 h 3474997"/>
                  <a:gd name="connsiteX42" fmla="*/ 0 w 5167630"/>
                  <a:gd name="connsiteY42" fmla="*/ 1009022 h 3474997"/>
                  <a:gd name="connsiteX43" fmla="*/ 665839 w 5167630"/>
                  <a:gd name="connsiteY43" fmla="*/ 1009022 h 3474997"/>
                  <a:gd name="connsiteX44" fmla="*/ 955652 w 5167630"/>
                  <a:gd name="connsiteY44" fmla="*/ 910249 h 3474997"/>
                  <a:gd name="connsiteX45" fmla="*/ 1220705 w 5167630"/>
                  <a:gd name="connsiteY45" fmla="*/ 694390 h 3474997"/>
                  <a:gd name="connsiteX46" fmla="*/ 2444035 w 5167630"/>
                  <a:gd name="connsiteY46" fmla="*/ 99637 h 3474997"/>
                  <a:gd name="connsiteX47" fmla="*/ 2760515 w 5167630"/>
                  <a:gd name="connsiteY47" fmla="*/ 349 h 3474997"/>
                  <a:gd name="connsiteX0" fmla="*/ 2760515 w 5167630"/>
                  <a:gd name="connsiteY0" fmla="*/ 349 h 3474997"/>
                  <a:gd name="connsiteX1" fmla="*/ 3029684 w 5167630"/>
                  <a:gd name="connsiteY1" fmla="*/ 189161 h 3474997"/>
                  <a:gd name="connsiteX2" fmla="*/ 2717910 w 5167630"/>
                  <a:gd name="connsiteY2" fmla="*/ 631934 h 3474997"/>
                  <a:gd name="connsiteX3" fmla="*/ 2498162 w 5167630"/>
                  <a:gd name="connsiteY3" fmla="*/ 775623 h 3474997"/>
                  <a:gd name="connsiteX4" fmla="*/ 2561591 w 5167630"/>
                  <a:gd name="connsiteY4" fmla="*/ 873720 h 3474997"/>
                  <a:gd name="connsiteX5" fmla="*/ 4528781 w 5167630"/>
                  <a:gd name="connsiteY5" fmla="*/ 867698 h 3474997"/>
                  <a:gd name="connsiteX6" fmla="*/ 4806383 w 5167630"/>
                  <a:gd name="connsiteY6" fmla="*/ 1145300 h 3474997"/>
                  <a:gd name="connsiteX7" fmla="*/ 4528781 w 5167630"/>
                  <a:gd name="connsiteY7" fmla="*/ 1422902 h 3474997"/>
                  <a:gd name="connsiteX8" fmla="*/ 2853691 w 5167630"/>
                  <a:gd name="connsiteY8" fmla="*/ 1422902 h 3474997"/>
                  <a:gd name="connsiteX9" fmla="*/ 2853691 w 5167630"/>
                  <a:gd name="connsiteY9" fmla="*/ 1422904 h 3474997"/>
                  <a:gd name="connsiteX10" fmla="*/ 2730366 w 5167630"/>
                  <a:gd name="connsiteY10" fmla="*/ 1422904 h 3474997"/>
                  <a:gd name="connsiteX11" fmla="*/ 2665951 w 5167630"/>
                  <a:gd name="connsiteY11" fmla="*/ 1487319 h 3474997"/>
                  <a:gd name="connsiteX12" fmla="*/ 2730366 w 5167630"/>
                  <a:gd name="connsiteY12" fmla="*/ 1551734 h 3474997"/>
                  <a:gd name="connsiteX13" fmla="*/ 3727927 w 5167630"/>
                  <a:gd name="connsiteY13" fmla="*/ 1551734 h 3474997"/>
                  <a:gd name="connsiteX14" fmla="*/ 3727942 w 5167630"/>
                  <a:gd name="connsiteY14" fmla="*/ 1551731 h 3474997"/>
                  <a:gd name="connsiteX15" fmla="*/ 4890028 w 5167630"/>
                  <a:gd name="connsiteY15" fmla="*/ 1551731 h 3474997"/>
                  <a:gd name="connsiteX16" fmla="*/ 5167630 w 5167630"/>
                  <a:gd name="connsiteY16" fmla="*/ 1829333 h 3474997"/>
                  <a:gd name="connsiteX17" fmla="*/ 4890028 w 5167630"/>
                  <a:gd name="connsiteY17" fmla="*/ 2106935 h 3474997"/>
                  <a:gd name="connsiteX18" fmla="*/ 2853691 w 5167630"/>
                  <a:gd name="connsiteY18" fmla="*/ 2106935 h 3474997"/>
                  <a:gd name="connsiteX19" fmla="*/ 2853691 w 5167630"/>
                  <a:gd name="connsiteY19" fmla="*/ 2106936 h 3474997"/>
                  <a:gd name="connsiteX20" fmla="*/ 2730366 w 5167630"/>
                  <a:gd name="connsiteY20" fmla="*/ 2106936 h 3474997"/>
                  <a:gd name="connsiteX21" fmla="*/ 2665951 w 5167630"/>
                  <a:gd name="connsiteY21" fmla="*/ 2171351 h 3474997"/>
                  <a:gd name="connsiteX22" fmla="*/ 2730366 w 5167630"/>
                  <a:gd name="connsiteY22" fmla="*/ 2235765 h 3474997"/>
                  <a:gd name="connsiteX23" fmla="*/ 3727927 w 5167630"/>
                  <a:gd name="connsiteY23" fmla="*/ 2235766 h 3474997"/>
                  <a:gd name="connsiteX24" fmla="*/ 3727937 w 5167630"/>
                  <a:gd name="connsiteY24" fmla="*/ 2235764 h 3474997"/>
                  <a:gd name="connsiteX25" fmla="*/ 4528784 w 5167630"/>
                  <a:gd name="connsiteY25" fmla="*/ 2235764 h 3474997"/>
                  <a:gd name="connsiteX26" fmla="*/ 4806386 w 5167630"/>
                  <a:gd name="connsiteY26" fmla="*/ 2513366 h 3474997"/>
                  <a:gd name="connsiteX27" fmla="*/ 4528784 w 5167630"/>
                  <a:gd name="connsiteY27" fmla="*/ 2790968 h 3474997"/>
                  <a:gd name="connsiteX28" fmla="*/ 2853691 w 5167630"/>
                  <a:gd name="connsiteY28" fmla="*/ 2790968 h 3474997"/>
                  <a:gd name="connsiteX29" fmla="*/ 2853691 w 5167630"/>
                  <a:gd name="connsiteY29" fmla="*/ 2790970 h 3474997"/>
                  <a:gd name="connsiteX30" fmla="*/ 2730364 w 5167630"/>
                  <a:gd name="connsiteY30" fmla="*/ 2790970 h 3474997"/>
                  <a:gd name="connsiteX31" fmla="*/ 2665951 w 5167630"/>
                  <a:gd name="connsiteY31" fmla="*/ 2855383 h 3474997"/>
                  <a:gd name="connsiteX32" fmla="*/ 2730364 w 5167630"/>
                  <a:gd name="connsiteY32" fmla="*/ 2919796 h 3474997"/>
                  <a:gd name="connsiteX33" fmla="*/ 3727929 w 5167630"/>
                  <a:gd name="connsiteY33" fmla="*/ 2919796 h 3474997"/>
                  <a:gd name="connsiteX34" fmla="*/ 3727944 w 5167630"/>
                  <a:gd name="connsiteY34" fmla="*/ 2919793 h 3474997"/>
                  <a:gd name="connsiteX35" fmla="*/ 4087037 w 5167630"/>
                  <a:gd name="connsiteY35" fmla="*/ 2919793 h 3474997"/>
                  <a:gd name="connsiteX36" fmla="*/ 4364639 w 5167630"/>
                  <a:gd name="connsiteY36" fmla="*/ 3197395 h 3474997"/>
                  <a:gd name="connsiteX37" fmla="*/ 4087037 w 5167630"/>
                  <a:gd name="connsiteY37" fmla="*/ 3474997 h 3474997"/>
                  <a:gd name="connsiteX38" fmla="*/ 1714025 w 5167630"/>
                  <a:gd name="connsiteY38" fmla="*/ 3474997 h 3474997"/>
                  <a:gd name="connsiteX39" fmla="*/ 983851 w 5167630"/>
                  <a:gd name="connsiteY39" fmla="*/ 3357664 h 3474997"/>
                  <a:gd name="connsiteX40" fmla="*/ 503045 w 5167630"/>
                  <a:gd name="connsiteY40" fmla="*/ 3197395 h 3474997"/>
                  <a:gd name="connsiteX41" fmla="*/ 0 w 5167630"/>
                  <a:gd name="connsiteY41" fmla="*/ 3197395 h 3474997"/>
                  <a:gd name="connsiteX42" fmla="*/ 0 w 5167630"/>
                  <a:gd name="connsiteY42" fmla="*/ 1009022 h 3474997"/>
                  <a:gd name="connsiteX43" fmla="*/ 665839 w 5167630"/>
                  <a:gd name="connsiteY43" fmla="*/ 1009022 h 3474997"/>
                  <a:gd name="connsiteX44" fmla="*/ 955652 w 5167630"/>
                  <a:gd name="connsiteY44" fmla="*/ 910249 h 3474997"/>
                  <a:gd name="connsiteX45" fmla="*/ 1220705 w 5167630"/>
                  <a:gd name="connsiteY45" fmla="*/ 694390 h 3474997"/>
                  <a:gd name="connsiteX46" fmla="*/ 2444035 w 5167630"/>
                  <a:gd name="connsiteY46" fmla="*/ 99637 h 3474997"/>
                  <a:gd name="connsiteX47" fmla="*/ 2760515 w 5167630"/>
                  <a:gd name="connsiteY47" fmla="*/ 349 h 3474997"/>
                  <a:gd name="connsiteX0" fmla="*/ 2760515 w 5167630"/>
                  <a:gd name="connsiteY0" fmla="*/ 324 h 3474972"/>
                  <a:gd name="connsiteX1" fmla="*/ 3029684 w 5167630"/>
                  <a:gd name="connsiteY1" fmla="*/ 189136 h 3474972"/>
                  <a:gd name="connsiteX2" fmla="*/ 2798873 w 5167630"/>
                  <a:gd name="connsiteY2" fmla="*/ 584284 h 3474972"/>
                  <a:gd name="connsiteX3" fmla="*/ 2498162 w 5167630"/>
                  <a:gd name="connsiteY3" fmla="*/ 775598 h 3474972"/>
                  <a:gd name="connsiteX4" fmla="*/ 2561591 w 5167630"/>
                  <a:gd name="connsiteY4" fmla="*/ 873695 h 3474972"/>
                  <a:gd name="connsiteX5" fmla="*/ 4528781 w 5167630"/>
                  <a:gd name="connsiteY5" fmla="*/ 867673 h 3474972"/>
                  <a:gd name="connsiteX6" fmla="*/ 4806383 w 5167630"/>
                  <a:gd name="connsiteY6" fmla="*/ 1145275 h 3474972"/>
                  <a:gd name="connsiteX7" fmla="*/ 4528781 w 5167630"/>
                  <a:gd name="connsiteY7" fmla="*/ 1422877 h 3474972"/>
                  <a:gd name="connsiteX8" fmla="*/ 2853691 w 5167630"/>
                  <a:gd name="connsiteY8" fmla="*/ 1422877 h 3474972"/>
                  <a:gd name="connsiteX9" fmla="*/ 2853691 w 5167630"/>
                  <a:gd name="connsiteY9" fmla="*/ 1422879 h 3474972"/>
                  <a:gd name="connsiteX10" fmla="*/ 2730366 w 5167630"/>
                  <a:gd name="connsiteY10" fmla="*/ 1422879 h 3474972"/>
                  <a:gd name="connsiteX11" fmla="*/ 2665951 w 5167630"/>
                  <a:gd name="connsiteY11" fmla="*/ 1487294 h 3474972"/>
                  <a:gd name="connsiteX12" fmla="*/ 2730366 w 5167630"/>
                  <a:gd name="connsiteY12" fmla="*/ 1551709 h 3474972"/>
                  <a:gd name="connsiteX13" fmla="*/ 3727927 w 5167630"/>
                  <a:gd name="connsiteY13" fmla="*/ 1551709 h 3474972"/>
                  <a:gd name="connsiteX14" fmla="*/ 3727942 w 5167630"/>
                  <a:gd name="connsiteY14" fmla="*/ 1551706 h 3474972"/>
                  <a:gd name="connsiteX15" fmla="*/ 4890028 w 5167630"/>
                  <a:gd name="connsiteY15" fmla="*/ 1551706 h 3474972"/>
                  <a:gd name="connsiteX16" fmla="*/ 5167630 w 5167630"/>
                  <a:gd name="connsiteY16" fmla="*/ 1829308 h 3474972"/>
                  <a:gd name="connsiteX17" fmla="*/ 4890028 w 5167630"/>
                  <a:gd name="connsiteY17" fmla="*/ 2106910 h 3474972"/>
                  <a:gd name="connsiteX18" fmla="*/ 2853691 w 5167630"/>
                  <a:gd name="connsiteY18" fmla="*/ 2106910 h 3474972"/>
                  <a:gd name="connsiteX19" fmla="*/ 2853691 w 5167630"/>
                  <a:gd name="connsiteY19" fmla="*/ 2106911 h 3474972"/>
                  <a:gd name="connsiteX20" fmla="*/ 2730366 w 5167630"/>
                  <a:gd name="connsiteY20" fmla="*/ 2106911 h 3474972"/>
                  <a:gd name="connsiteX21" fmla="*/ 2665951 w 5167630"/>
                  <a:gd name="connsiteY21" fmla="*/ 2171326 h 3474972"/>
                  <a:gd name="connsiteX22" fmla="*/ 2730366 w 5167630"/>
                  <a:gd name="connsiteY22" fmla="*/ 2235740 h 3474972"/>
                  <a:gd name="connsiteX23" fmla="*/ 3727927 w 5167630"/>
                  <a:gd name="connsiteY23" fmla="*/ 2235741 h 3474972"/>
                  <a:gd name="connsiteX24" fmla="*/ 3727937 w 5167630"/>
                  <a:gd name="connsiteY24" fmla="*/ 2235739 h 3474972"/>
                  <a:gd name="connsiteX25" fmla="*/ 4528784 w 5167630"/>
                  <a:gd name="connsiteY25" fmla="*/ 2235739 h 3474972"/>
                  <a:gd name="connsiteX26" fmla="*/ 4806386 w 5167630"/>
                  <a:gd name="connsiteY26" fmla="*/ 2513341 h 3474972"/>
                  <a:gd name="connsiteX27" fmla="*/ 4528784 w 5167630"/>
                  <a:gd name="connsiteY27" fmla="*/ 2790943 h 3474972"/>
                  <a:gd name="connsiteX28" fmla="*/ 2853691 w 5167630"/>
                  <a:gd name="connsiteY28" fmla="*/ 2790943 h 3474972"/>
                  <a:gd name="connsiteX29" fmla="*/ 2853691 w 5167630"/>
                  <a:gd name="connsiteY29" fmla="*/ 2790945 h 3474972"/>
                  <a:gd name="connsiteX30" fmla="*/ 2730364 w 5167630"/>
                  <a:gd name="connsiteY30" fmla="*/ 2790945 h 3474972"/>
                  <a:gd name="connsiteX31" fmla="*/ 2665951 w 5167630"/>
                  <a:gd name="connsiteY31" fmla="*/ 2855358 h 3474972"/>
                  <a:gd name="connsiteX32" fmla="*/ 2730364 w 5167630"/>
                  <a:gd name="connsiteY32" fmla="*/ 2919771 h 3474972"/>
                  <a:gd name="connsiteX33" fmla="*/ 3727929 w 5167630"/>
                  <a:gd name="connsiteY33" fmla="*/ 2919771 h 3474972"/>
                  <a:gd name="connsiteX34" fmla="*/ 3727944 w 5167630"/>
                  <a:gd name="connsiteY34" fmla="*/ 2919768 h 3474972"/>
                  <a:gd name="connsiteX35" fmla="*/ 4087037 w 5167630"/>
                  <a:gd name="connsiteY35" fmla="*/ 2919768 h 3474972"/>
                  <a:gd name="connsiteX36" fmla="*/ 4364639 w 5167630"/>
                  <a:gd name="connsiteY36" fmla="*/ 3197370 h 3474972"/>
                  <a:gd name="connsiteX37" fmla="*/ 4087037 w 5167630"/>
                  <a:gd name="connsiteY37" fmla="*/ 3474972 h 3474972"/>
                  <a:gd name="connsiteX38" fmla="*/ 1714025 w 5167630"/>
                  <a:gd name="connsiteY38" fmla="*/ 3474972 h 3474972"/>
                  <a:gd name="connsiteX39" fmla="*/ 983851 w 5167630"/>
                  <a:gd name="connsiteY39" fmla="*/ 3357639 h 3474972"/>
                  <a:gd name="connsiteX40" fmla="*/ 503045 w 5167630"/>
                  <a:gd name="connsiteY40" fmla="*/ 3197370 h 3474972"/>
                  <a:gd name="connsiteX41" fmla="*/ 0 w 5167630"/>
                  <a:gd name="connsiteY41" fmla="*/ 3197370 h 3474972"/>
                  <a:gd name="connsiteX42" fmla="*/ 0 w 5167630"/>
                  <a:gd name="connsiteY42" fmla="*/ 1008997 h 3474972"/>
                  <a:gd name="connsiteX43" fmla="*/ 665839 w 5167630"/>
                  <a:gd name="connsiteY43" fmla="*/ 1008997 h 3474972"/>
                  <a:gd name="connsiteX44" fmla="*/ 955652 w 5167630"/>
                  <a:gd name="connsiteY44" fmla="*/ 910224 h 3474972"/>
                  <a:gd name="connsiteX45" fmla="*/ 1220705 w 5167630"/>
                  <a:gd name="connsiteY45" fmla="*/ 694365 h 3474972"/>
                  <a:gd name="connsiteX46" fmla="*/ 2444035 w 5167630"/>
                  <a:gd name="connsiteY46" fmla="*/ 99612 h 3474972"/>
                  <a:gd name="connsiteX47" fmla="*/ 2760515 w 5167630"/>
                  <a:gd name="connsiteY47" fmla="*/ 324 h 3474972"/>
                  <a:gd name="connsiteX0" fmla="*/ 2870052 w 5167630"/>
                  <a:gd name="connsiteY0" fmla="*/ 210 h 3541533"/>
                  <a:gd name="connsiteX1" fmla="*/ 3029684 w 5167630"/>
                  <a:gd name="connsiteY1" fmla="*/ 255697 h 3541533"/>
                  <a:gd name="connsiteX2" fmla="*/ 2798873 w 5167630"/>
                  <a:gd name="connsiteY2" fmla="*/ 650845 h 3541533"/>
                  <a:gd name="connsiteX3" fmla="*/ 2498162 w 5167630"/>
                  <a:gd name="connsiteY3" fmla="*/ 842159 h 3541533"/>
                  <a:gd name="connsiteX4" fmla="*/ 2561591 w 5167630"/>
                  <a:gd name="connsiteY4" fmla="*/ 940256 h 3541533"/>
                  <a:gd name="connsiteX5" fmla="*/ 4528781 w 5167630"/>
                  <a:gd name="connsiteY5" fmla="*/ 934234 h 3541533"/>
                  <a:gd name="connsiteX6" fmla="*/ 4806383 w 5167630"/>
                  <a:gd name="connsiteY6" fmla="*/ 1211836 h 3541533"/>
                  <a:gd name="connsiteX7" fmla="*/ 4528781 w 5167630"/>
                  <a:gd name="connsiteY7" fmla="*/ 1489438 h 3541533"/>
                  <a:gd name="connsiteX8" fmla="*/ 2853691 w 5167630"/>
                  <a:gd name="connsiteY8" fmla="*/ 1489438 h 3541533"/>
                  <a:gd name="connsiteX9" fmla="*/ 2853691 w 5167630"/>
                  <a:gd name="connsiteY9" fmla="*/ 1489440 h 3541533"/>
                  <a:gd name="connsiteX10" fmla="*/ 2730366 w 5167630"/>
                  <a:gd name="connsiteY10" fmla="*/ 1489440 h 3541533"/>
                  <a:gd name="connsiteX11" fmla="*/ 2665951 w 5167630"/>
                  <a:gd name="connsiteY11" fmla="*/ 1553855 h 3541533"/>
                  <a:gd name="connsiteX12" fmla="*/ 2730366 w 5167630"/>
                  <a:gd name="connsiteY12" fmla="*/ 1618270 h 3541533"/>
                  <a:gd name="connsiteX13" fmla="*/ 3727927 w 5167630"/>
                  <a:gd name="connsiteY13" fmla="*/ 1618270 h 3541533"/>
                  <a:gd name="connsiteX14" fmla="*/ 3727942 w 5167630"/>
                  <a:gd name="connsiteY14" fmla="*/ 1618267 h 3541533"/>
                  <a:gd name="connsiteX15" fmla="*/ 4890028 w 5167630"/>
                  <a:gd name="connsiteY15" fmla="*/ 1618267 h 3541533"/>
                  <a:gd name="connsiteX16" fmla="*/ 5167630 w 5167630"/>
                  <a:gd name="connsiteY16" fmla="*/ 1895869 h 3541533"/>
                  <a:gd name="connsiteX17" fmla="*/ 4890028 w 5167630"/>
                  <a:gd name="connsiteY17" fmla="*/ 2173471 h 3541533"/>
                  <a:gd name="connsiteX18" fmla="*/ 2853691 w 5167630"/>
                  <a:gd name="connsiteY18" fmla="*/ 2173471 h 3541533"/>
                  <a:gd name="connsiteX19" fmla="*/ 2853691 w 5167630"/>
                  <a:gd name="connsiteY19" fmla="*/ 2173472 h 3541533"/>
                  <a:gd name="connsiteX20" fmla="*/ 2730366 w 5167630"/>
                  <a:gd name="connsiteY20" fmla="*/ 2173472 h 3541533"/>
                  <a:gd name="connsiteX21" fmla="*/ 2665951 w 5167630"/>
                  <a:gd name="connsiteY21" fmla="*/ 2237887 h 3541533"/>
                  <a:gd name="connsiteX22" fmla="*/ 2730366 w 5167630"/>
                  <a:gd name="connsiteY22" fmla="*/ 2302301 h 3541533"/>
                  <a:gd name="connsiteX23" fmla="*/ 3727927 w 5167630"/>
                  <a:gd name="connsiteY23" fmla="*/ 2302302 h 3541533"/>
                  <a:gd name="connsiteX24" fmla="*/ 3727937 w 5167630"/>
                  <a:gd name="connsiteY24" fmla="*/ 2302300 h 3541533"/>
                  <a:gd name="connsiteX25" fmla="*/ 4528784 w 5167630"/>
                  <a:gd name="connsiteY25" fmla="*/ 2302300 h 3541533"/>
                  <a:gd name="connsiteX26" fmla="*/ 4806386 w 5167630"/>
                  <a:gd name="connsiteY26" fmla="*/ 2579902 h 3541533"/>
                  <a:gd name="connsiteX27" fmla="*/ 4528784 w 5167630"/>
                  <a:gd name="connsiteY27" fmla="*/ 2857504 h 3541533"/>
                  <a:gd name="connsiteX28" fmla="*/ 2853691 w 5167630"/>
                  <a:gd name="connsiteY28" fmla="*/ 2857504 h 3541533"/>
                  <a:gd name="connsiteX29" fmla="*/ 2853691 w 5167630"/>
                  <a:gd name="connsiteY29" fmla="*/ 2857506 h 3541533"/>
                  <a:gd name="connsiteX30" fmla="*/ 2730364 w 5167630"/>
                  <a:gd name="connsiteY30" fmla="*/ 2857506 h 3541533"/>
                  <a:gd name="connsiteX31" fmla="*/ 2665951 w 5167630"/>
                  <a:gd name="connsiteY31" fmla="*/ 2921919 h 3541533"/>
                  <a:gd name="connsiteX32" fmla="*/ 2730364 w 5167630"/>
                  <a:gd name="connsiteY32" fmla="*/ 2986332 h 3541533"/>
                  <a:gd name="connsiteX33" fmla="*/ 3727929 w 5167630"/>
                  <a:gd name="connsiteY33" fmla="*/ 2986332 h 3541533"/>
                  <a:gd name="connsiteX34" fmla="*/ 3727944 w 5167630"/>
                  <a:gd name="connsiteY34" fmla="*/ 2986329 h 3541533"/>
                  <a:gd name="connsiteX35" fmla="*/ 4087037 w 5167630"/>
                  <a:gd name="connsiteY35" fmla="*/ 2986329 h 3541533"/>
                  <a:gd name="connsiteX36" fmla="*/ 4364639 w 5167630"/>
                  <a:gd name="connsiteY36" fmla="*/ 3263931 h 3541533"/>
                  <a:gd name="connsiteX37" fmla="*/ 4087037 w 5167630"/>
                  <a:gd name="connsiteY37" fmla="*/ 3541533 h 3541533"/>
                  <a:gd name="connsiteX38" fmla="*/ 1714025 w 5167630"/>
                  <a:gd name="connsiteY38" fmla="*/ 3541533 h 3541533"/>
                  <a:gd name="connsiteX39" fmla="*/ 983851 w 5167630"/>
                  <a:gd name="connsiteY39" fmla="*/ 3424200 h 3541533"/>
                  <a:gd name="connsiteX40" fmla="*/ 503045 w 5167630"/>
                  <a:gd name="connsiteY40" fmla="*/ 3263931 h 3541533"/>
                  <a:gd name="connsiteX41" fmla="*/ 0 w 5167630"/>
                  <a:gd name="connsiteY41" fmla="*/ 3263931 h 3541533"/>
                  <a:gd name="connsiteX42" fmla="*/ 0 w 5167630"/>
                  <a:gd name="connsiteY42" fmla="*/ 1075558 h 3541533"/>
                  <a:gd name="connsiteX43" fmla="*/ 665839 w 5167630"/>
                  <a:gd name="connsiteY43" fmla="*/ 1075558 h 3541533"/>
                  <a:gd name="connsiteX44" fmla="*/ 955652 w 5167630"/>
                  <a:gd name="connsiteY44" fmla="*/ 976785 h 3541533"/>
                  <a:gd name="connsiteX45" fmla="*/ 1220705 w 5167630"/>
                  <a:gd name="connsiteY45" fmla="*/ 760926 h 3541533"/>
                  <a:gd name="connsiteX46" fmla="*/ 2444035 w 5167630"/>
                  <a:gd name="connsiteY46" fmla="*/ 166173 h 3541533"/>
                  <a:gd name="connsiteX47" fmla="*/ 2870052 w 5167630"/>
                  <a:gd name="connsiteY47" fmla="*/ 210 h 3541533"/>
                  <a:gd name="connsiteX0" fmla="*/ 2870052 w 5167630"/>
                  <a:gd name="connsiteY0" fmla="*/ 210 h 3541533"/>
                  <a:gd name="connsiteX1" fmla="*/ 3077309 w 5167630"/>
                  <a:gd name="connsiteY1" fmla="*/ 255697 h 3541533"/>
                  <a:gd name="connsiteX2" fmla="*/ 2798873 w 5167630"/>
                  <a:gd name="connsiteY2" fmla="*/ 650845 h 3541533"/>
                  <a:gd name="connsiteX3" fmla="*/ 2498162 w 5167630"/>
                  <a:gd name="connsiteY3" fmla="*/ 842159 h 3541533"/>
                  <a:gd name="connsiteX4" fmla="*/ 2561591 w 5167630"/>
                  <a:gd name="connsiteY4" fmla="*/ 940256 h 3541533"/>
                  <a:gd name="connsiteX5" fmla="*/ 4528781 w 5167630"/>
                  <a:gd name="connsiteY5" fmla="*/ 934234 h 3541533"/>
                  <a:gd name="connsiteX6" fmla="*/ 4806383 w 5167630"/>
                  <a:gd name="connsiteY6" fmla="*/ 1211836 h 3541533"/>
                  <a:gd name="connsiteX7" fmla="*/ 4528781 w 5167630"/>
                  <a:gd name="connsiteY7" fmla="*/ 1489438 h 3541533"/>
                  <a:gd name="connsiteX8" fmla="*/ 2853691 w 5167630"/>
                  <a:gd name="connsiteY8" fmla="*/ 1489438 h 3541533"/>
                  <a:gd name="connsiteX9" fmla="*/ 2853691 w 5167630"/>
                  <a:gd name="connsiteY9" fmla="*/ 1489440 h 3541533"/>
                  <a:gd name="connsiteX10" fmla="*/ 2730366 w 5167630"/>
                  <a:gd name="connsiteY10" fmla="*/ 1489440 h 3541533"/>
                  <a:gd name="connsiteX11" fmla="*/ 2665951 w 5167630"/>
                  <a:gd name="connsiteY11" fmla="*/ 1553855 h 3541533"/>
                  <a:gd name="connsiteX12" fmla="*/ 2730366 w 5167630"/>
                  <a:gd name="connsiteY12" fmla="*/ 1618270 h 3541533"/>
                  <a:gd name="connsiteX13" fmla="*/ 3727927 w 5167630"/>
                  <a:gd name="connsiteY13" fmla="*/ 1618270 h 3541533"/>
                  <a:gd name="connsiteX14" fmla="*/ 3727942 w 5167630"/>
                  <a:gd name="connsiteY14" fmla="*/ 1618267 h 3541533"/>
                  <a:gd name="connsiteX15" fmla="*/ 4890028 w 5167630"/>
                  <a:gd name="connsiteY15" fmla="*/ 1618267 h 3541533"/>
                  <a:gd name="connsiteX16" fmla="*/ 5167630 w 5167630"/>
                  <a:gd name="connsiteY16" fmla="*/ 1895869 h 3541533"/>
                  <a:gd name="connsiteX17" fmla="*/ 4890028 w 5167630"/>
                  <a:gd name="connsiteY17" fmla="*/ 2173471 h 3541533"/>
                  <a:gd name="connsiteX18" fmla="*/ 2853691 w 5167630"/>
                  <a:gd name="connsiteY18" fmla="*/ 2173471 h 3541533"/>
                  <a:gd name="connsiteX19" fmla="*/ 2853691 w 5167630"/>
                  <a:gd name="connsiteY19" fmla="*/ 2173472 h 3541533"/>
                  <a:gd name="connsiteX20" fmla="*/ 2730366 w 5167630"/>
                  <a:gd name="connsiteY20" fmla="*/ 2173472 h 3541533"/>
                  <a:gd name="connsiteX21" fmla="*/ 2665951 w 5167630"/>
                  <a:gd name="connsiteY21" fmla="*/ 2237887 h 3541533"/>
                  <a:gd name="connsiteX22" fmla="*/ 2730366 w 5167630"/>
                  <a:gd name="connsiteY22" fmla="*/ 2302301 h 3541533"/>
                  <a:gd name="connsiteX23" fmla="*/ 3727927 w 5167630"/>
                  <a:gd name="connsiteY23" fmla="*/ 2302302 h 3541533"/>
                  <a:gd name="connsiteX24" fmla="*/ 3727937 w 5167630"/>
                  <a:gd name="connsiteY24" fmla="*/ 2302300 h 3541533"/>
                  <a:gd name="connsiteX25" fmla="*/ 4528784 w 5167630"/>
                  <a:gd name="connsiteY25" fmla="*/ 2302300 h 3541533"/>
                  <a:gd name="connsiteX26" fmla="*/ 4806386 w 5167630"/>
                  <a:gd name="connsiteY26" fmla="*/ 2579902 h 3541533"/>
                  <a:gd name="connsiteX27" fmla="*/ 4528784 w 5167630"/>
                  <a:gd name="connsiteY27" fmla="*/ 2857504 h 3541533"/>
                  <a:gd name="connsiteX28" fmla="*/ 2853691 w 5167630"/>
                  <a:gd name="connsiteY28" fmla="*/ 2857504 h 3541533"/>
                  <a:gd name="connsiteX29" fmla="*/ 2853691 w 5167630"/>
                  <a:gd name="connsiteY29" fmla="*/ 2857506 h 3541533"/>
                  <a:gd name="connsiteX30" fmla="*/ 2730364 w 5167630"/>
                  <a:gd name="connsiteY30" fmla="*/ 2857506 h 3541533"/>
                  <a:gd name="connsiteX31" fmla="*/ 2665951 w 5167630"/>
                  <a:gd name="connsiteY31" fmla="*/ 2921919 h 3541533"/>
                  <a:gd name="connsiteX32" fmla="*/ 2730364 w 5167630"/>
                  <a:gd name="connsiteY32" fmla="*/ 2986332 h 3541533"/>
                  <a:gd name="connsiteX33" fmla="*/ 3727929 w 5167630"/>
                  <a:gd name="connsiteY33" fmla="*/ 2986332 h 3541533"/>
                  <a:gd name="connsiteX34" fmla="*/ 3727944 w 5167630"/>
                  <a:gd name="connsiteY34" fmla="*/ 2986329 h 3541533"/>
                  <a:gd name="connsiteX35" fmla="*/ 4087037 w 5167630"/>
                  <a:gd name="connsiteY35" fmla="*/ 2986329 h 3541533"/>
                  <a:gd name="connsiteX36" fmla="*/ 4364639 w 5167630"/>
                  <a:gd name="connsiteY36" fmla="*/ 3263931 h 3541533"/>
                  <a:gd name="connsiteX37" fmla="*/ 4087037 w 5167630"/>
                  <a:gd name="connsiteY37" fmla="*/ 3541533 h 3541533"/>
                  <a:gd name="connsiteX38" fmla="*/ 1714025 w 5167630"/>
                  <a:gd name="connsiteY38" fmla="*/ 3541533 h 3541533"/>
                  <a:gd name="connsiteX39" fmla="*/ 983851 w 5167630"/>
                  <a:gd name="connsiteY39" fmla="*/ 3424200 h 3541533"/>
                  <a:gd name="connsiteX40" fmla="*/ 503045 w 5167630"/>
                  <a:gd name="connsiteY40" fmla="*/ 3263931 h 3541533"/>
                  <a:gd name="connsiteX41" fmla="*/ 0 w 5167630"/>
                  <a:gd name="connsiteY41" fmla="*/ 3263931 h 3541533"/>
                  <a:gd name="connsiteX42" fmla="*/ 0 w 5167630"/>
                  <a:gd name="connsiteY42" fmla="*/ 1075558 h 3541533"/>
                  <a:gd name="connsiteX43" fmla="*/ 665839 w 5167630"/>
                  <a:gd name="connsiteY43" fmla="*/ 1075558 h 3541533"/>
                  <a:gd name="connsiteX44" fmla="*/ 955652 w 5167630"/>
                  <a:gd name="connsiteY44" fmla="*/ 976785 h 3541533"/>
                  <a:gd name="connsiteX45" fmla="*/ 1220705 w 5167630"/>
                  <a:gd name="connsiteY45" fmla="*/ 760926 h 3541533"/>
                  <a:gd name="connsiteX46" fmla="*/ 2444035 w 5167630"/>
                  <a:gd name="connsiteY46" fmla="*/ 166173 h 3541533"/>
                  <a:gd name="connsiteX47" fmla="*/ 2870052 w 5167630"/>
                  <a:gd name="connsiteY47" fmla="*/ 210 h 3541533"/>
                  <a:gd name="connsiteX0" fmla="*/ 2870052 w 5167630"/>
                  <a:gd name="connsiteY0" fmla="*/ 210 h 3541533"/>
                  <a:gd name="connsiteX1" fmla="*/ 3077309 w 5167630"/>
                  <a:gd name="connsiteY1" fmla="*/ 255697 h 3541533"/>
                  <a:gd name="connsiteX2" fmla="*/ 2798873 w 5167630"/>
                  <a:gd name="connsiteY2" fmla="*/ 650845 h 3541533"/>
                  <a:gd name="connsiteX3" fmla="*/ 2498162 w 5167630"/>
                  <a:gd name="connsiteY3" fmla="*/ 842159 h 3541533"/>
                  <a:gd name="connsiteX4" fmla="*/ 2561591 w 5167630"/>
                  <a:gd name="connsiteY4" fmla="*/ 940256 h 3541533"/>
                  <a:gd name="connsiteX5" fmla="*/ 4528781 w 5167630"/>
                  <a:gd name="connsiteY5" fmla="*/ 934234 h 3541533"/>
                  <a:gd name="connsiteX6" fmla="*/ 4806383 w 5167630"/>
                  <a:gd name="connsiteY6" fmla="*/ 1211836 h 3541533"/>
                  <a:gd name="connsiteX7" fmla="*/ 4528781 w 5167630"/>
                  <a:gd name="connsiteY7" fmla="*/ 1489438 h 3541533"/>
                  <a:gd name="connsiteX8" fmla="*/ 2853691 w 5167630"/>
                  <a:gd name="connsiteY8" fmla="*/ 1489438 h 3541533"/>
                  <a:gd name="connsiteX9" fmla="*/ 2853691 w 5167630"/>
                  <a:gd name="connsiteY9" fmla="*/ 1489440 h 3541533"/>
                  <a:gd name="connsiteX10" fmla="*/ 2730366 w 5167630"/>
                  <a:gd name="connsiteY10" fmla="*/ 1489440 h 3541533"/>
                  <a:gd name="connsiteX11" fmla="*/ 2665951 w 5167630"/>
                  <a:gd name="connsiteY11" fmla="*/ 1553855 h 3541533"/>
                  <a:gd name="connsiteX12" fmla="*/ 2730366 w 5167630"/>
                  <a:gd name="connsiteY12" fmla="*/ 1618270 h 3541533"/>
                  <a:gd name="connsiteX13" fmla="*/ 3727927 w 5167630"/>
                  <a:gd name="connsiteY13" fmla="*/ 1618270 h 3541533"/>
                  <a:gd name="connsiteX14" fmla="*/ 3727942 w 5167630"/>
                  <a:gd name="connsiteY14" fmla="*/ 1618267 h 3541533"/>
                  <a:gd name="connsiteX15" fmla="*/ 4890028 w 5167630"/>
                  <a:gd name="connsiteY15" fmla="*/ 1618267 h 3541533"/>
                  <a:gd name="connsiteX16" fmla="*/ 5167630 w 5167630"/>
                  <a:gd name="connsiteY16" fmla="*/ 1895869 h 3541533"/>
                  <a:gd name="connsiteX17" fmla="*/ 4890028 w 5167630"/>
                  <a:gd name="connsiteY17" fmla="*/ 2173471 h 3541533"/>
                  <a:gd name="connsiteX18" fmla="*/ 2853691 w 5167630"/>
                  <a:gd name="connsiteY18" fmla="*/ 2173471 h 3541533"/>
                  <a:gd name="connsiteX19" fmla="*/ 2853691 w 5167630"/>
                  <a:gd name="connsiteY19" fmla="*/ 2173472 h 3541533"/>
                  <a:gd name="connsiteX20" fmla="*/ 2730366 w 5167630"/>
                  <a:gd name="connsiteY20" fmla="*/ 2173472 h 3541533"/>
                  <a:gd name="connsiteX21" fmla="*/ 2665951 w 5167630"/>
                  <a:gd name="connsiteY21" fmla="*/ 2237887 h 3541533"/>
                  <a:gd name="connsiteX22" fmla="*/ 2730366 w 5167630"/>
                  <a:gd name="connsiteY22" fmla="*/ 2302301 h 3541533"/>
                  <a:gd name="connsiteX23" fmla="*/ 3727927 w 5167630"/>
                  <a:gd name="connsiteY23" fmla="*/ 2302302 h 3541533"/>
                  <a:gd name="connsiteX24" fmla="*/ 3727937 w 5167630"/>
                  <a:gd name="connsiteY24" fmla="*/ 2302300 h 3541533"/>
                  <a:gd name="connsiteX25" fmla="*/ 4528784 w 5167630"/>
                  <a:gd name="connsiteY25" fmla="*/ 2302300 h 3541533"/>
                  <a:gd name="connsiteX26" fmla="*/ 4806386 w 5167630"/>
                  <a:gd name="connsiteY26" fmla="*/ 2579902 h 3541533"/>
                  <a:gd name="connsiteX27" fmla="*/ 4528784 w 5167630"/>
                  <a:gd name="connsiteY27" fmla="*/ 2857504 h 3541533"/>
                  <a:gd name="connsiteX28" fmla="*/ 2853691 w 5167630"/>
                  <a:gd name="connsiteY28" fmla="*/ 2857504 h 3541533"/>
                  <a:gd name="connsiteX29" fmla="*/ 2853691 w 5167630"/>
                  <a:gd name="connsiteY29" fmla="*/ 2857506 h 3541533"/>
                  <a:gd name="connsiteX30" fmla="*/ 2730364 w 5167630"/>
                  <a:gd name="connsiteY30" fmla="*/ 2857506 h 3541533"/>
                  <a:gd name="connsiteX31" fmla="*/ 2665951 w 5167630"/>
                  <a:gd name="connsiteY31" fmla="*/ 2921919 h 3541533"/>
                  <a:gd name="connsiteX32" fmla="*/ 2730364 w 5167630"/>
                  <a:gd name="connsiteY32" fmla="*/ 2986332 h 3541533"/>
                  <a:gd name="connsiteX33" fmla="*/ 3727929 w 5167630"/>
                  <a:gd name="connsiteY33" fmla="*/ 2986332 h 3541533"/>
                  <a:gd name="connsiteX34" fmla="*/ 3727944 w 5167630"/>
                  <a:gd name="connsiteY34" fmla="*/ 2986329 h 3541533"/>
                  <a:gd name="connsiteX35" fmla="*/ 4087037 w 5167630"/>
                  <a:gd name="connsiteY35" fmla="*/ 2986329 h 3541533"/>
                  <a:gd name="connsiteX36" fmla="*/ 4364639 w 5167630"/>
                  <a:gd name="connsiteY36" fmla="*/ 3263931 h 3541533"/>
                  <a:gd name="connsiteX37" fmla="*/ 4087037 w 5167630"/>
                  <a:gd name="connsiteY37" fmla="*/ 3541533 h 3541533"/>
                  <a:gd name="connsiteX38" fmla="*/ 1714025 w 5167630"/>
                  <a:gd name="connsiteY38" fmla="*/ 3541533 h 3541533"/>
                  <a:gd name="connsiteX39" fmla="*/ 983851 w 5167630"/>
                  <a:gd name="connsiteY39" fmla="*/ 3424200 h 3541533"/>
                  <a:gd name="connsiteX40" fmla="*/ 503045 w 5167630"/>
                  <a:gd name="connsiteY40" fmla="*/ 3263931 h 3541533"/>
                  <a:gd name="connsiteX41" fmla="*/ 0 w 5167630"/>
                  <a:gd name="connsiteY41" fmla="*/ 3263931 h 3541533"/>
                  <a:gd name="connsiteX42" fmla="*/ 0 w 5167630"/>
                  <a:gd name="connsiteY42" fmla="*/ 1075558 h 3541533"/>
                  <a:gd name="connsiteX43" fmla="*/ 665839 w 5167630"/>
                  <a:gd name="connsiteY43" fmla="*/ 1075558 h 3541533"/>
                  <a:gd name="connsiteX44" fmla="*/ 955652 w 5167630"/>
                  <a:gd name="connsiteY44" fmla="*/ 976785 h 3541533"/>
                  <a:gd name="connsiteX45" fmla="*/ 1220705 w 5167630"/>
                  <a:gd name="connsiteY45" fmla="*/ 760926 h 3541533"/>
                  <a:gd name="connsiteX46" fmla="*/ 2444035 w 5167630"/>
                  <a:gd name="connsiteY46" fmla="*/ 166173 h 3541533"/>
                  <a:gd name="connsiteX47" fmla="*/ 2870052 w 5167630"/>
                  <a:gd name="connsiteY47" fmla="*/ 210 h 354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167630" h="3541533">
                    <a:moveTo>
                      <a:pt x="2870052" y="210"/>
                    </a:moveTo>
                    <a:cubicBezTo>
                      <a:pt x="2997585" y="-6477"/>
                      <a:pt x="3089172" y="147258"/>
                      <a:pt x="3077309" y="255697"/>
                    </a:cubicBezTo>
                    <a:cubicBezTo>
                      <a:pt x="3065446" y="364136"/>
                      <a:pt x="2943022" y="557864"/>
                      <a:pt x="2798873" y="650845"/>
                    </a:cubicBezTo>
                    <a:cubicBezTo>
                      <a:pt x="2654724" y="743826"/>
                      <a:pt x="2537709" y="793924"/>
                      <a:pt x="2498162" y="842159"/>
                    </a:cubicBezTo>
                    <a:cubicBezTo>
                      <a:pt x="2458615" y="890394"/>
                      <a:pt x="2448315" y="935494"/>
                      <a:pt x="2561591" y="940256"/>
                    </a:cubicBezTo>
                    <a:lnTo>
                      <a:pt x="4528781" y="934234"/>
                    </a:lnTo>
                    <a:cubicBezTo>
                      <a:pt x="4682096" y="934234"/>
                      <a:pt x="4806383" y="1058521"/>
                      <a:pt x="4806383" y="1211836"/>
                    </a:cubicBezTo>
                    <a:cubicBezTo>
                      <a:pt x="4806383" y="1365151"/>
                      <a:pt x="4682096" y="1489438"/>
                      <a:pt x="4528781" y="1489438"/>
                    </a:cubicBezTo>
                    <a:lnTo>
                      <a:pt x="2853691" y="1489438"/>
                    </a:lnTo>
                    <a:lnTo>
                      <a:pt x="2853691" y="1489440"/>
                    </a:lnTo>
                    <a:lnTo>
                      <a:pt x="2730366" y="1489440"/>
                    </a:lnTo>
                    <a:cubicBezTo>
                      <a:pt x="2694791" y="1489440"/>
                      <a:pt x="2665951" y="1518280"/>
                      <a:pt x="2665951" y="1553855"/>
                    </a:cubicBezTo>
                    <a:cubicBezTo>
                      <a:pt x="2665951" y="1589430"/>
                      <a:pt x="2694791" y="1618270"/>
                      <a:pt x="2730366" y="1618270"/>
                    </a:cubicBezTo>
                    <a:lnTo>
                      <a:pt x="3727927" y="1618270"/>
                    </a:lnTo>
                    <a:cubicBezTo>
                      <a:pt x="3727932" y="1618270"/>
                      <a:pt x="3727937" y="1618270"/>
                      <a:pt x="3727942" y="1618267"/>
                    </a:cubicBezTo>
                    <a:lnTo>
                      <a:pt x="4890028" y="1618267"/>
                    </a:lnTo>
                    <a:cubicBezTo>
                      <a:pt x="5043343" y="1618267"/>
                      <a:pt x="5167630" y="1742554"/>
                      <a:pt x="5167630" y="1895869"/>
                    </a:cubicBezTo>
                    <a:cubicBezTo>
                      <a:pt x="5167630" y="2049184"/>
                      <a:pt x="5043343" y="2173471"/>
                      <a:pt x="4890028" y="2173471"/>
                    </a:cubicBezTo>
                    <a:lnTo>
                      <a:pt x="2853691" y="2173471"/>
                    </a:lnTo>
                    <a:lnTo>
                      <a:pt x="2853691" y="2173472"/>
                    </a:lnTo>
                    <a:lnTo>
                      <a:pt x="2730366" y="2173472"/>
                    </a:lnTo>
                    <a:cubicBezTo>
                      <a:pt x="2694791" y="2173472"/>
                      <a:pt x="2665952" y="2202312"/>
                      <a:pt x="2665951" y="2237887"/>
                    </a:cubicBezTo>
                    <a:cubicBezTo>
                      <a:pt x="2665952" y="2273462"/>
                      <a:pt x="2694791" y="2302301"/>
                      <a:pt x="2730366" y="2302301"/>
                    </a:cubicBezTo>
                    <a:lnTo>
                      <a:pt x="3727927" y="2302302"/>
                    </a:lnTo>
                    <a:cubicBezTo>
                      <a:pt x="3727931" y="2302302"/>
                      <a:pt x="3727934" y="2302302"/>
                      <a:pt x="3727937" y="2302300"/>
                    </a:cubicBezTo>
                    <a:lnTo>
                      <a:pt x="4528784" y="2302300"/>
                    </a:lnTo>
                    <a:cubicBezTo>
                      <a:pt x="4682099" y="2302300"/>
                      <a:pt x="4806386" y="2426587"/>
                      <a:pt x="4806386" y="2579902"/>
                    </a:cubicBezTo>
                    <a:cubicBezTo>
                      <a:pt x="4806386" y="2733217"/>
                      <a:pt x="4682099" y="2857504"/>
                      <a:pt x="4528784" y="2857504"/>
                    </a:cubicBezTo>
                    <a:lnTo>
                      <a:pt x="2853691" y="2857504"/>
                    </a:lnTo>
                    <a:lnTo>
                      <a:pt x="2853691" y="2857506"/>
                    </a:lnTo>
                    <a:lnTo>
                      <a:pt x="2730364" y="2857506"/>
                    </a:lnTo>
                    <a:cubicBezTo>
                      <a:pt x="2694790" y="2857506"/>
                      <a:pt x="2665951" y="2886345"/>
                      <a:pt x="2665951" y="2921919"/>
                    </a:cubicBezTo>
                    <a:cubicBezTo>
                      <a:pt x="2665951" y="2957493"/>
                      <a:pt x="2694790" y="2986332"/>
                      <a:pt x="2730364" y="2986332"/>
                    </a:cubicBezTo>
                    <a:lnTo>
                      <a:pt x="3727929" y="2986332"/>
                    </a:lnTo>
                    <a:cubicBezTo>
                      <a:pt x="3727934" y="2986332"/>
                      <a:pt x="3727939" y="2986332"/>
                      <a:pt x="3727944" y="2986329"/>
                    </a:cubicBezTo>
                    <a:lnTo>
                      <a:pt x="4087037" y="2986329"/>
                    </a:lnTo>
                    <a:cubicBezTo>
                      <a:pt x="4240352" y="2986329"/>
                      <a:pt x="4364639" y="3110616"/>
                      <a:pt x="4364639" y="3263931"/>
                    </a:cubicBezTo>
                    <a:cubicBezTo>
                      <a:pt x="4364639" y="3417246"/>
                      <a:pt x="4240352" y="3541533"/>
                      <a:pt x="4087037" y="3541533"/>
                    </a:cubicBezTo>
                    <a:lnTo>
                      <a:pt x="1714025" y="3541533"/>
                    </a:lnTo>
                    <a:cubicBezTo>
                      <a:pt x="1196827" y="3521978"/>
                      <a:pt x="1185681" y="3470467"/>
                      <a:pt x="983851" y="3424200"/>
                    </a:cubicBezTo>
                    <a:cubicBezTo>
                      <a:pt x="782021" y="3377933"/>
                      <a:pt x="667020" y="3290642"/>
                      <a:pt x="503045" y="3263931"/>
                    </a:cubicBezTo>
                    <a:cubicBezTo>
                      <a:pt x="339070" y="3237220"/>
                      <a:pt x="248941" y="3234960"/>
                      <a:pt x="0" y="3263931"/>
                    </a:cubicBezTo>
                    <a:lnTo>
                      <a:pt x="0" y="1075558"/>
                    </a:lnTo>
                    <a:lnTo>
                      <a:pt x="665839" y="1075558"/>
                    </a:lnTo>
                    <a:cubicBezTo>
                      <a:pt x="832258" y="1056715"/>
                      <a:pt x="859924" y="1066817"/>
                      <a:pt x="955652" y="976785"/>
                    </a:cubicBezTo>
                    <a:cubicBezTo>
                      <a:pt x="1051380" y="886753"/>
                      <a:pt x="1134689" y="802745"/>
                      <a:pt x="1220705" y="760926"/>
                    </a:cubicBezTo>
                    <a:cubicBezTo>
                      <a:pt x="1755482" y="422975"/>
                      <a:pt x="2017208" y="339024"/>
                      <a:pt x="2444035" y="166173"/>
                    </a:cubicBezTo>
                    <a:cubicBezTo>
                      <a:pt x="2484728" y="146389"/>
                      <a:pt x="2827541" y="2439"/>
                      <a:pt x="2870052" y="21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0" name="Oval 69"/>
              <p:cNvSpPr/>
              <p:nvPr/>
            </p:nvSpPr>
            <p:spPr>
              <a:xfrm>
                <a:off x="1561137" y="3295433"/>
                <a:ext cx="180000" cy="180000"/>
              </a:xfrm>
              <a:prstGeom prst="ellipse">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1" name="Freeform 5"/>
              <p:cNvSpPr>
                <a:spLocks/>
              </p:cNvSpPr>
              <p:nvPr/>
            </p:nvSpPr>
            <p:spPr bwMode="auto">
              <a:xfrm>
                <a:off x="1614561" y="3321722"/>
                <a:ext cx="93667" cy="142250"/>
              </a:xfrm>
              <a:custGeom>
                <a:avLst/>
                <a:gdLst>
                  <a:gd name="T0" fmla="*/ 250 w 455"/>
                  <a:gd name="T1" fmla="*/ 264 h 691"/>
                  <a:gd name="T2" fmla="*/ 455 w 455"/>
                  <a:gd name="T3" fmla="*/ 0 h 691"/>
                  <a:gd name="T4" fmla="*/ 183 w 455"/>
                  <a:gd name="T5" fmla="*/ 28 h 691"/>
                  <a:gd name="T6" fmla="*/ 25 w 455"/>
                  <a:gd name="T7" fmla="*/ 357 h 691"/>
                  <a:gd name="T8" fmla="*/ 92 w 455"/>
                  <a:gd name="T9" fmla="*/ 350 h 691"/>
                  <a:gd name="T10" fmla="*/ 27 w 455"/>
                  <a:gd name="T11" fmla="*/ 489 h 691"/>
                  <a:gd name="T12" fmla="*/ 101 w 455"/>
                  <a:gd name="T13" fmla="*/ 479 h 691"/>
                  <a:gd name="T14" fmla="*/ 0 w 455"/>
                  <a:gd name="T15" fmla="*/ 691 h 691"/>
                  <a:gd name="T16" fmla="*/ 277 w 455"/>
                  <a:gd name="T17" fmla="*/ 408 h 691"/>
                  <a:gd name="T18" fmla="*/ 214 w 455"/>
                  <a:gd name="T19" fmla="*/ 417 h 691"/>
                  <a:gd name="T20" fmla="*/ 347 w 455"/>
                  <a:gd name="T21" fmla="*/ 253 h 691"/>
                  <a:gd name="T22" fmla="*/ 250 w 455"/>
                  <a:gd name="T23" fmla="*/ 26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5" h="691">
                    <a:moveTo>
                      <a:pt x="250" y="264"/>
                    </a:moveTo>
                    <a:lnTo>
                      <a:pt x="455" y="0"/>
                    </a:lnTo>
                    <a:lnTo>
                      <a:pt x="183" y="28"/>
                    </a:lnTo>
                    <a:lnTo>
                      <a:pt x="25" y="357"/>
                    </a:lnTo>
                    <a:lnTo>
                      <a:pt x="92" y="350"/>
                    </a:lnTo>
                    <a:lnTo>
                      <a:pt x="27" y="489"/>
                    </a:lnTo>
                    <a:lnTo>
                      <a:pt x="101" y="479"/>
                    </a:lnTo>
                    <a:lnTo>
                      <a:pt x="0" y="691"/>
                    </a:lnTo>
                    <a:lnTo>
                      <a:pt x="277" y="408"/>
                    </a:lnTo>
                    <a:lnTo>
                      <a:pt x="214" y="417"/>
                    </a:lnTo>
                    <a:lnTo>
                      <a:pt x="347" y="253"/>
                    </a:lnTo>
                    <a:lnTo>
                      <a:pt x="250" y="26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3312487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p:cNvSpPr>
            <a:spLocks noGrp="1"/>
          </p:cNvSpPr>
          <p:nvPr>
            <p:ph type="ftr" sz="quarter" idx="10"/>
          </p:nvPr>
        </p:nvSpPr>
        <p:spPr/>
        <p:txBody>
          <a:bodyPr/>
          <a:lstStyle/>
          <a:p>
            <a:r>
              <a:rPr lang="en-GB" smtClean="0"/>
              <a:t>Lorem</a:t>
            </a:r>
            <a:endParaRPr lang="en-GB" dirty="0" smtClean="0"/>
          </a:p>
        </p:txBody>
      </p:sp>
      <p:cxnSp>
        <p:nvCxnSpPr>
          <p:cNvPr id="3" name="Straight Connector 57"/>
          <p:cNvCxnSpPr/>
          <p:nvPr/>
        </p:nvCxnSpPr>
        <p:spPr>
          <a:xfrm>
            <a:off x="-393116" y="3350992"/>
            <a:ext cx="9906000" cy="0"/>
          </a:xfrm>
          <a:prstGeom prst="line">
            <a:avLst/>
          </a:prstGeom>
          <a:ln>
            <a:solidFill>
              <a:srgbClr val="197AA0"/>
            </a:solidFill>
          </a:ln>
          <a:effectLst/>
        </p:spPr>
        <p:style>
          <a:lnRef idx="2">
            <a:schemeClr val="accent1"/>
          </a:lnRef>
          <a:fillRef idx="0">
            <a:schemeClr val="accent1"/>
          </a:fillRef>
          <a:effectRef idx="1">
            <a:schemeClr val="accent1"/>
          </a:effectRef>
          <a:fontRef idx="minor">
            <a:schemeClr val="tx1"/>
          </a:fontRef>
        </p:style>
      </p:cxnSp>
      <p:grpSp>
        <p:nvGrpSpPr>
          <p:cNvPr id="4" name="Group 23"/>
          <p:cNvGrpSpPr/>
          <p:nvPr/>
        </p:nvGrpSpPr>
        <p:grpSpPr>
          <a:xfrm>
            <a:off x="402744" y="2021065"/>
            <a:ext cx="8314281" cy="2253967"/>
            <a:chOff x="664439" y="3473884"/>
            <a:chExt cx="8314281" cy="2253967"/>
          </a:xfrm>
        </p:grpSpPr>
        <p:sp>
          <p:nvSpPr>
            <p:cNvPr id="5" name="Rectangle 38"/>
            <p:cNvSpPr/>
            <p:nvPr/>
          </p:nvSpPr>
          <p:spPr>
            <a:xfrm>
              <a:off x="1055697" y="3473884"/>
              <a:ext cx="7693694" cy="338554"/>
            </a:xfrm>
            <a:prstGeom prst="rect">
              <a:avLst/>
            </a:prstGeom>
          </p:spPr>
          <p:txBody>
            <a:bodyPr wrap="square">
              <a:spAutoFit/>
            </a:bodyPr>
            <a:lstStyle/>
            <a:p>
              <a:pPr algn="ctr"/>
              <a:r>
                <a:rPr lang="nl-NL" sz="1600" b="1" dirty="0">
                  <a:solidFill>
                    <a:srgbClr val="197AA0"/>
                  </a:solidFill>
                </a:rPr>
                <a:t>The flexibility market revolves around four basic steps, as part of the known processes:</a:t>
              </a:r>
            </a:p>
          </p:txBody>
        </p:sp>
        <p:sp>
          <p:nvSpPr>
            <p:cNvPr id="6" name="Rechthoek 10"/>
            <p:cNvSpPr>
              <a:spLocks noChangeAspect="1"/>
            </p:cNvSpPr>
            <p:nvPr/>
          </p:nvSpPr>
          <p:spPr>
            <a:xfrm>
              <a:off x="664439" y="3850021"/>
              <a:ext cx="1844326" cy="18778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400" b="1" dirty="0">
                  <a:solidFill>
                    <a:schemeClr val="bg1"/>
                  </a:solidFill>
                </a:rPr>
                <a:t>Capability</a:t>
              </a:r>
              <a:r>
                <a:rPr lang="nl-NL" sz="1400" dirty="0">
                  <a:solidFill>
                    <a:schemeClr val="bg1"/>
                  </a:solidFill>
                </a:rPr>
                <a:t>: When and how stakeholders are informed about the capability to activate</a:t>
              </a:r>
            </a:p>
          </p:txBody>
        </p:sp>
        <p:sp>
          <p:nvSpPr>
            <p:cNvPr id="7" name="Rechthoek 10"/>
            <p:cNvSpPr>
              <a:spLocks noChangeAspect="1"/>
            </p:cNvSpPr>
            <p:nvPr/>
          </p:nvSpPr>
          <p:spPr>
            <a:xfrm>
              <a:off x="2821090" y="3850021"/>
              <a:ext cx="1844326" cy="18778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400" b="1" dirty="0">
                  <a:solidFill>
                    <a:schemeClr val="bg1"/>
                  </a:solidFill>
                </a:rPr>
                <a:t>Intention:</a:t>
              </a:r>
              <a:r>
                <a:rPr lang="nl-NL" sz="1400" dirty="0">
                  <a:solidFill>
                    <a:schemeClr val="bg1"/>
                  </a:solidFill>
                </a:rPr>
                <a:t> When and how stakeholders are informed about the intention to activate</a:t>
              </a:r>
            </a:p>
          </p:txBody>
        </p:sp>
        <p:sp>
          <p:nvSpPr>
            <p:cNvPr id="8" name="Rechthoek 10"/>
            <p:cNvSpPr>
              <a:spLocks noChangeAspect="1"/>
            </p:cNvSpPr>
            <p:nvPr/>
          </p:nvSpPr>
          <p:spPr>
            <a:xfrm>
              <a:off x="7134394" y="3850021"/>
              <a:ext cx="1844326" cy="18778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400" b="1" dirty="0">
                  <a:solidFill>
                    <a:schemeClr val="bg1"/>
                  </a:solidFill>
                </a:rPr>
                <a:t>Compensation</a:t>
              </a:r>
              <a:r>
                <a:rPr lang="nl-NL" sz="1400" dirty="0">
                  <a:solidFill>
                    <a:schemeClr val="bg1"/>
                  </a:solidFill>
                </a:rPr>
                <a:t>: When and how stakeholders are compensated (through settlement)</a:t>
              </a:r>
            </a:p>
          </p:txBody>
        </p:sp>
        <p:sp>
          <p:nvSpPr>
            <p:cNvPr id="9" name="Rechthoek 10"/>
            <p:cNvSpPr>
              <a:spLocks noChangeAspect="1"/>
            </p:cNvSpPr>
            <p:nvPr/>
          </p:nvSpPr>
          <p:spPr>
            <a:xfrm>
              <a:off x="4977741" y="3850021"/>
              <a:ext cx="1844326" cy="18778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400" b="1" dirty="0">
                  <a:solidFill>
                    <a:schemeClr val="bg1"/>
                  </a:solidFill>
                </a:rPr>
                <a:t>Realization</a:t>
              </a:r>
              <a:r>
                <a:rPr lang="nl-NL" sz="1400" dirty="0">
                  <a:solidFill>
                    <a:schemeClr val="bg1"/>
                  </a:solidFill>
                </a:rPr>
                <a:t>: When and how stakeholders are informed about the realisation of the activation                                  </a:t>
              </a:r>
              <a:r>
                <a:rPr lang="nl-NL" sz="1100" dirty="0">
                  <a:solidFill>
                    <a:schemeClr val="bg1"/>
                  </a:solidFill>
                </a:rPr>
                <a:t>(based on measurements)</a:t>
              </a:r>
            </a:p>
          </p:txBody>
        </p:sp>
      </p:grpSp>
      <p:cxnSp>
        <p:nvCxnSpPr>
          <p:cNvPr id="10" name="Straight Connector 50"/>
          <p:cNvCxnSpPr/>
          <p:nvPr/>
        </p:nvCxnSpPr>
        <p:spPr>
          <a:xfrm>
            <a:off x="-393116" y="1212776"/>
            <a:ext cx="9906000" cy="0"/>
          </a:xfrm>
          <a:prstGeom prst="line">
            <a:avLst/>
          </a:prstGeom>
          <a:ln>
            <a:solidFill>
              <a:srgbClr val="197AA0"/>
            </a:solidFill>
          </a:ln>
          <a:effectLst/>
        </p:spPr>
        <p:style>
          <a:lnRef idx="2">
            <a:schemeClr val="accent1"/>
          </a:lnRef>
          <a:fillRef idx="0">
            <a:schemeClr val="accent1"/>
          </a:fillRef>
          <a:effectRef idx="1">
            <a:schemeClr val="accent1"/>
          </a:effectRef>
          <a:fontRef idx="minor">
            <a:schemeClr val="tx1"/>
          </a:fontRef>
        </p:style>
      </p:cxnSp>
      <p:grpSp>
        <p:nvGrpSpPr>
          <p:cNvPr id="11" name="Group 54"/>
          <p:cNvGrpSpPr/>
          <p:nvPr/>
        </p:nvGrpSpPr>
        <p:grpSpPr>
          <a:xfrm>
            <a:off x="632073" y="659304"/>
            <a:ext cx="7855624" cy="1106945"/>
            <a:chOff x="893767" y="2112123"/>
            <a:chExt cx="7855624" cy="1106945"/>
          </a:xfrm>
        </p:grpSpPr>
        <p:grpSp>
          <p:nvGrpSpPr>
            <p:cNvPr id="12" name="Group 55"/>
            <p:cNvGrpSpPr/>
            <p:nvPr/>
          </p:nvGrpSpPr>
          <p:grpSpPr>
            <a:xfrm rot="5400000">
              <a:off x="2114897" y="2492015"/>
              <a:ext cx="337043" cy="331029"/>
              <a:chOff x="729433" y="3050414"/>
              <a:chExt cx="360000" cy="360000"/>
            </a:xfrm>
          </p:grpSpPr>
          <p:sp>
            <p:nvSpPr>
              <p:cNvPr id="27" name="Rechthoek 11"/>
              <p:cNvSpPr>
                <a:spLocks/>
              </p:cNvSpPr>
              <p:nvPr/>
            </p:nvSpPr>
            <p:spPr>
              <a:xfrm>
                <a:off x="729433" y="3050414"/>
                <a:ext cx="360000" cy="3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dirty="0"/>
              </a:p>
            </p:txBody>
          </p:sp>
          <p:sp>
            <p:nvSpPr>
              <p:cNvPr id="28" name="Isosceles Triangle 1026"/>
              <p:cNvSpPr/>
              <p:nvPr/>
            </p:nvSpPr>
            <p:spPr>
              <a:xfrm>
                <a:off x="834926" y="3191893"/>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sp>
          <p:nvSpPr>
            <p:cNvPr id="13" name="Rechthoek 10"/>
            <p:cNvSpPr>
              <a:spLocks noChangeAspect="1"/>
            </p:cNvSpPr>
            <p:nvPr/>
          </p:nvSpPr>
          <p:spPr>
            <a:xfrm>
              <a:off x="2585875" y="2112123"/>
              <a:ext cx="1087195" cy="1106945"/>
            </a:xfrm>
            <a:prstGeom prst="rect">
              <a:avLst/>
            </a:prstGeom>
            <a:solidFill>
              <a:srgbClr val="197A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Plan</a:t>
              </a:r>
            </a:p>
          </p:txBody>
        </p:sp>
        <p:sp>
          <p:nvSpPr>
            <p:cNvPr id="14" name="Rechthoek 10"/>
            <p:cNvSpPr>
              <a:spLocks noChangeAspect="1"/>
            </p:cNvSpPr>
            <p:nvPr/>
          </p:nvSpPr>
          <p:spPr>
            <a:xfrm>
              <a:off x="4277983" y="2112123"/>
              <a:ext cx="1087195" cy="1106945"/>
            </a:xfrm>
            <a:prstGeom prst="rect">
              <a:avLst/>
            </a:prstGeom>
            <a:solidFill>
              <a:srgbClr val="197A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Validate</a:t>
              </a:r>
            </a:p>
          </p:txBody>
        </p:sp>
        <p:sp>
          <p:nvSpPr>
            <p:cNvPr id="15" name="Rechthoek 10"/>
            <p:cNvSpPr>
              <a:spLocks noChangeAspect="1"/>
            </p:cNvSpPr>
            <p:nvPr/>
          </p:nvSpPr>
          <p:spPr>
            <a:xfrm>
              <a:off x="7662196" y="2112123"/>
              <a:ext cx="1087195" cy="1106945"/>
            </a:xfrm>
            <a:prstGeom prst="rect">
              <a:avLst/>
            </a:prstGeom>
            <a:solidFill>
              <a:srgbClr val="197A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Settle</a:t>
              </a:r>
            </a:p>
          </p:txBody>
        </p:sp>
        <p:sp>
          <p:nvSpPr>
            <p:cNvPr id="16" name="Rechthoek 10"/>
            <p:cNvSpPr>
              <a:spLocks noChangeAspect="1"/>
            </p:cNvSpPr>
            <p:nvPr/>
          </p:nvSpPr>
          <p:spPr>
            <a:xfrm>
              <a:off x="5970091" y="2112123"/>
              <a:ext cx="1087195" cy="1106945"/>
            </a:xfrm>
            <a:prstGeom prst="rect">
              <a:avLst/>
            </a:prstGeom>
            <a:solidFill>
              <a:srgbClr val="197A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Operate</a:t>
              </a:r>
            </a:p>
          </p:txBody>
        </p:sp>
        <p:grpSp>
          <p:nvGrpSpPr>
            <p:cNvPr id="17" name="Group 69"/>
            <p:cNvGrpSpPr/>
            <p:nvPr/>
          </p:nvGrpSpPr>
          <p:grpSpPr>
            <a:xfrm rot="5400000">
              <a:off x="3807005" y="2492015"/>
              <a:ext cx="337043" cy="331029"/>
              <a:chOff x="729433" y="3030326"/>
              <a:chExt cx="360000" cy="360000"/>
            </a:xfrm>
          </p:grpSpPr>
          <p:sp>
            <p:nvSpPr>
              <p:cNvPr id="25" name="Rechthoek 11"/>
              <p:cNvSpPr>
                <a:spLocks/>
              </p:cNvSpPr>
              <p:nvPr/>
            </p:nvSpPr>
            <p:spPr>
              <a:xfrm>
                <a:off x="729433" y="3030326"/>
                <a:ext cx="360000" cy="3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dirty="0"/>
              </a:p>
            </p:txBody>
          </p:sp>
          <p:sp>
            <p:nvSpPr>
              <p:cNvPr id="26" name="Isosceles Triangle 1026"/>
              <p:cNvSpPr/>
              <p:nvPr/>
            </p:nvSpPr>
            <p:spPr>
              <a:xfrm>
                <a:off x="834926" y="3171804"/>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grpSp>
          <p:nvGrpSpPr>
            <p:cNvPr id="18" name="Group 70"/>
            <p:cNvGrpSpPr/>
            <p:nvPr/>
          </p:nvGrpSpPr>
          <p:grpSpPr>
            <a:xfrm rot="5400000">
              <a:off x="5499113" y="2492015"/>
              <a:ext cx="337043" cy="331029"/>
              <a:chOff x="729433" y="3020282"/>
              <a:chExt cx="360000" cy="360000"/>
            </a:xfrm>
          </p:grpSpPr>
          <p:sp>
            <p:nvSpPr>
              <p:cNvPr id="23" name="Rechthoek 11"/>
              <p:cNvSpPr>
                <a:spLocks/>
              </p:cNvSpPr>
              <p:nvPr/>
            </p:nvSpPr>
            <p:spPr>
              <a:xfrm>
                <a:off x="729433" y="3020282"/>
                <a:ext cx="360000" cy="3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dirty="0"/>
              </a:p>
            </p:txBody>
          </p:sp>
          <p:sp>
            <p:nvSpPr>
              <p:cNvPr id="24" name="Isosceles Triangle 1026"/>
              <p:cNvSpPr/>
              <p:nvPr/>
            </p:nvSpPr>
            <p:spPr>
              <a:xfrm>
                <a:off x="834926" y="3161760"/>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grpSp>
          <p:nvGrpSpPr>
            <p:cNvPr id="19" name="Group 71"/>
            <p:cNvGrpSpPr/>
            <p:nvPr/>
          </p:nvGrpSpPr>
          <p:grpSpPr>
            <a:xfrm rot="5400000">
              <a:off x="7191221" y="2492015"/>
              <a:ext cx="337043" cy="331029"/>
              <a:chOff x="729433" y="3010238"/>
              <a:chExt cx="360000" cy="360000"/>
            </a:xfrm>
          </p:grpSpPr>
          <p:sp>
            <p:nvSpPr>
              <p:cNvPr id="21" name="Rechthoek 11"/>
              <p:cNvSpPr>
                <a:spLocks/>
              </p:cNvSpPr>
              <p:nvPr/>
            </p:nvSpPr>
            <p:spPr>
              <a:xfrm>
                <a:off x="729433" y="3010238"/>
                <a:ext cx="360000" cy="3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dirty="0"/>
              </a:p>
            </p:txBody>
          </p:sp>
          <p:sp>
            <p:nvSpPr>
              <p:cNvPr id="22" name="Isosceles Triangle 1026"/>
              <p:cNvSpPr/>
              <p:nvPr/>
            </p:nvSpPr>
            <p:spPr>
              <a:xfrm>
                <a:off x="834926" y="3151716"/>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sp>
          <p:nvSpPr>
            <p:cNvPr id="20" name="Rechthoek 10"/>
            <p:cNvSpPr>
              <a:spLocks noChangeAspect="1"/>
            </p:cNvSpPr>
            <p:nvPr/>
          </p:nvSpPr>
          <p:spPr>
            <a:xfrm>
              <a:off x="893767" y="2112123"/>
              <a:ext cx="1087195" cy="1106945"/>
            </a:xfrm>
            <a:prstGeom prst="rect">
              <a:avLst/>
            </a:prstGeom>
            <a:solidFill>
              <a:srgbClr val="197A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Contract</a:t>
              </a:r>
            </a:p>
          </p:txBody>
        </p:sp>
      </p:grpSp>
    </p:spTree>
    <p:extLst>
      <p:ext uri="{BB962C8B-B14F-4D97-AF65-F5344CB8AC3E}">
        <p14:creationId xmlns:p14="http://schemas.microsoft.com/office/powerpoint/2010/main" val="320611593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p:cNvSpPr>
            <a:spLocks noGrp="1"/>
          </p:cNvSpPr>
          <p:nvPr>
            <p:ph type="ftr" sz="quarter" idx="10"/>
          </p:nvPr>
        </p:nvSpPr>
        <p:spPr>
          <a:xfrm>
            <a:off x="5022789" y="4718255"/>
            <a:ext cx="3893914" cy="365125"/>
          </a:xfrm>
        </p:spPr>
        <p:txBody>
          <a:bodyPr/>
          <a:lstStyle/>
          <a:p>
            <a:r>
              <a:rPr lang="en-GB" smtClean="0"/>
              <a:t>Lorem</a:t>
            </a:r>
            <a:endParaRPr lang="en-GB" dirty="0" smtClean="0"/>
          </a:p>
        </p:txBody>
      </p:sp>
      <p:grpSp>
        <p:nvGrpSpPr>
          <p:cNvPr id="68" name="Group 5"/>
          <p:cNvGrpSpPr/>
          <p:nvPr/>
        </p:nvGrpSpPr>
        <p:grpSpPr>
          <a:xfrm>
            <a:off x="249054" y="316437"/>
            <a:ext cx="1658348" cy="719904"/>
            <a:chOff x="283788" y="294314"/>
            <a:chExt cx="2195113" cy="1106945"/>
          </a:xfrm>
        </p:grpSpPr>
        <p:cxnSp>
          <p:nvCxnSpPr>
            <p:cNvPr id="93" name="Straight Connector 60"/>
            <p:cNvCxnSpPr/>
            <p:nvPr/>
          </p:nvCxnSpPr>
          <p:spPr>
            <a:xfrm flipV="1">
              <a:off x="761621" y="847787"/>
              <a:ext cx="1717280" cy="2"/>
            </a:xfrm>
            <a:prstGeom prst="line">
              <a:avLst/>
            </a:prstGeom>
            <a:noFill/>
            <a:ln w="25400" cap="flat" cmpd="sng" algn="ctr">
              <a:solidFill>
                <a:srgbClr val="197AA0"/>
              </a:solidFill>
              <a:prstDash val="solid"/>
            </a:ln>
            <a:effectLst/>
          </p:spPr>
        </p:cxnSp>
        <p:sp>
          <p:nvSpPr>
            <p:cNvPr id="94" name="Rechthoek 11"/>
            <p:cNvSpPr>
              <a:spLocks/>
            </p:cNvSpPr>
            <p:nvPr/>
          </p:nvSpPr>
          <p:spPr>
            <a:xfrm rot="5400000">
              <a:off x="1562578" y="674207"/>
              <a:ext cx="337044" cy="331029"/>
            </a:xfrm>
            <a:prstGeom prst="rect">
              <a:avLst/>
            </a:prstGeom>
            <a:solidFill>
              <a:srgbClr val="E95120"/>
            </a:solidFill>
            <a:ln w="9525" cap="flat" cmpd="sng" algn="ctr">
              <a:noFill/>
              <a:prstDash val="solid"/>
            </a:ln>
            <a:effectLst/>
          </p:spPr>
          <p:txBody>
            <a:bodyPr rtlCol="0" anchor="ctr"/>
            <a:lstStyle/>
            <a:p>
              <a:pPr algn="ctr" defTabSz="536311"/>
              <a:endParaRPr lang="nl-NL" kern="0" dirty="0">
                <a:solidFill>
                  <a:prstClr val="white"/>
                </a:solidFill>
                <a:latin typeface="Calibri"/>
              </a:endParaRPr>
            </a:p>
          </p:txBody>
        </p:sp>
        <p:sp>
          <p:nvSpPr>
            <p:cNvPr id="95" name="Isosceles Triangle 1026"/>
            <p:cNvSpPr/>
            <p:nvPr/>
          </p:nvSpPr>
          <p:spPr>
            <a:xfrm rot="5400000">
              <a:off x="1661345" y="804299"/>
              <a:ext cx="139512" cy="70844"/>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536311"/>
              <a:endParaRPr lang="en-GB" kern="0">
                <a:solidFill>
                  <a:prstClr val="white"/>
                </a:solidFill>
                <a:latin typeface="Calibri"/>
              </a:endParaRPr>
            </a:p>
          </p:txBody>
        </p:sp>
        <p:sp>
          <p:nvSpPr>
            <p:cNvPr id="96" name="Rechthoek 10"/>
            <p:cNvSpPr>
              <a:spLocks noChangeAspect="1"/>
            </p:cNvSpPr>
            <p:nvPr/>
          </p:nvSpPr>
          <p:spPr>
            <a:xfrm>
              <a:off x="283788" y="294314"/>
              <a:ext cx="1087195" cy="1106945"/>
            </a:xfrm>
            <a:prstGeom prst="rect">
              <a:avLst/>
            </a:prstGeom>
            <a:solidFill>
              <a:srgbClr val="197AA0"/>
            </a:solidFill>
            <a:ln w="9525" cap="flat" cmpd="sng" algn="ctr">
              <a:noFill/>
              <a:prstDash val="solid"/>
            </a:ln>
            <a:effectLst/>
          </p:spPr>
          <p:txBody>
            <a:bodyPr rtlCol="0" anchor="ctr"/>
            <a:lstStyle/>
            <a:p>
              <a:pPr algn="ctr" defTabSz="536311"/>
              <a:r>
                <a:rPr lang="nl-NL" sz="1400" kern="0" dirty="0">
                  <a:solidFill>
                    <a:prstClr val="white"/>
                  </a:solidFill>
                  <a:latin typeface="Calibri"/>
                </a:rPr>
                <a:t>Contract</a:t>
              </a:r>
            </a:p>
          </p:txBody>
        </p:sp>
      </p:grpSp>
      <p:grpSp>
        <p:nvGrpSpPr>
          <p:cNvPr id="69" name="Group 65"/>
          <p:cNvGrpSpPr/>
          <p:nvPr/>
        </p:nvGrpSpPr>
        <p:grpSpPr>
          <a:xfrm>
            <a:off x="249054" y="1084721"/>
            <a:ext cx="1658348" cy="719904"/>
            <a:chOff x="283787" y="294314"/>
            <a:chExt cx="2195113" cy="1106945"/>
          </a:xfrm>
        </p:grpSpPr>
        <p:cxnSp>
          <p:nvCxnSpPr>
            <p:cNvPr id="88" name="Straight Connector 66"/>
            <p:cNvCxnSpPr/>
            <p:nvPr/>
          </p:nvCxnSpPr>
          <p:spPr>
            <a:xfrm flipV="1">
              <a:off x="761620" y="847787"/>
              <a:ext cx="1717280" cy="1"/>
            </a:xfrm>
            <a:prstGeom prst="line">
              <a:avLst/>
            </a:prstGeom>
            <a:noFill/>
            <a:ln w="25400" cap="flat" cmpd="sng" algn="ctr">
              <a:solidFill>
                <a:srgbClr val="197AA0"/>
              </a:solidFill>
              <a:prstDash val="solid"/>
            </a:ln>
            <a:effectLst/>
          </p:spPr>
        </p:cxnSp>
        <p:sp>
          <p:nvSpPr>
            <p:cNvPr id="89" name="Rechthoek 11"/>
            <p:cNvSpPr>
              <a:spLocks/>
            </p:cNvSpPr>
            <p:nvPr/>
          </p:nvSpPr>
          <p:spPr>
            <a:xfrm rot="5400000">
              <a:off x="1562577" y="674206"/>
              <a:ext cx="337044" cy="331029"/>
            </a:xfrm>
            <a:prstGeom prst="rect">
              <a:avLst/>
            </a:prstGeom>
            <a:solidFill>
              <a:srgbClr val="E95120"/>
            </a:solidFill>
            <a:ln w="9525" cap="flat" cmpd="sng" algn="ctr">
              <a:noFill/>
              <a:prstDash val="solid"/>
            </a:ln>
            <a:effectLst/>
          </p:spPr>
          <p:txBody>
            <a:bodyPr rtlCol="0" anchor="ctr"/>
            <a:lstStyle/>
            <a:p>
              <a:pPr algn="ctr" defTabSz="536311"/>
              <a:endParaRPr lang="nl-NL" kern="0" dirty="0">
                <a:solidFill>
                  <a:prstClr val="white"/>
                </a:solidFill>
                <a:latin typeface="Calibri"/>
              </a:endParaRPr>
            </a:p>
          </p:txBody>
        </p:sp>
        <p:sp>
          <p:nvSpPr>
            <p:cNvPr id="90" name="Isosceles Triangle 1026"/>
            <p:cNvSpPr/>
            <p:nvPr/>
          </p:nvSpPr>
          <p:spPr>
            <a:xfrm rot="5400000">
              <a:off x="1661343" y="804299"/>
              <a:ext cx="139512" cy="70844"/>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536311"/>
              <a:endParaRPr lang="en-GB" kern="0">
                <a:solidFill>
                  <a:prstClr val="white"/>
                </a:solidFill>
                <a:latin typeface="Calibri"/>
              </a:endParaRPr>
            </a:p>
          </p:txBody>
        </p:sp>
        <p:sp>
          <p:nvSpPr>
            <p:cNvPr id="91" name="Rechthoek 10"/>
            <p:cNvSpPr>
              <a:spLocks noChangeAspect="1"/>
            </p:cNvSpPr>
            <p:nvPr/>
          </p:nvSpPr>
          <p:spPr>
            <a:xfrm>
              <a:off x="283787" y="294314"/>
              <a:ext cx="1087195" cy="1106945"/>
            </a:xfrm>
            <a:prstGeom prst="rect">
              <a:avLst/>
            </a:prstGeom>
            <a:solidFill>
              <a:srgbClr val="197AA0"/>
            </a:solidFill>
            <a:ln w="9525" cap="flat" cmpd="sng" algn="ctr">
              <a:noFill/>
              <a:prstDash val="solid"/>
            </a:ln>
            <a:effectLst/>
          </p:spPr>
          <p:txBody>
            <a:bodyPr rtlCol="0" anchor="ctr"/>
            <a:lstStyle/>
            <a:p>
              <a:pPr algn="ctr" defTabSz="536311"/>
              <a:r>
                <a:rPr lang="nl-NL" sz="1400" kern="0" dirty="0">
                  <a:solidFill>
                    <a:prstClr val="white"/>
                  </a:solidFill>
                  <a:latin typeface="Calibri"/>
                </a:rPr>
                <a:t>Plan</a:t>
              </a:r>
            </a:p>
          </p:txBody>
        </p:sp>
      </p:grpSp>
      <p:grpSp>
        <p:nvGrpSpPr>
          <p:cNvPr id="70" name="Group 70"/>
          <p:cNvGrpSpPr/>
          <p:nvPr/>
        </p:nvGrpSpPr>
        <p:grpSpPr>
          <a:xfrm>
            <a:off x="249054" y="1853005"/>
            <a:ext cx="1658348" cy="719904"/>
            <a:chOff x="283787" y="294314"/>
            <a:chExt cx="2195113" cy="1106945"/>
          </a:xfrm>
        </p:grpSpPr>
        <p:cxnSp>
          <p:nvCxnSpPr>
            <p:cNvPr id="83" name="Straight Connector 71"/>
            <p:cNvCxnSpPr/>
            <p:nvPr/>
          </p:nvCxnSpPr>
          <p:spPr>
            <a:xfrm flipV="1">
              <a:off x="761620" y="847787"/>
              <a:ext cx="1717280" cy="1"/>
            </a:xfrm>
            <a:prstGeom prst="line">
              <a:avLst/>
            </a:prstGeom>
            <a:noFill/>
            <a:ln w="25400" cap="flat" cmpd="sng" algn="ctr">
              <a:solidFill>
                <a:srgbClr val="197AA0"/>
              </a:solidFill>
              <a:prstDash val="solid"/>
            </a:ln>
            <a:effectLst/>
          </p:spPr>
        </p:cxnSp>
        <p:sp>
          <p:nvSpPr>
            <p:cNvPr id="84" name="Rechthoek 11"/>
            <p:cNvSpPr>
              <a:spLocks/>
            </p:cNvSpPr>
            <p:nvPr/>
          </p:nvSpPr>
          <p:spPr>
            <a:xfrm rot="5400000">
              <a:off x="1562577" y="674206"/>
              <a:ext cx="337044" cy="331029"/>
            </a:xfrm>
            <a:prstGeom prst="rect">
              <a:avLst/>
            </a:prstGeom>
            <a:solidFill>
              <a:srgbClr val="E95120"/>
            </a:solidFill>
            <a:ln w="9525" cap="flat" cmpd="sng" algn="ctr">
              <a:noFill/>
              <a:prstDash val="solid"/>
            </a:ln>
            <a:effectLst/>
          </p:spPr>
          <p:txBody>
            <a:bodyPr rtlCol="0" anchor="ctr"/>
            <a:lstStyle/>
            <a:p>
              <a:pPr algn="ctr" defTabSz="536311"/>
              <a:endParaRPr lang="nl-NL" kern="0" dirty="0">
                <a:solidFill>
                  <a:prstClr val="white"/>
                </a:solidFill>
                <a:latin typeface="Calibri"/>
              </a:endParaRPr>
            </a:p>
          </p:txBody>
        </p:sp>
        <p:sp>
          <p:nvSpPr>
            <p:cNvPr id="85" name="Isosceles Triangle 1026"/>
            <p:cNvSpPr/>
            <p:nvPr/>
          </p:nvSpPr>
          <p:spPr>
            <a:xfrm rot="5400000">
              <a:off x="1661343" y="804299"/>
              <a:ext cx="139512" cy="70844"/>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536311"/>
              <a:endParaRPr lang="en-GB" kern="0">
                <a:solidFill>
                  <a:prstClr val="white"/>
                </a:solidFill>
                <a:latin typeface="Calibri"/>
              </a:endParaRPr>
            </a:p>
          </p:txBody>
        </p:sp>
        <p:sp>
          <p:nvSpPr>
            <p:cNvPr id="86" name="Rechthoek 10"/>
            <p:cNvSpPr>
              <a:spLocks noChangeAspect="1"/>
            </p:cNvSpPr>
            <p:nvPr/>
          </p:nvSpPr>
          <p:spPr>
            <a:xfrm>
              <a:off x="283787" y="294314"/>
              <a:ext cx="1087195" cy="1106945"/>
            </a:xfrm>
            <a:prstGeom prst="rect">
              <a:avLst/>
            </a:prstGeom>
            <a:solidFill>
              <a:srgbClr val="197AA0"/>
            </a:solidFill>
            <a:ln w="9525" cap="flat" cmpd="sng" algn="ctr">
              <a:noFill/>
              <a:prstDash val="solid"/>
            </a:ln>
            <a:effectLst/>
          </p:spPr>
          <p:txBody>
            <a:bodyPr rtlCol="0" anchor="ctr"/>
            <a:lstStyle/>
            <a:p>
              <a:pPr algn="ctr" defTabSz="536311"/>
              <a:r>
                <a:rPr lang="nl-NL" sz="1400" kern="0" dirty="0">
                  <a:solidFill>
                    <a:prstClr val="white"/>
                  </a:solidFill>
                  <a:latin typeface="Calibri"/>
                </a:rPr>
                <a:t>Validate</a:t>
              </a:r>
            </a:p>
          </p:txBody>
        </p:sp>
      </p:grpSp>
      <p:grpSp>
        <p:nvGrpSpPr>
          <p:cNvPr id="71" name="Group 75"/>
          <p:cNvGrpSpPr/>
          <p:nvPr/>
        </p:nvGrpSpPr>
        <p:grpSpPr>
          <a:xfrm>
            <a:off x="249054" y="2621289"/>
            <a:ext cx="1658348" cy="719904"/>
            <a:chOff x="283787" y="294314"/>
            <a:chExt cx="2195113" cy="1106945"/>
          </a:xfrm>
        </p:grpSpPr>
        <p:cxnSp>
          <p:nvCxnSpPr>
            <p:cNvPr id="78" name="Straight Connector 76"/>
            <p:cNvCxnSpPr/>
            <p:nvPr/>
          </p:nvCxnSpPr>
          <p:spPr>
            <a:xfrm flipV="1">
              <a:off x="761620" y="847787"/>
              <a:ext cx="1717280" cy="1"/>
            </a:xfrm>
            <a:prstGeom prst="line">
              <a:avLst/>
            </a:prstGeom>
            <a:noFill/>
            <a:ln w="25400" cap="flat" cmpd="sng" algn="ctr">
              <a:solidFill>
                <a:srgbClr val="197AA0"/>
              </a:solidFill>
              <a:prstDash val="solid"/>
            </a:ln>
            <a:effectLst/>
          </p:spPr>
        </p:cxnSp>
        <p:sp>
          <p:nvSpPr>
            <p:cNvPr id="79" name="Rechthoek 11"/>
            <p:cNvSpPr>
              <a:spLocks/>
            </p:cNvSpPr>
            <p:nvPr/>
          </p:nvSpPr>
          <p:spPr>
            <a:xfrm rot="5400000">
              <a:off x="1562577" y="674206"/>
              <a:ext cx="337044" cy="331029"/>
            </a:xfrm>
            <a:prstGeom prst="rect">
              <a:avLst/>
            </a:prstGeom>
            <a:solidFill>
              <a:srgbClr val="E95120"/>
            </a:solidFill>
            <a:ln w="9525" cap="flat" cmpd="sng" algn="ctr">
              <a:noFill/>
              <a:prstDash val="solid"/>
            </a:ln>
            <a:effectLst/>
          </p:spPr>
          <p:txBody>
            <a:bodyPr rtlCol="0" anchor="ctr"/>
            <a:lstStyle/>
            <a:p>
              <a:pPr algn="ctr" defTabSz="536311"/>
              <a:endParaRPr lang="nl-NL" kern="0" dirty="0">
                <a:solidFill>
                  <a:prstClr val="white"/>
                </a:solidFill>
                <a:latin typeface="Calibri"/>
              </a:endParaRPr>
            </a:p>
          </p:txBody>
        </p:sp>
        <p:sp>
          <p:nvSpPr>
            <p:cNvPr id="80" name="Isosceles Triangle 1026"/>
            <p:cNvSpPr/>
            <p:nvPr/>
          </p:nvSpPr>
          <p:spPr>
            <a:xfrm rot="5400000">
              <a:off x="1661343" y="804299"/>
              <a:ext cx="139512" cy="70844"/>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536311"/>
              <a:endParaRPr lang="en-GB" kern="0">
                <a:solidFill>
                  <a:prstClr val="white"/>
                </a:solidFill>
                <a:latin typeface="Calibri"/>
              </a:endParaRPr>
            </a:p>
          </p:txBody>
        </p:sp>
        <p:sp>
          <p:nvSpPr>
            <p:cNvPr id="81" name="Rechthoek 10"/>
            <p:cNvSpPr>
              <a:spLocks noChangeAspect="1"/>
            </p:cNvSpPr>
            <p:nvPr/>
          </p:nvSpPr>
          <p:spPr>
            <a:xfrm>
              <a:off x="283787" y="294314"/>
              <a:ext cx="1087195" cy="1106945"/>
            </a:xfrm>
            <a:prstGeom prst="rect">
              <a:avLst/>
            </a:prstGeom>
            <a:solidFill>
              <a:srgbClr val="197AA0"/>
            </a:solidFill>
            <a:ln w="9525" cap="flat" cmpd="sng" algn="ctr">
              <a:noFill/>
              <a:prstDash val="solid"/>
            </a:ln>
            <a:effectLst/>
          </p:spPr>
          <p:txBody>
            <a:bodyPr rtlCol="0" anchor="ctr"/>
            <a:lstStyle/>
            <a:p>
              <a:pPr algn="ctr" defTabSz="536311"/>
              <a:r>
                <a:rPr lang="nl-NL" sz="1400" kern="0" dirty="0">
                  <a:solidFill>
                    <a:prstClr val="white"/>
                  </a:solidFill>
                  <a:latin typeface="Calibri"/>
                </a:rPr>
                <a:t>Operate</a:t>
              </a:r>
            </a:p>
          </p:txBody>
        </p:sp>
      </p:grpSp>
      <p:grpSp>
        <p:nvGrpSpPr>
          <p:cNvPr id="72" name="Group 80"/>
          <p:cNvGrpSpPr/>
          <p:nvPr/>
        </p:nvGrpSpPr>
        <p:grpSpPr>
          <a:xfrm>
            <a:off x="249054" y="3389572"/>
            <a:ext cx="1658348" cy="719904"/>
            <a:chOff x="283787" y="294314"/>
            <a:chExt cx="2195113" cy="1106945"/>
          </a:xfrm>
        </p:grpSpPr>
        <p:cxnSp>
          <p:nvCxnSpPr>
            <p:cNvPr id="73" name="Straight Connector 81"/>
            <p:cNvCxnSpPr/>
            <p:nvPr/>
          </p:nvCxnSpPr>
          <p:spPr>
            <a:xfrm flipV="1">
              <a:off x="761620" y="847787"/>
              <a:ext cx="1717280" cy="1"/>
            </a:xfrm>
            <a:prstGeom prst="line">
              <a:avLst/>
            </a:prstGeom>
            <a:noFill/>
            <a:ln w="25400" cap="flat" cmpd="sng" algn="ctr">
              <a:solidFill>
                <a:srgbClr val="197AA0"/>
              </a:solidFill>
              <a:prstDash val="solid"/>
            </a:ln>
            <a:effectLst/>
          </p:spPr>
        </p:cxnSp>
        <p:sp>
          <p:nvSpPr>
            <p:cNvPr id="74" name="Rechthoek 11"/>
            <p:cNvSpPr>
              <a:spLocks/>
            </p:cNvSpPr>
            <p:nvPr/>
          </p:nvSpPr>
          <p:spPr>
            <a:xfrm rot="5400000">
              <a:off x="1562577" y="674206"/>
              <a:ext cx="337044" cy="331029"/>
            </a:xfrm>
            <a:prstGeom prst="rect">
              <a:avLst/>
            </a:prstGeom>
            <a:solidFill>
              <a:srgbClr val="E95120"/>
            </a:solidFill>
            <a:ln w="9525" cap="flat" cmpd="sng" algn="ctr">
              <a:noFill/>
              <a:prstDash val="solid"/>
            </a:ln>
            <a:effectLst/>
          </p:spPr>
          <p:txBody>
            <a:bodyPr rtlCol="0" anchor="ctr"/>
            <a:lstStyle/>
            <a:p>
              <a:pPr algn="ctr" defTabSz="536311"/>
              <a:endParaRPr lang="nl-NL" kern="0" dirty="0">
                <a:solidFill>
                  <a:prstClr val="white"/>
                </a:solidFill>
                <a:latin typeface="Calibri"/>
              </a:endParaRPr>
            </a:p>
          </p:txBody>
        </p:sp>
        <p:sp>
          <p:nvSpPr>
            <p:cNvPr id="75" name="Isosceles Triangle 1026"/>
            <p:cNvSpPr/>
            <p:nvPr/>
          </p:nvSpPr>
          <p:spPr>
            <a:xfrm rot="5400000">
              <a:off x="1661343" y="804299"/>
              <a:ext cx="139512" cy="70844"/>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cap="flat" cmpd="sng" algn="ctr">
              <a:solidFill>
                <a:sysClr val="window" lastClr="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536311"/>
              <a:endParaRPr lang="en-GB" kern="0">
                <a:solidFill>
                  <a:prstClr val="white"/>
                </a:solidFill>
                <a:latin typeface="Calibri"/>
              </a:endParaRPr>
            </a:p>
          </p:txBody>
        </p:sp>
        <p:sp>
          <p:nvSpPr>
            <p:cNvPr id="76" name="Rechthoek 10"/>
            <p:cNvSpPr>
              <a:spLocks noChangeAspect="1"/>
            </p:cNvSpPr>
            <p:nvPr/>
          </p:nvSpPr>
          <p:spPr>
            <a:xfrm>
              <a:off x="283787" y="294314"/>
              <a:ext cx="1087195" cy="1106945"/>
            </a:xfrm>
            <a:prstGeom prst="rect">
              <a:avLst/>
            </a:prstGeom>
            <a:solidFill>
              <a:srgbClr val="197AA0"/>
            </a:solidFill>
            <a:ln w="9525" cap="flat" cmpd="sng" algn="ctr">
              <a:noFill/>
              <a:prstDash val="solid"/>
            </a:ln>
            <a:effectLst/>
          </p:spPr>
          <p:txBody>
            <a:bodyPr rtlCol="0" anchor="ctr"/>
            <a:lstStyle/>
            <a:p>
              <a:pPr algn="ctr" defTabSz="536311"/>
              <a:r>
                <a:rPr lang="nl-NL" sz="1400" kern="0" dirty="0">
                  <a:solidFill>
                    <a:prstClr val="white"/>
                  </a:solidFill>
                  <a:latin typeface="Calibri"/>
                </a:rPr>
                <a:t>Settle</a:t>
              </a:r>
            </a:p>
          </p:txBody>
        </p:sp>
      </p:grpSp>
      <p:sp>
        <p:nvSpPr>
          <p:cNvPr id="98" name="Rectangle 12"/>
          <p:cNvSpPr/>
          <p:nvPr/>
        </p:nvSpPr>
        <p:spPr>
          <a:xfrm>
            <a:off x="1830021" y="316439"/>
            <a:ext cx="7177246" cy="719903"/>
          </a:xfrm>
          <a:prstGeom prst="rect">
            <a:avLst/>
          </a:prstGeom>
          <a:solidFill>
            <a:sysClr val="window" lastClr="FFFFFF"/>
          </a:solidFill>
          <a:ln w="25400" cap="flat" cmpd="sng" algn="ctr">
            <a:solidFill>
              <a:srgbClr val="197AA0"/>
            </a:solidFill>
            <a:prstDash val="solid"/>
          </a:ln>
          <a:effectLst/>
        </p:spPr>
        <p:txBody>
          <a:bodyPr lIns="215976" tIns="45715" rIns="251972" bIns="45715" rtlCol="0" anchor="ctr"/>
          <a:lstStyle/>
          <a:p>
            <a:pPr algn="ctr" defTabSz="536311"/>
            <a:r>
              <a:rPr lang="en-GB" sz="1400" kern="0" dirty="0">
                <a:solidFill>
                  <a:srgbClr val="197AA0"/>
                </a:solidFill>
                <a:latin typeface="Calibri"/>
              </a:rPr>
              <a:t>Prosumers define the average flexibility of their energy use in line with their needs and comfort settings. This the starting point for the aggregator, who will contact the BRP and DSO to inform them about his capability to activate flex. </a:t>
            </a:r>
            <a:endParaRPr lang="nl-NL" sz="1400" kern="0" dirty="0">
              <a:solidFill>
                <a:srgbClr val="197AA0"/>
              </a:solidFill>
              <a:latin typeface="Calibri"/>
            </a:endParaRPr>
          </a:p>
        </p:txBody>
      </p:sp>
      <p:sp>
        <p:nvSpPr>
          <p:cNvPr id="99" name="Rectangle 111"/>
          <p:cNvSpPr/>
          <p:nvPr/>
        </p:nvSpPr>
        <p:spPr>
          <a:xfrm>
            <a:off x="1830022" y="1095622"/>
            <a:ext cx="7177247" cy="719903"/>
          </a:xfrm>
          <a:prstGeom prst="rect">
            <a:avLst/>
          </a:prstGeom>
          <a:solidFill>
            <a:sysClr val="window" lastClr="FFFFFF"/>
          </a:solidFill>
          <a:ln w="25400" cap="flat" cmpd="sng" algn="ctr">
            <a:solidFill>
              <a:srgbClr val="197AA0"/>
            </a:solidFill>
            <a:prstDash val="solid"/>
          </a:ln>
          <a:effectLst/>
        </p:spPr>
        <p:txBody>
          <a:bodyPr lIns="215976" tIns="45715" rIns="251972" bIns="45715" rtlCol="0" anchor="ctr"/>
          <a:lstStyle/>
          <a:p>
            <a:pPr algn="ctr" defTabSz="536311"/>
            <a:r>
              <a:rPr lang="en-GB" sz="1400" kern="0" dirty="0">
                <a:solidFill>
                  <a:srgbClr val="197AA0"/>
                </a:solidFill>
                <a:latin typeface="Calibri"/>
              </a:rPr>
              <a:t>In the plan-phase, the aggregator looks at his portfolio of clients, each with their own individual needs and flexibility preferences. Every day, he makes a forecast for the next day: how much energy will they need – and how much flexibility can they offer? </a:t>
            </a:r>
            <a:endParaRPr lang="nl-NL" sz="1400" kern="0" dirty="0">
              <a:solidFill>
                <a:srgbClr val="197AA0"/>
              </a:solidFill>
              <a:latin typeface="Calibri"/>
            </a:endParaRPr>
          </a:p>
        </p:txBody>
      </p:sp>
      <p:sp>
        <p:nvSpPr>
          <p:cNvPr id="100" name="Rectangle 112"/>
          <p:cNvSpPr/>
          <p:nvPr/>
        </p:nvSpPr>
        <p:spPr>
          <a:xfrm>
            <a:off x="1830022" y="1861113"/>
            <a:ext cx="7177247" cy="720098"/>
          </a:xfrm>
          <a:prstGeom prst="rect">
            <a:avLst/>
          </a:prstGeom>
          <a:solidFill>
            <a:sysClr val="window" lastClr="FFFFFF"/>
          </a:solidFill>
          <a:ln w="25400" cap="flat" cmpd="sng" algn="ctr">
            <a:solidFill>
              <a:srgbClr val="197AA0"/>
            </a:solidFill>
            <a:prstDash val="solid"/>
          </a:ln>
          <a:effectLst/>
        </p:spPr>
        <p:txBody>
          <a:bodyPr lIns="215976" tIns="45715" rIns="251972" bIns="45715" rtlCol="0" anchor="ctr"/>
          <a:lstStyle/>
          <a:p>
            <a:pPr algn="ctr" defTabSz="536311">
              <a:defRPr/>
            </a:pPr>
            <a:r>
              <a:rPr lang="en-GB" sz="1400" kern="0" dirty="0">
                <a:solidFill>
                  <a:srgbClr val="197AA0"/>
                </a:solidFill>
                <a:latin typeface="Calibri"/>
              </a:rPr>
              <a:t>In interaction with one or more BRPs and the DSO, the offered Flex can be utilized to optimise portfolios or to ease congestion. </a:t>
            </a:r>
          </a:p>
        </p:txBody>
      </p:sp>
      <p:sp>
        <p:nvSpPr>
          <p:cNvPr id="101" name="Rectangle 113"/>
          <p:cNvSpPr/>
          <p:nvPr/>
        </p:nvSpPr>
        <p:spPr>
          <a:xfrm>
            <a:off x="1830022" y="2620111"/>
            <a:ext cx="7177247" cy="720098"/>
          </a:xfrm>
          <a:prstGeom prst="rect">
            <a:avLst/>
          </a:prstGeom>
          <a:solidFill>
            <a:sysClr val="window" lastClr="FFFFFF"/>
          </a:solidFill>
          <a:ln w="25400" cap="flat" cmpd="sng" algn="ctr">
            <a:solidFill>
              <a:srgbClr val="197AA0"/>
            </a:solidFill>
            <a:prstDash val="solid"/>
          </a:ln>
          <a:effectLst/>
        </p:spPr>
        <p:txBody>
          <a:bodyPr lIns="215976" tIns="45715" rIns="251972" bIns="45715" rtlCol="0" anchor="ctr"/>
          <a:lstStyle/>
          <a:p>
            <a:pPr algn="ctr" defTabSz="536311">
              <a:defRPr/>
            </a:pPr>
            <a:r>
              <a:rPr lang="en-GB" sz="1400" kern="0" dirty="0">
                <a:solidFill>
                  <a:srgbClr val="197AA0"/>
                </a:solidFill>
                <a:latin typeface="Calibri"/>
              </a:rPr>
              <a:t>For the day of operations, USEF framework prescribes what the interaction between parties should look like and how this actual usage and flexibility delivered can be measured. </a:t>
            </a:r>
          </a:p>
        </p:txBody>
      </p:sp>
      <p:sp>
        <p:nvSpPr>
          <p:cNvPr id="102" name="Rectangle 114"/>
          <p:cNvSpPr/>
          <p:nvPr/>
        </p:nvSpPr>
        <p:spPr>
          <a:xfrm>
            <a:off x="1830021" y="3385011"/>
            <a:ext cx="7177247" cy="720098"/>
          </a:xfrm>
          <a:prstGeom prst="rect">
            <a:avLst/>
          </a:prstGeom>
          <a:solidFill>
            <a:sysClr val="window" lastClr="FFFFFF"/>
          </a:solidFill>
          <a:ln w="25400" cap="flat" cmpd="sng" algn="ctr">
            <a:solidFill>
              <a:srgbClr val="197AA0"/>
            </a:solidFill>
            <a:prstDash val="solid"/>
          </a:ln>
          <a:effectLst/>
        </p:spPr>
        <p:txBody>
          <a:bodyPr lIns="215976" tIns="45715" rIns="251972" bIns="45715" rtlCol="0" anchor="ctr"/>
          <a:lstStyle/>
          <a:p>
            <a:pPr algn="ctr" defTabSz="536311"/>
            <a:r>
              <a:rPr lang="en-GB" sz="1400" kern="0" dirty="0">
                <a:solidFill>
                  <a:srgbClr val="197AA0"/>
                </a:solidFill>
                <a:latin typeface="Calibri"/>
              </a:rPr>
              <a:t>The USEF framework supports the exchange and the settlement of Flex with transparent and unambiguous data. </a:t>
            </a:r>
          </a:p>
        </p:txBody>
      </p:sp>
    </p:spTree>
    <p:extLst>
      <p:ext uri="{BB962C8B-B14F-4D97-AF65-F5344CB8AC3E}">
        <p14:creationId xmlns:p14="http://schemas.microsoft.com/office/powerpoint/2010/main" val="210851641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14"/>
          <p:cNvSpPr/>
          <p:nvPr/>
        </p:nvSpPr>
        <p:spPr>
          <a:xfrm>
            <a:off x="1123727" y="2909889"/>
            <a:ext cx="2217967" cy="1547812"/>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38525 w 3438525"/>
              <a:gd name="connsiteY0" fmla="*/ 1543050 h 1543050"/>
              <a:gd name="connsiteX1" fmla="*/ 3438525 w 3438525"/>
              <a:gd name="connsiteY1" fmla="*/ 1247775 h 1543050"/>
              <a:gd name="connsiteX2" fmla="*/ 0 w 3438525"/>
              <a:gd name="connsiteY2" fmla="*/ 1247775 h 1543050"/>
              <a:gd name="connsiteX3" fmla="*/ 3692 w 3438525"/>
              <a:gd name="connsiteY3" fmla="*/ 0 h 1543050"/>
              <a:gd name="connsiteX0" fmla="*/ 3438880 w 3438880"/>
              <a:gd name="connsiteY0" fmla="*/ 1547812 h 1547812"/>
              <a:gd name="connsiteX1" fmla="*/ 3438880 w 3438880"/>
              <a:gd name="connsiteY1" fmla="*/ 1252537 h 1547812"/>
              <a:gd name="connsiteX2" fmla="*/ 355 w 3438880"/>
              <a:gd name="connsiteY2" fmla="*/ 1252537 h 1547812"/>
              <a:gd name="connsiteX3" fmla="*/ 355 w 3438880"/>
              <a:gd name="connsiteY3" fmla="*/ 0 h 1547812"/>
            </a:gdLst>
            <a:ahLst/>
            <a:cxnLst>
              <a:cxn ang="0">
                <a:pos x="connsiteX0" y="connsiteY0"/>
              </a:cxn>
              <a:cxn ang="0">
                <a:pos x="connsiteX1" y="connsiteY1"/>
              </a:cxn>
              <a:cxn ang="0">
                <a:pos x="connsiteX2" y="connsiteY2"/>
              </a:cxn>
              <a:cxn ang="0">
                <a:pos x="connsiteX3" y="connsiteY3"/>
              </a:cxn>
            </a:cxnLst>
            <a:rect l="l" t="t" r="r" b="b"/>
            <a:pathLst>
              <a:path w="3438880" h="1547812">
                <a:moveTo>
                  <a:pt x="3438880" y="1547812"/>
                </a:moveTo>
                <a:lnTo>
                  <a:pt x="3438880" y="1252537"/>
                </a:lnTo>
                <a:lnTo>
                  <a:pt x="355" y="1252537"/>
                </a:lnTo>
                <a:cubicBezTo>
                  <a:pt x="1586" y="836612"/>
                  <a:pt x="-876" y="415925"/>
                  <a:pt x="355" y="0"/>
                </a:cubicBez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grpSp>
        <p:nvGrpSpPr>
          <p:cNvPr id="27" name="Group 26"/>
          <p:cNvGrpSpPr/>
          <p:nvPr/>
        </p:nvGrpSpPr>
        <p:grpSpPr>
          <a:xfrm>
            <a:off x="265115" y="1047757"/>
            <a:ext cx="2486024" cy="2571749"/>
            <a:chOff x="265113" y="1047750"/>
            <a:chExt cx="2486024" cy="2571749"/>
          </a:xfrm>
        </p:grpSpPr>
        <p:grpSp>
          <p:nvGrpSpPr>
            <p:cNvPr id="6" name="Group 5"/>
            <p:cNvGrpSpPr/>
            <p:nvPr/>
          </p:nvGrpSpPr>
          <p:grpSpPr>
            <a:xfrm>
              <a:off x="2106514" y="1047750"/>
              <a:ext cx="644623" cy="644623"/>
              <a:chOff x="2106514" y="1047750"/>
              <a:chExt cx="644623" cy="644623"/>
            </a:xfrm>
          </p:grpSpPr>
          <p:sp>
            <p:nvSpPr>
              <p:cNvPr id="7" name="Rechthoek 10"/>
              <p:cNvSpPr>
                <a:spLocks noChangeAspect="1"/>
              </p:cNvSpPr>
              <p:nvPr/>
            </p:nvSpPr>
            <p:spPr>
              <a:xfrm>
                <a:off x="2106514"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8" name="Freeform 25"/>
              <p:cNvSpPr>
                <a:spLocks/>
              </p:cNvSpPr>
              <p:nvPr/>
            </p:nvSpPr>
            <p:spPr bwMode="auto">
              <a:xfrm>
                <a:off x="2232820" y="1184076"/>
                <a:ext cx="379200" cy="371970"/>
              </a:xfrm>
              <a:custGeom>
                <a:avLst/>
                <a:gdLst>
                  <a:gd name="T0" fmla="*/ 173 w 200"/>
                  <a:gd name="T1" fmla="*/ 109 h 196"/>
                  <a:gd name="T2" fmla="*/ 180 w 200"/>
                  <a:gd name="T3" fmla="*/ 118 h 196"/>
                  <a:gd name="T4" fmla="*/ 200 w 200"/>
                  <a:gd name="T5" fmla="*/ 118 h 196"/>
                  <a:gd name="T6" fmla="*/ 102 w 200"/>
                  <a:gd name="T7" fmla="*/ 0 h 196"/>
                  <a:gd name="T8" fmla="*/ 64 w 200"/>
                  <a:gd name="T9" fmla="*/ 44 h 196"/>
                  <a:gd name="T10" fmla="*/ 64 w 200"/>
                  <a:gd name="T11" fmla="*/ 20 h 196"/>
                  <a:gd name="T12" fmla="*/ 38 w 200"/>
                  <a:gd name="T13" fmla="*/ 20 h 196"/>
                  <a:gd name="T14" fmla="*/ 38 w 200"/>
                  <a:gd name="T15" fmla="*/ 75 h 196"/>
                  <a:gd name="T16" fmla="*/ 0 w 200"/>
                  <a:gd name="T17" fmla="*/ 118 h 196"/>
                  <a:gd name="T18" fmla="*/ 21 w 200"/>
                  <a:gd name="T19" fmla="*/ 118 h 196"/>
                  <a:gd name="T20" fmla="*/ 28 w 200"/>
                  <a:gd name="T21" fmla="*/ 110 h 196"/>
                  <a:gd name="T22" fmla="*/ 28 w 200"/>
                  <a:gd name="T23" fmla="*/ 184 h 196"/>
                  <a:gd name="T24" fmla="*/ 18 w 200"/>
                  <a:gd name="T25" fmla="*/ 184 h 196"/>
                  <a:gd name="T26" fmla="*/ 18 w 200"/>
                  <a:gd name="T27" fmla="*/ 196 h 196"/>
                  <a:gd name="T28" fmla="*/ 69 w 200"/>
                  <a:gd name="T29" fmla="*/ 196 h 196"/>
                  <a:gd name="T30" fmla="*/ 77 w 200"/>
                  <a:gd name="T31" fmla="*/ 185 h 196"/>
                  <a:gd name="T32" fmla="*/ 77 w 200"/>
                  <a:gd name="T33" fmla="*/ 185 h 196"/>
                  <a:gd name="T34" fmla="*/ 81 w 200"/>
                  <a:gd name="T35" fmla="*/ 174 h 196"/>
                  <a:gd name="T36" fmla="*/ 96 w 200"/>
                  <a:gd name="T37" fmla="*/ 119 h 196"/>
                  <a:gd name="T38" fmla="*/ 77 w 200"/>
                  <a:gd name="T39" fmla="*/ 169 h 196"/>
                  <a:gd name="T40" fmla="*/ 76 w 200"/>
                  <a:gd name="T41" fmla="*/ 173 h 196"/>
                  <a:gd name="T42" fmla="*/ 76 w 200"/>
                  <a:gd name="T43" fmla="*/ 173 h 196"/>
                  <a:gd name="T44" fmla="*/ 69 w 200"/>
                  <a:gd name="T45" fmla="*/ 110 h 196"/>
                  <a:gd name="T46" fmla="*/ 126 w 200"/>
                  <a:gd name="T47" fmla="*/ 60 h 196"/>
                  <a:gd name="T48" fmla="*/ 128 w 200"/>
                  <a:gd name="T49" fmla="*/ 83 h 196"/>
                  <a:gd name="T50" fmla="*/ 129 w 200"/>
                  <a:gd name="T51" fmla="*/ 136 h 196"/>
                  <a:gd name="T52" fmla="*/ 100 w 200"/>
                  <a:gd name="T53" fmla="*/ 177 h 196"/>
                  <a:gd name="T54" fmla="*/ 83 w 200"/>
                  <a:gd name="T55" fmla="*/ 184 h 196"/>
                  <a:gd name="T56" fmla="*/ 77 w 200"/>
                  <a:gd name="T57" fmla="*/ 196 h 196"/>
                  <a:gd name="T58" fmla="*/ 183 w 200"/>
                  <a:gd name="T59" fmla="*/ 196 h 196"/>
                  <a:gd name="T60" fmla="*/ 183 w 200"/>
                  <a:gd name="T61" fmla="*/ 184 h 196"/>
                  <a:gd name="T62" fmla="*/ 173 w 200"/>
                  <a:gd name="T63" fmla="*/ 184 h 196"/>
                  <a:gd name="T64" fmla="*/ 173 w 200"/>
                  <a:gd name="T65" fmla="*/ 10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196">
                    <a:moveTo>
                      <a:pt x="173" y="109"/>
                    </a:moveTo>
                    <a:cubicBezTo>
                      <a:pt x="180" y="118"/>
                      <a:pt x="180" y="118"/>
                      <a:pt x="180" y="118"/>
                    </a:cubicBezTo>
                    <a:cubicBezTo>
                      <a:pt x="200" y="118"/>
                      <a:pt x="200" y="118"/>
                      <a:pt x="200" y="118"/>
                    </a:cubicBezTo>
                    <a:cubicBezTo>
                      <a:pt x="102" y="0"/>
                      <a:pt x="102" y="0"/>
                      <a:pt x="102" y="0"/>
                    </a:cubicBezTo>
                    <a:cubicBezTo>
                      <a:pt x="64" y="44"/>
                      <a:pt x="64" y="44"/>
                      <a:pt x="64" y="44"/>
                    </a:cubicBezTo>
                    <a:cubicBezTo>
                      <a:pt x="64" y="20"/>
                      <a:pt x="64" y="20"/>
                      <a:pt x="64" y="20"/>
                    </a:cubicBezTo>
                    <a:cubicBezTo>
                      <a:pt x="38" y="20"/>
                      <a:pt x="38" y="20"/>
                      <a:pt x="38" y="20"/>
                    </a:cubicBezTo>
                    <a:cubicBezTo>
                      <a:pt x="38" y="75"/>
                      <a:pt x="38" y="75"/>
                      <a:pt x="38" y="75"/>
                    </a:cubicBezTo>
                    <a:cubicBezTo>
                      <a:pt x="0" y="118"/>
                      <a:pt x="0" y="118"/>
                      <a:pt x="0" y="118"/>
                    </a:cubicBezTo>
                    <a:cubicBezTo>
                      <a:pt x="21" y="118"/>
                      <a:pt x="21" y="118"/>
                      <a:pt x="21" y="118"/>
                    </a:cubicBezTo>
                    <a:cubicBezTo>
                      <a:pt x="28" y="110"/>
                      <a:pt x="28" y="110"/>
                      <a:pt x="28" y="110"/>
                    </a:cubicBezTo>
                    <a:cubicBezTo>
                      <a:pt x="28" y="184"/>
                      <a:pt x="28" y="184"/>
                      <a:pt x="28" y="184"/>
                    </a:cubicBezTo>
                    <a:cubicBezTo>
                      <a:pt x="18" y="184"/>
                      <a:pt x="18" y="184"/>
                      <a:pt x="18" y="184"/>
                    </a:cubicBezTo>
                    <a:cubicBezTo>
                      <a:pt x="18" y="196"/>
                      <a:pt x="18" y="196"/>
                      <a:pt x="18" y="196"/>
                    </a:cubicBezTo>
                    <a:cubicBezTo>
                      <a:pt x="69" y="196"/>
                      <a:pt x="69" y="196"/>
                      <a:pt x="69" y="196"/>
                    </a:cubicBezTo>
                    <a:cubicBezTo>
                      <a:pt x="73" y="192"/>
                      <a:pt x="75" y="188"/>
                      <a:pt x="77" y="185"/>
                    </a:cubicBezTo>
                    <a:cubicBezTo>
                      <a:pt x="77" y="185"/>
                      <a:pt x="77" y="185"/>
                      <a:pt x="77" y="185"/>
                    </a:cubicBezTo>
                    <a:cubicBezTo>
                      <a:pt x="79" y="181"/>
                      <a:pt x="80" y="178"/>
                      <a:pt x="81" y="174"/>
                    </a:cubicBezTo>
                    <a:cubicBezTo>
                      <a:pt x="95" y="140"/>
                      <a:pt x="95" y="120"/>
                      <a:pt x="96" y="119"/>
                    </a:cubicBezTo>
                    <a:cubicBezTo>
                      <a:pt x="95" y="120"/>
                      <a:pt x="85" y="138"/>
                      <a:pt x="77" y="169"/>
                    </a:cubicBezTo>
                    <a:cubicBezTo>
                      <a:pt x="77" y="170"/>
                      <a:pt x="77" y="171"/>
                      <a:pt x="76" y="173"/>
                    </a:cubicBezTo>
                    <a:cubicBezTo>
                      <a:pt x="76" y="173"/>
                      <a:pt x="76" y="173"/>
                      <a:pt x="76" y="173"/>
                    </a:cubicBezTo>
                    <a:cubicBezTo>
                      <a:pt x="77" y="173"/>
                      <a:pt x="57" y="146"/>
                      <a:pt x="69" y="110"/>
                    </a:cubicBezTo>
                    <a:cubicBezTo>
                      <a:pt x="80" y="73"/>
                      <a:pt x="126" y="60"/>
                      <a:pt x="126" y="60"/>
                    </a:cubicBezTo>
                    <a:cubicBezTo>
                      <a:pt x="127" y="60"/>
                      <a:pt x="127" y="68"/>
                      <a:pt x="128" y="83"/>
                    </a:cubicBezTo>
                    <a:cubicBezTo>
                      <a:pt x="129" y="97"/>
                      <a:pt x="132" y="117"/>
                      <a:pt x="129" y="136"/>
                    </a:cubicBezTo>
                    <a:cubicBezTo>
                      <a:pt x="126" y="156"/>
                      <a:pt x="114" y="169"/>
                      <a:pt x="100" y="177"/>
                    </a:cubicBezTo>
                    <a:cubicBezTo>
                      <a:pt x="94" y="180"/>
                      <a:pt x="88" y="182"/>
                      <a:pt x="83" y="184"/>
                    </a:cubicBezTo>
                    <a:cubicBezTo>
                      <a:pt x="81" y="187"/>
                      <a:pt x="79" y="191"/>
                      <a:pt x="77" y="196"/>
                    </a:cubicBezTo>
                    <a:cubicBezTo>
                      <a:pt x="183" y="196"/>
                      <a:pt x="183" y="196"/>
                      <a:pt x="183" y="196"/>
                    </a:cubicBezTo>
                    <a:cubicBezTo>
                      <a:pt x="183" y="184"/>
                      <a:pt x="183" y="184"/>
                      <a:pt x="183" y="184"/>
                    </a:cubicBezTo>
                    <a:cubicBezTo>
                      <a:pt x="173" y="184"/>
                      <a:pt x="173" y="184"/>
                      <a:pt x="173" y="184"/>
                    </a:cubicBezTo>
                    <a:lnTo>
                      <a:pt x="173" y="10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13" name="Rechthoek 10"/>
            <p:cNvSpPr>
              <a:spLocks noChangeAspect="1"/>
            </p:cNvSpPr>
            <p:nvPr/>
          </p:nvSpPr>
          <p:spPr>
            <a:xfrm>
              <a:off x="265113" y="1778098"/>
              <a:ext cx="1841401" cy="184140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17" name="Titel 7"/>
            <p:cNvSpPr txBox="1">
              <a:spLocks/>
            </p:cNvSpPr>
            <p:nvPr/>
          </p:nvSpPr>
          <p:spPr>
            <a:xfrm>
              <a:off x="350837" y="1809802"/>
              <a:ext cx="1561090" cy="640875"/>
            </a:xfrm>
            <a:prstGeom prst="rect">
              <a:avLst/>
            </a:prstGeom>
          </p:spPr>
          <p:txBody>
            <a:bodyPr lIns="0" tIns="34290" rIns="68580" bIns="3429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flexibility value chain</a:t>
              </a:r>
            </a:p>
          </p:txBody>
        </p:sp>
        <p:sp>
          <p:nvSpPr>
            <p:cNvPr id="18" name="Titel 7"/>
            <p:cNvSpPr txBox="1">
              <a:spLocks/>
            </p:cNvSpPr>
            <p:nvPr/>
          </p:nvSpPr>
          <p:spPr>
            <a:xfrm>
              <a:off x="350836" y="2932444"/>
              <a:ext cx="1755677" cy="640875"/>
            </a:xfrm>
            <a:prstGeom prst="rect">
              <a:avLst/>
            </a:prstGeom>
          </p:spPr>
          <p:txBody>
            <a:bodyPr lIns="0" tIns="34290" rIns="68580" bIns="34290"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How flexibility is used today and will be used tomorrow</a:t>
              </a:r>
            </a:p>
          </p:txBody>
        </p:sp>
        <p:sp>
          <p:nvSpPr>
            <p:cNvPr id="24" name="Rechthoek 10"/>
            <p:cNvSpPr>
              <a:spLocks noChangeAspect="1"/>
            </p:cNvSpPr>
            <p:nvPr/>
          </p:nvSpPr>
          <p:spPr>
            <a:xfrm>
              <a:off x="265113" y="1778097"/>
              <a:ext cx="1841401" cy="1841401"/>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sp>
        <p:nvSpPr>
          <p:cNvPr id="30" name="Rectangle 29"/>
          <p:cNvSpPr/>
          <p:nvPr/>
        </p:nvSpPr>
        <p:spPr>
          <a:xfrm>
            <a:off x="170106" y="341817"/>
            <a:ext cx="3199787" cy="3990973"/>
          </a:xfrm>
          <a:prstGeom prst="rect">
            <a:avLst/>
          </a:prstGeom>
          <a:solidFill>
            <a:schemeClr val="bg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sp>
        <p:nvSpPr>
          <p:cNvPr id="19" name="Freeform 18"/>
          <p:cNvSpPr/>
          <p:nvPr/>
        </p:nvSpPr>
        <p:spPr>
          <a:xfrm>
            <a:off x="4262391" y="3370264"/>
            <a:ext cx="531285" cy="1087436"/>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53935 w 3453935"/>
              <a:gd name="connsiteY0" fmla="*/ 1776412 h 1776412"/>
              <a:gd name="connsiteX1" fmla="*/ 3453935 w 3453935"/>
              <a:gd name="connsiteY1" fmla="*/ 1481137 h 1776412"/>
              <a:gd name="connsiteX2" fmla="*/ 15410 w 3453935"/>
              <a:gd name="connsiteY2" fmla="*/ 1481137 h 1776412"/>
              <a:gd name="connsiteX3" fmla="*/ 0 w 3453935"/>
              <a:gd name="connsiteY3" fmla="*/ 0 h 1776412"/>
              <a:gd name="connsiteX0" fmla="*/ 3438525 w 3438525"/>
              <a:gd name="connsiteY0" fmla="*/ 1027112 h 1027112"/>
              <a:gd name="connsiteX1" fmla="*/ 3438525 w 3438525"/>
              <a:gd name="connsiteY1" fmla="*/ 731837 h 1027112"/>
              <a:gd name="connsiteX2" fmla="*/ 0 w 3438525"/>
              <a:gd name="connsiteY2" fmla="*/ 731837 h 1027112"/>
              <a:gd name="connsiteX3" fmla="*/ 5139 w 3438525"/>
              <a:gd name="connsiteY3" fmla="*/ 0 h 1027112"/>
              <a:gd name="connsiteX0" fmla="*/ 3438525 w 3438525"/>
              <a:gd name="connsiteY0" fmla="*/ 1017587 h 1017587"/>
              <a:gd name="connsiteX1" fmla="*/ 3438525 w 3438525"/>
              <a:gd name="connsiteY1" fmla="*/ 722312 h 1017587"/>
              <a:gd name="connsiteX2" fmla="*/ 0 w 3438525"/>
              <a:gd name="connsiteY2" fmla="*/ 722312 h 1017587"/>
              <a:gd name="connsiteX3" fmla="*/ 20549 w 3438525"/>
              <a:gd name="connsiteY3" fmla="*/ 0 h 1017587"/>
              <a:gd name="connsiteX0" fmla="*/ 3438525 w 3438525"/>
              <a:gd name="connsiteY0" fmla="*/ 1019968 h 1019968"/>
              <a:gd name="connsiteX1" fmla="*/ 3438525 w 3438525"/>
              <a:gd name="connsiteY1" fmla="*/ 724693 h 1019968"/>
              <a:gd name="connsiteX2" fmla="*/ 0 w 3438525"/>
              <a:gd name="connsiteY2" fmla="*/ 724693 h 1019968"/>
              <a:gd name="connsiteX3" fmla="*/ 5139 w 3438525"/>
              <a:gd name="connsiteY3" fmla="*/ 0 h 1019968"/>
              <a:gd name="connsiteX0" fmla="*/ 3438525 w 3438525"/>
              <a:gd name="connsiteY0" fmla="*/ 1194593 h 1194593"/>
              <a:gd name="connsiteX1" fmla="*/ 3438525 w 3438525"/>
              <a:gd name="connsiteY1" fmla="*/ 899318 h 1194593"/>
              <a:gd name="connsiteX2" fmla="*/ 0 w 3438525"/>
              <a:gd name="connsiteY2" fmla="*/ 899318 h 1194593"/>
              <a:gd name="connsiteX3" fmla="*/ 5139 w 3438525"/>
              <a:gd name="connsiteY3" fmla="*/ 0 h 1194593"/>
              <a:gd name="connsiteX0" fmla="*/ 3438525 w 3438525"/>
              <a:gd name="connsiteY0" fmla="*/ 1085055 h 1085055"/>
              <a:gd name="connsiteX1" fmla="*/ 3438525 w 3438525"/>
              <a:gd name="connsiteY1" fmla="*/ 789780 h 1085055"/>
              <a:gd name="connsiteX2" fmla="*/ 0 w 3438525"/>
              <a:gd name="connsiteY2" fmla="*/ 789780 h 1085055"/>
              <a:gd name="connsiteX3" fmla="*/ 5139 w 3438525"/>
              <a:gd name="connsiteY3" fmla="*/ 0 h 1085055"/>
              <a:gd name="connsiteX0" fmla="*/ 3438525 w 3438525"/>
              <a:gd name="connsiteY0" fmla="*/ 1087436 h 1087436"/>
              <a:gd name="connsiteX1" fmla="*/ 3438525 w 3438525"/>
              <a:gd name="connsiteY1" fmla="*/ 792161 h 1087436"/>
              <a:gd name="connsiteX2" fmla="*/ 0 w 3438525"/>
              <a:gd name="connsiteY2" fmla="*/ 792161 h 1087436"/>
              <a:gd name="connsiteX3" fmla="*/ 20555 w 3438525"/>
              <a:gd name="connsiteY3" fmla="*/ 0 h 1087436"/>
              <a:gd name="connsiteX0" fmla="*/ 3438525 w 3438525"/>
              <a:gd name="connsiteY0" fmla="*/ 1087436 h 1087436"/>
              <a:gd name="connsiteX1" fmla="*/ 3438525 w 3438525"/>
              <a:gd name="connsiteY1" fmla="*/ 792161 h 1087436"/>
              <a:gd name="connsiteX2" fmla="*/ 0 w 3438525"/>
              <a:gd name="connsiteY2" fmla="*/ 792161 h 1087436"/>
              <a:gd name="connsiteX3" fmla="*/ 5145 w 3438525"/>
              <a:gd name="connsiteY3" fmla="*/ 0 h 1087436"/>
            </a:gdLst>
            <a:ahLst/>
            <a:cxnLst>
              <a:cxn ang="0">
                <a:pos x="connsiteX0" y="connsiteY0"/>
              </a:cxn>
              <a:cxn ang="0">
                <a:pos x="connsiteX1" y="connsiteY1"/>
              </a:cxn>
              <a:cxn ang="0">
                <a:pos x="connsiteX2" y="connsiteY2"/>
              </a:cxn>
              <a:cxn ang="0">
                <a:pos x="connsiteX3" y="connsiteY3"/>
              </a:cxn>
            </a:cxnLst>
            <a:rect l="l" t="t" r="r" b="b"/>
            <a:pathLst>
              <a:path w="3438525" h="1087436">
                <a:moveTo>
                  <a:pt x="3438525" y="1087436"/>
                </a:moveTo>
                <a:lnTo>
                  <a:pt x="3438525" y="792161"/>
                </a:lnTo>
                <a:lnTo>
                  <a:pt x="0" y="792161"/>
                </a:lnTo>
                <a:lnTo>
                  <a:pt x="5145"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grpSp>
        <p:nvGrpSpPr>
          <p:cNvPr id="28" name="Group 27"/>
          <p:cNvGrpSpPr/>
          <p:nvPr/>
        </p:nvGrpSpPr>
        <p:grpSpPr>
          <a:xfrm>
            <a:off x="3341691" y="1047757"/>
            <a:ext cx="2486025" cy="2571749"/>
            <a:chOff x="3341688" y="1047750"/>
            <a:chExt cx="2486025" cy="2571749"/>
          </a:xfrm>
        </p:grpSpPr>
        <p:grpSp>
          <p:nvGrpSpPr>
            <p:cNvPr id="9" name="Group 8"/>
            <p:cNvGrpSpPr/>
            <p:nvPr/>
          </p:nvGrpSpPr>
          <p:grpSpPr>
            <a:xfrm>
              <a:off x="5183089" y="1047750"/>
              <a:ext cx="644624" cy="644624"/>
              <a:chOff x="5183089" y="1047750"/>
              <a:chExt cx="644624" cy="644624"/>
            </a:xfrm>
          </p:grpSpPr>
          <p:sp>
            <p:nvSpPr>
              <p:cNvPr id="10" name="Rechthoek 10"/>
              <p:cNvSpPr>
                <a:spLocks noChangeAspect="1"/>
              </p:cNvSpPr>
              <p:nvPr/>
            </p:nvSpPr>
            <p:spPr>
              <a:xfrm>
                <a:off x="5183089"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pic>
            <p:nvPicPr>
              <p:cNvPr id="11" name="Afbeelding 1" descr="USEF outline wit.png"/>
              <p:cNvPicPr>
                <a:picLocks noChangeAspect="1"/>
              </p:cNvPicPr>
              <p:nvPr/>
            </p:nvPicPr>
            <p:blipFill rotWithShape="1">
              <a:blip r:embed="rId3">
                <a:extLst>
                  <a:ext uri="{28A0092B-C50C-407E-A947-70E740481C1C}">
                    <a14:useLocalDpi xmlns:a14="http://schemas.microsoft.com/office/drawing/2010/main" val="0"/>
                  </a:ext>
                </a:extLst>
              </a:blip>
              <a:srcRect r="23389" b="64315"/>
              <a:stretch/>
            </p:blipFill>
            <p:spPr>
              <a:xfrm>
                <a:off x="5250657" y="1078546"/>
                <a:ext cx="577056" cy="613828"/>
              </a:xfrm>
              <a:prstGeom prst="rect">
                <a:avLst/>
              </a:prstGeom>
            </p:spPr>
          </p:pic>
        </p:grpSp>
        <p:sp>
          <p:nvSpPr>
            <p:cNvPr id="12" name="Rechthoek 10"/>
            <p:cNvSpPr>
              <a:spLocks noChangeAspect="1"/>
            </p:cNvSpPr>
            <p:nvPr/>
          </p:nvSpPr>
          <p:spPr>
            <a:xfrm>
              <a:off x="3341688" y="1778098"/>
              <a:ext cx="1841401" cy="184140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20" name="Titel 7"/>
            <p:cNvSpPr txBox="1">
              <a:spLocks/>
            </p:cNvSpPr>
            <p:nvPr/>
          </p:nvSpPr>
          <p:spPr>
            <a:xfrm>
              <a:off x="3419873" y="1809802"/>
              <a:ext cx="1561090" cy="640875"/>
            </a:xfrm>
            <a:prstGeom prst="rect">
              <a:avLst/>
            </a:prstGeom>
          </p:spPr>
          <p:txBody>
            <a:bodyPr lIns="0" tIns="34290" rIns="68580" bIns="3429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framework</a:t>
              </a:r>
            </a:p>
          </p:txBody>
        </p:sp>
        <p:sp>
          <p:nvSpPr>
            <p:cNvPr id="21" name="Titel 7"/>
            <p:cNvSpPr txBox="1">
              <a:spLocks/>
            </p:cNvSpPr>
            <p:nvPr/>
          </p:nvSpPr>
          <p:spPr>
            <a:xfrm>
              <a:off x="3419872" y="2932444"/>
              <a:ext cx="1763215" cy="640875"/>
            </a:xfrm>
            <a:prstGeom prst="rect">
              <a:avLst/>
            </a:prstGeom>
          </p:spPr>
          <p:txBody>
            <a:bodyPr lIns="0" tIns="34290" rIns="68580" bIns="34290"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How USEF supports an optimal flexibility market</a:t>
              </a:r>
            </a:p>
          </p:txBody>
        </p:sp>
        <p:sp>
          <p:nvSpPr>
            <p:cNvPr id="25" name="Rechthoek 10"/>
            <p:cNvSpPr>
              <a:spLocks noChangeAspect="1"/>
            </p:cNvSpPr>
            <p:nvPr/>
          </p:nvSpPr>
          <p:spPr>
            <a:xfrm>
              <a:off x="3341688" y="1778097"/>
              <a:ext cx="1841401" cy="1841401"/>
            </a:xfrm>
            <a:prstGeom prst="rect">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sp>
        <p:nvSpPr>
          <p:cNvPr id="31" name="Rectangle 30"/>
          <p:cNvSpPr/>
          <p:nvPr/>
        </p:nvSpPr>
        <p:spPr>
          <a:xfrm>
            <a:off x="3341689" y="457203"/>
            <a:ext cx="2773362" cy="4000498"/>
          </a:xfrm>
          <a:prstGeom prst="rect">
            <a:avLst/>
          </a:prstGeom>
          <a:solidFill>
            <a:schemeClr val="bg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p>
        </p:txBody>
      </p:sp>
      <p:sp>
        <p:nvSpPr>
          <p:cNvPr id="16" name="Freeform 15"/>
          <p:cNvSpPr/>
          <p:nvPr/>
        </p:nvSpPr>
        <p:spPr>
          <a:xfrm flipH="1">
            <a:off x="5183089" y="2366969"/>
            <a:ext cx="2155874" cy="2090737"/>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53717 w 3453717"/>
              <a:gd name="connsiteY0" fmla="*/ 2081212 h 2081212"/>
              <a:gd name="connsiteX1" fmla="*/ 3453717 w 3453717"/>
              <a:gd name="connsiteY1" fmla="*/ 1785937 h 2081212"/>
              <a:gd name="connsiteX2" fmla="*/ 15192 w 3453717"/>
              <a:gd name="connsiteY2" fmla="*/ 1785937 h 2081212"/>
              <a:gd name="connsiteX3" fmla="*/ 0 w 3453717"/>
              <a:gd name="connsiteY3" fmla="*/ 0 h 2081212"/>
              <a:gd name="connsiteX0" fmla="*/ 3438525 w 3438525"/>
              <a:gd name="connsiteY0" fmla="*/ 2090737 h 2090737"/>
              <a:gd name="connsiteX1" fmla="*/ 3438525 w 3438525"/>
              <a:gd name="connsiteY1" fmla="*/ 1795462 h 2090737"/>
              <a:gd name="connsiteX2" fmla="*/ 0 w 3438525"/>
              <a:gd name="connsiteY2" fmla="*/ 1795462 h 2090737"/>
              <a:gd name="connsiteX3" fmla="*/ 0 w 3438525"/>
              <a:gd name="connsiteY3" fmla="*/ 0 h 2090737"/>
            </a:gdLst>
            <a:ahLst/>
            <a:cxnLst>
              <a:cxn ang="0">
                <a:pos x="connsiteX0" y="connsiteY0"/>
              </a:cxn>
              <a:cxn ang="0">
                <a:pos x="connsiteX1" y="connsiteY1"/>
              </a:cxn>
              <a:cxn ang="0">
                <a:pos x="connsiteX2" y="connsiteY2"/>
              </a:cxn>
              <a:cxn ang="0">
                <a:pos x="connsiteX3" y="connsiteY3"/>
              </a:cxn>
            </a:cxnLst>
            <a:rect l="l" t="t" r="r" b="b"/>
            <a:pathLst>
              <a:path w="3438525" h="2090737">
                <a:moveTo>
                  <a:pt x="3438525" y="2090737"/>
                </a:moveTo>
                <a:lnTo>
                  <a:pt x="3438525" y="1795462"/>
                </a:lnTo>
                <a:lnTo>
                  <a:pt x="0" y="1795462"/>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grpSp>
        <p:nvGrpSpPr>
          <p:cNvPr id="29" name="Group 28"/>
          <p:cNvGrpSpPr/>
          <p:nvPr/>
        </p:nvGrpSpPr>
        <p:grpSpPr>
          <a:xfrm>
            <a:off x="6418264" y="1047757"/>
            <a:ext cx="2486024" cy="2571749"/>
            <a:chOff x="6418264" y="1047750"/>
            <a:chExt cx="2486024" cy="2571749"/>
          </a:xfrm>
        </p:grpSpPr>
        <p:grpSp>
          <p:nvGrpSpPr>
            <p:cNvPr id="3" name="Group 2"/>
            <p:cNvGrpSpPr/>
            <p:nvPr/>
          </p:nvGrpSpPr>
          <p:grpSpPr>
            <a:xfrm>
              <a:off x="8259665" y="1047750"/>
              <a:ext cx="644623" cy="644623"/>
              <a:chOff x="8259665" y="1047750"/>
              <a:chExt cx="644623" cy="644623"/>
            </a:xfrm>
          </p:grpSpPr>
          <p:sp>
            <p:nvSpPr>
              <p:cNvPr id="4" name="Rechthoek 10"/>
              <p:cNvSpPr>
                <a:spLocks noChangeAspect="1"/>
              </p:cNvSpPr>
              <p:nvPr/>
            </p:nvSpPr>
            <p:spPr>
              <a:xfrm>
                <a:off x="8259665"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5" name="Freeform 197"/>
              <p:cNvSpPr>
                <a:spLocks noEditPoints="1"/>
              </p:cNvSpPr>
              <p:nvPr/>
            </p:nvSpPr>
            <p:spPr bwMode="auto">
              <a:xfrm>
                <a:off x="8352033" y="1158387"/>
                <a:ext cx="459886" cy="423348"/>
              </a:xfrm>
              <a:custGeom>
                <a:avLst/>
                <a:gdLst>
                  <a:gd name="T0" fmla="*/ 27 w 400"/>
                  <a:gd name="T1" fmla="*/ 60 h 368"/>
                  <a:gd name="T2" fmla="*/ 53 w 400"/>
                  <a:gd name="T3" fmla="*/ 104 h 368"/>
                  <a:gd name="T4" fmla="*/ 134 w 400"/>
                  <a:gd name="T5" fmla="*/ 305 h 368"/>
                  <a:gd name="T6" fmla="*/ 139 w 400"/>
                  <a:gd name="T7" fmla="*/ 307 h 368"/>
                  <a:gd name="T8" fmla="*/ 191 w 400"/>
                  <a:gd name="T9" fmla="*/ 109 h 368"/>
                  <a:gd name="T10" fmla="*/ 134 w 400"/>
                  <a:gd name="T11" fmla="*/ 305 h 368"/>
                  <a:gd name="T12" fmla="*/ 134 w 400"/>
                  <a:gd name="T13" fmla="*/ 33 h 368"/>
                  <a:gd name="T14" fmla="*/ 134 w 400"/>
                  <a:gd name="T15" fmla="*/ 83 h 368"/>
                  <a:gd name="T16" fmla="*/ 253 w 400"/>
                  <a:gd name="T17" fmla="*/ 68 h 368"/>
                  <a:gd name="T18" fmla="*/ 247 w 400"/>
                  <a:gd name="T19" fmla="*/ 66 h 368"/>
                  <a:gd name="T20" fmla="*/ 253 w 400"/>
                  <a:gd name="T21" fmla="*/ 339 h 368"/>
                  <a:gd name="T22" fmla="*/ 201 w 400"/>
                  <a:gd name="T23" fmla="*/ 232 h 368"/>
                  <a:gd name="T24" fmla="*/ 63 w 400"/>
                  <a:gd name="T25" fmla="*/ 101 h 368"/>
                  <a:gd name="T26" fmla="*/ 131 w 400"/>
                  <a:gd name="T27" fmla="*/ 33 h 368"/>
                  <a:gd name="T28" fmla="*/ 63 w 400"/>
                  <a:gd name="T29" fmla="*/ 101 h 368"/>
                  <a:gd name="T30" fmla="*/ 125 w 400"/>
                  <a:gd name="T31" fmla="*/ 306 h 368"/>
                  <a:gd name="T32" fmla="*/ 131 w 400"/>
                  <a:gd name="T33" fmla="*/ 305 h 368"/>
                  <a:gd name="T34" fmla="*/ 27 w 400"/>
                  <a:gd name="T35" fmla="*/ 120 h 368"/>
                  <a:gd name="T36" fmla="*/ 201 w 400"/>
                  <a:gd name="T37" fmla="*/ 221 h 368"/>
                  <a:gd name="T38" fmla="*/ 253 w 400"/>
                  <a:gd name="T39" fmla="*/ 126 h 368"/>
                  <a:gd name="T40" fmla="*/ 201 w 400"/>
                  <a:gd name="T41" fmla="*/ 221 h 368"/>
                  <a:gd name="T42" fmla="*/ 256 w 400"/>
                  <a:gd name="T43" fmla="*/ 116 h 368"/>
                  <a:gd name="T44" fmla="*/ 373 w 400"/>
                  <a:gd name="T45" fmla="*/ 35 h 368"/>
                  <a:gd name="T46" fmla="*/ 258 w 400"/>
                  <a:gd name="T47" fmla="*/ 67 h 368"/>
                  <a:gd name="T48" fmla="*/ 254 w 400"/>
                  <a:gd name="T49" fmla="*/ 40 h 368"/>
                  <a:gd name="T50" fmla="*/ 0 w 400"/>
                  <a:gd name="T51" fmla="*/ 39 h 368"/>
                  <a:gd name="T52" fmla="*/ 132 w 400"/>
                  <a:gd name="T53" fmla="*/ 332 h 368"/>
                  <a:gd name="T54" fmla="*/ 387 w 400"/>
                  <a:gd name="T55" fmla="*/ 333 h 368"/>
                  <a:gd name="T56" fmla="*/ 400 w 400"/>
                  <a:gd name="T57" fmla="*/ 0 h 368"/>
                  <a:gd name="T58" fmla="*/ 387 w 400"/>
                  <a:gd name="T59" fmla="*/ 319 h 368"/>
                  <a:gd name="T60" fmla="*/ 136 w 400"/>
                  <a:gd name="T61" fmla="*/ 320 h 368"/>
                  <a:gd name="T62" fmla="*/ 128 w 400"/>
                  <a:gd name="T63" fmla="*/ 319 h 368"/>
                  <a:gd name="T64" fmla="*/ 13 w 400"/>
                  <a:gd name="T65" fmla="*/ 49 h 368"/>
                  <a:gd name="T66" fmla="*/ 250 w 400"/>
                  <a:gd name="T67" fmla="*/ 53 h 368"/>
                  <a:gd name="T68" fmla="*/ 258 w 400"/>
                  <a:gd name="T69" fmla="*/ 53 h 368"/>
                  <a:gd name="T70" fmla="*/ 387 w 400"/>
                  <a:gd name="T71" fmla="*/ 319 h 368"/>
                  <a:gd name="T72" fmla="*/ 256 w 400"/>
                  <a:gd name="T73" fmla="*/ 339 h 368"/>
                  <a:gd name="T74" fmla="*/ 345 w 400"/>
                  <a:gd name="T75" fmla="*/ 236 h 368"/>
                  <a:gd name="T76" fmla="*/ 256 w 400"/>
                  <a:gd name="T77" fmla="*/ 339 h 368"/>
                  <a:gd name="T78" fmla="*/ 373 w 400"/>
                  <a:gd name="T79" fmla="*/ 219 h 368"/>
                  <a:gd name="T80" fmla="*/ 256 w 400"/>
                  <a:gd name="T81" fmla="*/ 126 h 368"/>
                  <a:gd name="T82" fmla="*/ 355 w 400"/>
                  <a:gd name="T83" fmla="*/ 313 h 368"/>
                  <a:gd name="T84" fmla="*/ 373 w 400"/>
                  <a:gd name="T85" fmla="*/ 228 h 368"/>
                  <a:gd name="T86" fmla="*/ 355 w 400"/>
                  <a:gd name="T87" fmla="*/ 313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0" h="368">
                    <a:moveTo>
                      <a:pt x="53" y="53"/>
                    </a:moveTo>
                    <a:cubicBezTo>
                      <a:pt x="27" y="60"/>
                      <a:pt x="27" y="60"/>
                      <a:pt x="27" y="60"/>
                    </a:cubicBezTo>
                    <a:cubicBezTo>
                      <a:pt x="27" y="111"/>
                      <a:pt x="27" y="111"/>
                      <a:pt x="27" y="111"/>
                    </a:cubicBezTo>
                    <a:cubicBezTo>
                      <a:pt x="53" y="104"/>
                      <a:pt x="53" y="104"/>
                      <a:pt x="53" y="104"/>
                    </a:cubicBezTo>
                    <a:lnTo>
                      <a:pt x="53" y="53"/>
                    </a:lnTo>
                    <a:close/>
                    <a:moveTo>
                      <a:pt x="134" y="305"/>
                    </a:moveTo>
                    <a:cubicBezTo>
                      <a:pt x="136" y="306"/>
                      <a:pt x="136" y="306"/>
                      <a:pt x="136" y="306"/>
                    </a:cubicBezTo>
                    <a:cubicBezTo>
                      <a:pt x="139" y="307"/>
                      <a:pt x="139" y="307"/>
                      <a:pt x="139" y="307"/>
                    </a:cubicBezTo>
                    <a:cubicBezTo>
                      <a:pt x="191" y="321"/>
                      <a:pt x="191" y="321"/>
                      <a:pt x="191" y="321"/>
                    </a:cubicBezTo>
                    <a:cubicBezTo>
                      <a:pt x="191" y="109"/>
                      <a:pt x="191" y="109"/>
                      <a:pt x="191" y="109"/>
                    </a:cubicBezTo>
                    <a:cubicBezTo>
                      <a:pt x="134" y="93"/>
                      <a:pt x="134" y="93"/>
                      <a:pt x="134" y="93"/>
                    </a:cubicBezTo>
                    <a:lnTo>
                      <a:pt x="134" y="305"/>
                    </a:lnTo>
                    <a:close/>
                    <a:moveTo>
                      <a:pt x="247" y="66"/>
                    </a:moveTo>
                    <a:cubicBezTo>
                      <a:pt x="134" y="33"/>
                      <a:pt x="134" y="33"/>
                      <a:pt x="134" y="33"/>
                    </a:cubicBezTo>
                    <a:cubicBezTo>
                      <a:pt x="134" y="33"/>
                      <a:pt x="134" y="33"/>
                      <a:pt x="134" y="33"/>
                    </a:cubicBezTo>
                    <a:cubicBezTo>
                      <a:pt x="134" y="83"/>
                      <a:pt x="134" y="83"/>
                      <a:pt x="134" y="83"/>
                    </a:cubicBezTo>
                    <a:cubicBezTo>
                      <a:pt x="253" y="116"/>
                      <a:pt x="253" y="116"/>
                      <a:pt x="253" y="116"/>
                    </a:cubicBezTo>
                    <a:cubicBezTo>
                      <a:pt x="253" y="68"/>
                      <a:pt x="253" y="68"/>
                      <a:pt x="253" y="68"/>
                    </a:cubicBezTo>
                    <a:cubicBezTo>
                      <a:pt x="250" y="67"/>
                      <a:pt x="250" y="67"/>
                      <a:pt x="250" y="67"/>
                    </a:cubicBezTo>
                    <a:lnTo>
                      <a:pt x="247" y="66"/>
                    </a:lnTo>
                    <a:close/>
                    <a:moveTo>
                      <a:pt x="201" y="324"/>
                    </a:moveTo>
                    <a:cubicBezTo>
                      <a:pt x="253" y="339"/>
                      <a:pt x="253" y="339"/>
                      <a:pt x="253" y="339"/>
                    </a:cubicBezTo>
                    <a:cubicBezTo>
                      <a:pt x="253" y="259"/>
                      <a:pt x="253" y="259"/>
                      <a:pt x="253" y="259"/>
                    </a:cubicBezTo>
                    <a:cubicBezTo>
                      <a:pt x="201" y="232"/>
                      <a:pt x="201" y="232"/>
                      <a:pt x="201" y="232"/>
                    </a:cubicBezTo>
                    <a:lnTo>
                      <a:pt x="201" y="324"/>
                    </a:lnTo>
                    <a:close/>
                    <a:moveTo>
                      <a:pt x="63" y="101"/>
                    </a:moveTo>
                    <a:cubicBezTo>
                      <a:pt x="131" y="84"/>
                      <a:pt x="131" y="84"/>
                      <a:pt x="131" y="84"/>
                    </a:cubicBezTo>
                    <a:cubicBezTo>
                      <a:pt x="131" y="33"/>
                      <a:pt x="131" y="33"/>
                      <a:pt x="131" y="33"/>
                    </a:cubicBezTo>
                    <a:cubicBezTo>
                      <a:pt x="63" y="51"/>
                      <a:pt x="63" y="51"/>
                      <a:pt x="63" y="51"/>
                    </a:cubicBezTo>
                    <a:lnTo>
                      <a:pt x="63" y="101"/>
                    </a:lnTo>
                    <a:close/>
                    <a:moveTo>
                      <a:pt x="27" y="333"/>
                    </a:moveTo>
                    <a:cubicBezTo>
                      <a:pt x="125" y="306"/>
                      <a:pt x="125" y="306"/>
                      <a:pt x="125" y="306"/>
                    </a:cubicBezTo>
                    <a:cubicBezTo>
                      <a:pt x="129" y="306"/>
                      <a:pt x="129" y="306"/>
                      <a:pt x="129" y="306"/>
                    </a:cubicBezTo>
                    <a:cubicBezTo>
                      <a:pt x="131" y="305"/>
                      <a:pt x="131" y="305"/>
                      <a:pt x="131" y="305"/>
                    </a:cubicBezTo>
                    <a:cubicBezTo>
                      <a:pt x="131" y="93"/>
                      <a:pt x="131" y="93"/>
                      <a:pt x="131" y="93"/>
                    </a:cubicBezTo>
                    <a:cubicBezTo>
                      <a:pt x="27" y="120"/>
                      <a:pt x="27" y="120"/>
                      <a:pt x="27" y="120"/>
                    </a:cubicBezTo>
                    <a:lnTo>
                      <a:pt x="27" y="333"/>
                    </a:lnTo>
                    <a:close/>
                    <a:moveTo>
                      <a:pt x="201" y="221"/>
                    </a:moveTo>
                    <a:cubicBezTo>
                      <a:pt x="253" y="248"/>
                      <a:pt x="253" y="248"/>
                      <a:pt x="253" y="248"/>
                    </a:cubicBezTo>
                    <a:cubicBezTo>
                      <a:pt x="253" y="126"/>
                      <a:pt x="253" y="126"/>
                      <a:pt x="253" y="126"/>
                    </a:cubicBezTo>
                    <a:cubicBezTo>
                      <a:pt x="201" y="112"/>
                      <a:pt x="201" y="112"/>
                      <a:pt x="201" y="112"/>
                    </a:cubicBezTo>
                    <a:lnTo>
                      <a:pt x="201" y="221"/>
                    </a:lnTo>
                    <a:close/>
                    <a:moveTo>
                      <a:pt x="256" y="68"/>
                    </a:moveTo>
                    <a:cubicBezTo>
                      <a:pt x="256" y="116"/>
                      <a:pt x="256" y="116"/>
                      <a:pt x="256" y="116"/>
                    </a:cubicBezTo>
                    <a:cubicBezTo>
                      <a:pt x="373" y="85"/>
                      <a:pt x="373" y="85"/>
                      <a:pt x="373" y="85"/>
                    </a:cubicBezTo>
                    <a:cubicBezTo>
                      <a:pt x="373" y="35"/>
                      <a:pt x="373" y="35"/>
                      <a:pt x="373" y="35"/>
                    </a:cubicBezTo>
                    <a:cubicBezTo>
                      <a:pt x="261" y="66"/>
                      <a:pt x="261" y="66"/>
                      <a:pt x="261" y="66"/>
                    </a:cubicBezTo>
                    <a:cubicBezTo>
                      <a:pt x="258" y="67"/>
                      <a:pt x="258" y="67"/>
                      <a:pt x="258" y="67"/>
                    </a:cubicBezTo>
                    <a:lnTo>
                      <a:pt x="256" y="68"/>
                    </a:lnTo>
                    <a:close/>
                    <a:moveTo>
                      <a:pt x="254" y="40"/>
                    </a:moveTo>
                    <a:cubicBezTo>
                      <a:pt x="135" y="5"/>
                      <a:pt x="135" y="5"/>
                      <a:pt x="135" y="5"/>
                    </a:cubicBezTo>
                    <a:cubicBezTo>
                      <a:pt x="0" y="39"/>
                      <a:pt x="0" y="39"/>
                      <a:pt x="0" y="39"/>
                    </a:cubicBezTo>
                    <a:cubicBezTo>
                      <a:pt x="0" y="368"/>
                      <a:pt x="0" y="368"/>
                      <a:pt x="0" y="368"/>
                    </a:cubicBezTo>
                    <a:cubicBezTo>
                      <a:pt x="132" y="332"/>
                      <a:pt x="132" y="332"/>
                      <a:pt x="132" y="332"/>
                    </a:cubicBezTo>
                    <a:cubicBezTo>
                      <a:pt x="256" y="367"/>
                      <a:pt x="256" y="367"/>
                      <a:pt x="256" y="367"/>
                    </a:cubicBezTo>
                    <a:cubicBezTo>
                      <a:pt x="256" y="367"/>
                      <a:pt x="376" y="335"/>
                      <a:pt x="387" y="333"/>
                    </a:cubicBezTo>
                    <a:cubicBezTo>
                      <a:pt x="398" y="330"/>
                      <a:pt x="400" y="327"/>
                      <a:pt x="400" y="315"/>
                    </a:cubicBezTo>
                    <a:cubicBezTo>
                      <a:pt x="400" y="310"/>
                      <a:pt x="400" y="0"/>
                      <a:pt x="400" y="0"/>
                    </a:cubicBezTo>
                    <a:lnTo>
                      <a:pt x="254" y="40"/>
                    </a:lnTo>
                    <a:close/>
                    <a:moveTo>
                      <a:pt x="387" y="319"/>
                    </a:moveTo>
                    <a:cubicBezTo>
                      <a:pt x="256" y="353"/>
                      <a:pt x="256" y="353"/>
                      <a:pt x="256" y="353"/>
                    </a:cubicBezTo>
                    <a:cubicBezTo>
                      <a:pt x="136" y="320"/>
                      <a:pt x="136" y="320"/>
                      <a:pt x="136" y="320"/>
                    </a:cubicBezTo>
                    <a:cubicBezTo>
                      <a:pt x="132" y="319"/>
                      <a:pt x="132" y="319"/>
                      <a:pt x="132" y="319"/>
                    </a:cubicBezTo>
                    <a:cubicBezTo>
                      <a:pt x="128" y="319"/>
                      <a:pt x="128" y="319"/>
                      <a:pt x="128" y="319"/>
                    </a:cubicBezTo>
                    <a:cubicBezTo>
                      <a:pt x="13" y="350"/>
                      <a:pt x="13" y="350"/>
                      <a:pt x="13" y="350"/>
                    </a:cubicBezTo>
                    <a:cubicBezTo>
                      <a:pt x="13" y="49"/>
                      <a:pt x="13" y="49"/>
                      <a:pt x="13" y="49"/>
                    </a:cubicBezTo>
                    <a:cubicBezTo>
                      <a:pt x="134" y="19"/>
                      <a:pt x="134" y="19"/>
                      <a:pt x="134" y="19"/>
                    </a:cubicBezTo>
                    <a:cubicBezTo>
                      <a:pt x="250" y="53"/>
                      <a:pt x="250" y="53"/>
                      <a:pt x="250" y="53"/>
                    </a:cubicBezTo>
                    <a:cubicBezTo>
                      <a:pt x="254" y="54"/>
                      <a:pt x="254" y="54"/>
                      <a:pt x="254" y="54"/>
                    </a:cubicBezTo>
                    <a:cubicBezTo>
                      <a:pt x="258" y="53"/>
                      <a:pt x="258" y="53"/>
                      <a:pt x="258" y="53"/>
                    </a:cubicBezTo>
                    <a:cubicBezTo>
                      <a:pt x="387" y="18"/>
                      <a:pt x="387" y="18"/>
                      <a:pt x="387" y="18"/>
                    </a:cubicBezTo>
                    <a:cubicBezTo>
                      <a:pt x="387" y="319"/>
                      <a:pt x="387" y="319"/>
                      <a:pt x="387" y="319"/>
                    </a:cubicBezTo>
                    <a:close/>
                    <a:moveTo>
                      <a:pt x="256" y="339"/>
                    </a:moveTo>
                    <a:cubicBezTo>
                      <a:pt x="256" y="339"/>
                      <a:pt x="256" y="339"/>
                      <a:pt x="256" y="339"/>
                    </a:cubicBezTo>
                    <a:cubicBezTo>
                      <a:pt x="345" y="316"/>
                      <a:pt x="345" y="316"/>
                      <a:pt x="345" y="316"/>
                    </a:cubicBezTo>
                    <a:cubicBezTo>
                      <a:pt x="345" y="236"/>
                      <a:pt x="345" y="236"/>
                      <a:pt x="345" y="236"/>
                    </a:cubicBezTo>
                    <a:cubicBezTo>
                      <a:pt x="256" y="259"/>
                      <a:pt x="256" y="259"/>
                      <a:pt x="256" y="259"/>
                    </a:cubicBezTo>
                    <a:lnTo>
                      <a:pt x="256" y="339"/>
                    </a:lnTo>
                    <a:close/>
                    <a:moveTo>
                      <a:pt x="256" y="249"/>
                    </a:moveTo>
                    <a:cubicBezTo>
                      <a:pt x="373" y="219"/>
                      <a:pt x="373" y="219"/>
                      <a:pt x="373" y="219"/>
                    </a:cubicBezTo>
                    <a:cubicBezTo>
                      <a:pt x="373" y="94"/>
                      <a:pt x="373" y="94"/>
                      <a:pt x="373" y="94"/>
                    </a:cubicBezTo>
                    <a:cubicBezTo>
                      <a:pt x="256" y="126"/>
                      <a:pt x="256" y="126"/>
                      <a:pt x="256" y="126"/>
                    </a:cubicBezTo>
                    <a:lnTo>
                      <a:pt x="256" y="249"/>
                    </a:lnTo>
                    <a:close/>
                    <a:moveTo>
                      <a:pt x="355" y="313"/>
                    </a:moveTo>
                    <a:cubicBezTo>
                      <a:pt x="373" y="308"/>
                      <a:pt x="373" y="308"/>
                      <a:pt x="373" y="308"/>
                    </a:cubicBezTo>
                    <a:cubicBezTo>
                      <a:pt x="373" y="228"/>
                      <a:pt x="373" y="228"/>
                      <a:pt x="373" y="228"/>
                    </a:cubicBezTo>
                    <a:cubicBezTo>
                      <a:pt x="355" y="233"/>
                      <a:pt x="355" y="233"/>
                      <a:pt x="355" y="233"/>
                    </a:cubicBezTo>
                    <a:lnTo>
                      <a:pt x="355" y="31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14" name="Rechthoek 10"/>
            <p:cNvSpPr>
              <a:spLocks noChangeAspect="1"/>
            </p:cNvSpPr>
            <p:nvPr/>
          </p:nvSpPr>
          <p:spPr>
            <a:xfrm>
              <a:off x="6418264" y="1778098"/>
              <a:ext cx="1841401" cy="184140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22" name="Titel 7"/>
            <p:cNvSpPr txBox="1">
              <a:spLocks/>
            </p:cNvSpPr>
            <p:nvPr/>
          </p:nvSpPr>
          <p:spPr>
            <a:xfrm>
              <a:off x="6489448" y="1809802"/>
              <a:ext cx="1561090" cy="640875"/>
            </a:xfrm>
            <a:prstGeom prst="rect">
              <a:avLst/>
            </a:prstGeom>
          </p:spPr>
          <p:txBody>
            <a:bodyPr lIns="0" tIns="34290" rIns="68580" bIns="3429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offer</a:t>
              </a:r>
            </a:p>
          </p:txBody>
        </p:sp>
        <p:sp>
          <p:nvSpPr>
            <p:cNvPr id="23" name="Titel 7"/>
            <p:cNvSpPr txBox="1">
              <a:spLocks/>
            </p:cNvSpPr>
            <p:nvPr/>
          </p:nvSpPr>
          <p:spPr>
            <a:xfrm>
              <a:off x="6489447" y="2932444"/>
              <a:ext cx="1770217" cy="640875"/>
            </a:xfrm>
            <a:prstGeom prst="rect">
              <a:avLst/>
            </a:prstGeom>
          </p:spPr>
          <p:txBody>
            <a:bodyPr lIns="0" tIns="34290" rIns="68580" bIns="34290"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Access to </a:t>
              </a:r>
            </a:p>
            <a:p>
              <a:pPr algn="l"/>
              <a:r>
                <a:rPr lang="en-GB" sz="1400" dirty="0">
                  <a:solidFill>
                    <a:schemeClr val="bg1"/>
                  </a:solidFill>
                </a:rPr>
                <a:t>specifications, designs and implementation </a:t>
              </a:r>
            </a:p>
            <a:p>
              <a:pPr algn="l"/>
              <a:r>
                <a:rPr lang="en-GB" sz="1400" dirty="0">
                  <a:solidFill>
                    <a:schemeClr val="bg1"/>
                  </a:solidFill>
                </a:rPr>
                <a:t>guidelines</a:t>
              </a:r>
            </a:p>
          </p:txBody>
        </p:sp>
        <p:sp>
          <p:nvSpPr>
            <p:cNvPr id="26" name="Rechthoek 10"/>
            <p:cNvSpPr>
              <a:spLocks noChangeAspect="1"/>
            </p:cNvSpPr>
            <p:nvPr/>
          </p:nvSpPr>
          <p:spPr>
            <a:xfrm>
              <a:off x="6418791" y="1778097"/>
              <a:ext cx="1841401" cy="1841401"/>
            </a:xfrm>
            <a:prstGeom prst="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spTree>
    <p:extLst>
      <p:ext uri="{BB962C8B-B14F-4D97-AF65-F5344CB8AC3E}">
        <p14:creationId xmlns:p14="http://schemas.microsoft.com/office/powerpoint/2010/main" val="185180134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Freeform 75"/>
          <p:cNvSpPr/>
          <p:nvPr/>
        </p:nvSpPr>
        <p:spPr>
          <a:xfrm>
            <a:off x="1058222" y="2710848"/>
            <a:ext cx="4099485" cy="85150"/>
          </a:xfrm>
          <a:custGeom>
            <a:avLst/>
            <a:gdLst>
              <a:gd name="connsiteX0" fmla="*/ 0 w 1446245"/>
              <a:gd name="connsiteY0" fmla="*/ 0 h 0"/>
              <a:gd name="connsiteX1" fmla="*/ 1446245 w 1446245"/>
              <a:gd name="connsiteY1" fmla="*/ 0 h 0"/>
            </a:gdLst>
            <a:ahLst/>
            <a:cxnLst>
              <a:cxn ang="0">
                <a:pos x="connsiteX0" y="connsiteY0"/>
              </a:cxn>
              <a:cxn ang="0">
                <a:pos x="connsiteX1" y="connsiteY1"/>
              </a:cxn>
            </a:cxnLst>
            <a:rect l="l" t="t" r="r" b="b"/>
            <a:pathLst>
              <a:path w="1446245">
                <a:moveTo>
                  <a:pt x="0" y="0"/>
                </a:moveTo>
                <a:lnTo>
                  <a:pt x="1446245" y="0"/>
                </a:lnTo>
              </a:path>
            </a:pathLst>
          </a:cu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05" name="Freeform 57"/>
          <p:cNvSpPr/>
          <p:nvPr/>
        </p:nvSpPr>
        <p:spPr>
          <a:xfrm>
            <a:off x="2211069" y="725919"/>
            <a:ext cx="2904259" cy="76126"/>
          </a:xfrm>
          <a:custGeom>
            <a:avLst/>
            <a:gdLst>
              <a:gd name="connsiteX0" fmla="*/ 0 w 1446245"/>
              <a:gd name="connsiteY0" fmla="*/ 0 h 0"/>
              <a:gd name="connsiteX1" fmla="*/ 1446245 w 1446245"/>
              <a:gd name="connsiteY1" fmla="*/ 0 h 0"/>
            </a:gdLst>
            <a:ahLst/>
            <a:cxnLst>
              <a:cxn ang="0">
                <a:pos x="connsiteX0" y="connsiteY0"/>
              </a:cxn>
              <a:cxn ang="0">
                <a:pos x="connsiteX1" y="connsiteY1"/>
              </a:cxn>
            </a:cxnLst>
            <a:rect l="l" t="t" r="r" b="b"/>
            <a:pathLst>
              <a:path w="1446245">
                <a:moveTo>
                  <a:pt x="0" y="0"/>
                </a:moveTo>
                <a:lnTo>
                  <a:pt x="1446245" y="0"/>
                </a:lnTo>
              </a:path>
            </a:pathLst>
          </a:cu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06" name="Rectangle 54"/>
          <p:cNvSpPr/>
          <p:nvPr/>
        </p:nvSpPr>
        <p:spPr>
          <a:xfrm>
            <a:off x="2484561" y="256737"/>
            <a:ext cx="1033318" cy="92130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GB" sz="1400" dirty="0">
                <a:solidFill>
                  <a:schemeClr val="bg1"/>
                </a:solidFill>
              </a:rPr>
              <a:t>More local production</a:t>
            </a:r>
            <a:endParaRPr lang="nl-NL" sz="1400" dirty="0">
              <a:solidFill>
                <a:schemeClr val="bg1"/>
              </a:solidFill>
            </a:endParaRPr>
          </a:p>
        </p:txBody>
      </p:sp>
      <p:sp>
        <p:nvSpPr>
          <p:cNvPr id="107" name="Rectangle 55"/>
          <p:cNvSpPr/>
          <p:nvPr/>
        </p:nvSpPr>
        <p:spPr>
          <a:xfrm>
            <a:off x="3663068" y="256737"/>
            <a:ext cx="953104" cy="92130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GB" sz="1400" dirty="0">
                <a:solidFill>
                  <a:schemeClr val="bg1"/>
                </a:solidFill>
              </a:rPr>
              <a:t>More local players</a:t>
            </a:r>
            <a:endParaRPr lang="nl-NL" sz="1400" dirty="0">
              <a:solidFill>
                <a:schemeClr val="bg1"/>
              </a:solidFill>
            </a:endParaRPr>
          </a:p>
        </p:txBody>
      </p:sp>
      <p:sp>
        <p:nvSpPr>
          <p:cNvPr id="108" name="Rectangle 56"/>
          <p:cNvSpPr/>
          <p:nvPr/>
        </p:nvSpPr>
        <p:spPr>
          <a:xfrm>
            <a:off x="4761359" y="256737"/>
            <a:ext cx="1975546" cy="92130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GB" sz="1400" dirty="0">
                <a:solidFill>
                  <a:schemeClr val="bg1"/>
                </a:solidFill>
              </a:rPr>
              <a:t>And more up- and downloads of energy anywhere in the system </a:t>
            </a:r>
            <a:endParaRPr lang="nl-NL" sz="1400" dirty="0">
              <a:solidFill>
                <a:schemeClr val="bg1"/>
              </a:solidFill>
            </a:endParaRPr>
          </a:p>
        </p:txBody>
      </p:sp>
      <p:sp>
        <p:nvSpPr>
          <p:cNvPr id="109" name="Freeform 25"/>
          <p:cNvSpPr/>
          <p:nvPr/>
        </p:nvSpPr>
        <p:spPr>
          <a:xfrm>
            <a:off x="5152251" y="1172138"/>
            <a:ext cx="353261" cy="292752"/>
          </a:xfrm>
          <a:custGeom>
            <a:avLst/>
            <a:gdLst>
              <a:gd name="connsiteX0" fmla="*/ 1007706 w 1007706"/>
              <a:gd name="connsiteY0" fmla="*/ 345233 h 345233"/>
              <a:gd name="connsiteX1" fmla="*/ 1007706 w 1007706"/>
              <a:gd name="connsiteY1" fmla="*/ 139959 h 345233"/>
              <a:gd name="connsiteX2" fmla="*/ 0 w 1007706"/>
              <a:gd name="connsiteY2" fmla="*/ 139959 h 345233"/>
              <a:gd name="connsiteX3" fmla="*/ 0 w 1007706"/>
              <a:gd name="connsiteY3" fmla="*/ 0 h 345233"/>
            </a:gdLst>
            <a:ahLst/>
            <a:cxnLst>
              <a:cxn ang="0">
                <a:pos x="connsiteX0" y="connsiteY0"/>
              </a:cxn>
              <a:cxn ang="0">
                <a:pos x="connsiteX1" y="connsiteY1"/>
              </a:cxn>
              <a:cxn ang="0">
                <a:pos x="connsiteX2" y="connsiteY2"/>
              </a:cxn>
              <a:cxn ang="0">
                <a:pos x="connsiteX3" y="connsiteY3"/>
              </a:cxn>
            </a:cxnLst>
            <a:rect l="l" t="t" r="r" b="b"/>
            <a:pathLst>
              <a:path w="1007706" h="345233">
                <a:moveTo>
                  <a:pt x="1007706" y="345233"/>
                </a:moveTo>
                <a:lnTo>
                  <a:pt x="1007706" y="139959"/>
                </a:lnTo>
                <a:lnTo>
                  <a:pt x="0" y="139959"/>
                </a:lnTo>
                <a:lnTo>
                  <a:pt x="0" y="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10" name="Rectangle 14"/>
          <p:cNvSpPr/>
          <p:nvPr/>
        </p:nvSpPr>
        <p:spPr>
          <a:xfrm>
            <a:off x="1147832" y="257140"/>
            <a:ext cx="1229025" cy="1126916"/>
          </a:xfrm>
          <a:prstGeom prst="rect">
            <a:avLst/>
          </a:prstGeom>
          <a:solidFill>
            <a:srgbClr val="197AA0"/>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p>
        </p:txBody>
      </p:sp>
      <p:sp>
        <p:nvSpPr>
          <p:cNvPr id="111" name="Rechthoek 110"/>
          <p:cNvSpPr>
            <a:spLocks noChangeAspect="1"/>
          </p:cNvSpPr>
          <p:nvPr/>
        </p:nvSpPr>
        <p:spPr>
          <a:xfrm>
            <a:off x="5152773" y="1392389"/>
            <a:ext cx="2077448" cy="2103823"/>
          </a:xfrm>
          <a:prstGeom prst="rect">
            <a:avLst/>
          </a:prstGeom>
          <a:solidFill>
            <a:schemeClr val="bg1"/>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solidFill>
                <a:srgbClr val="0099C6"/>
              </a:solidFill>
            </a:endParaRPr>
          </a:p>
        </p:txBody>
      </p:sp>
      <p:sp>
        <p:nvSpPr>
          <p:cNvPr id="112" name="Rechthoek 10"/>
          <p:cNvSpPr>
            <a:spLocks noChangeAspect="1"/>
          </p:cNvSpPr>
          <p:nvPr/>
        </p:nvSpPr>
        <p:spPr>
          <a:xfrm>
            <a:off x="4438692" y="2844340"/>
            <a:ext cx="670014" cy="6557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nl-NL" sz="1400" dirty="0"/>
              <a:t>        </a:t>
            </a:r>
          </a:p>
        </p:txBody>
      </p:sp>
      <p:sp>
        <p:nvSpPr>
          <p:cNvPr id="113" name="Tijdelijke aanduiding voor inhoud 16"/>
          <p:cNvSpPr txBox="1">
            <a:spLocks/>
          </p:cNvSpPr>
          <p:nvPr/>
        </p:nvSpPr>
        <p:spPr>
          <a:xfrm>
            <a:off x="4383007" y="2999900"/>
            <a:ext cx="774698" cy="392669"/>
          </a:xfrm>
          <a:prstGeom prst="rect">
            <a:avLst/>
          </a:prstGeom>
        </p:spPr>
        <p:txBody>
          <a:bodyPr lIns="91430" tIns="45715" rIns="91430" bIns="45715"/>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80000"/>
              </a:lnSpc>
              <a:spcBef>
                <a:spcPts val="0"/>
              </a:spcBef>
              <a:buNone/>
            </a:pPr>
            <a:r>
              <a:rPr lang="nl-NL" sz="1400" dirty="0">
                <a:solidFill>
                  <a:schemeClr val="bg1"/>
                </a:solidFill>
              </a:rPr>
              <a:t>Energy System</a:t>
            </a:r>
          </a:p>
        </p:txBody>
      </p:sp>
      <p:sp>
        <p:nvSpPr>
          <p:cNvPr id="114" name="Freeform 4"/>
          <p:cNvSpPr/>
          <p:nvPr/>
        </p:nvSpPr>
        <p:spPr>
          <a:xfrm>
            <a:off x="4883402" y="3499340"/>
            <a:ext cx="577215" cy="225965"/>
          </a:xfrm>
          <a:custGeom>
            <a:avLst/>
            <a:gdLst>
              <a:gd name="connsiteX0" fmla="*/ 839756 w 839756"/>
              <a:gd name="connsiteY0" fmla="*/ 0 h 335902"/>
              <a:gd name="connsiteX1" fmla="*/ 839756 w 839756"/>
              <a:gd name="connsiteY1" fmla="*/ 335902 h 335902"/>
              <a:gd name="connsiteX2" fmla="*/ 0 w 839756"/>
              <a:gd name="connsiteY2" fmla="*/ 335902 h 335902"/>
            </a:gdLst>
            <a:ahLst/>
            <a:cxnLst>
              <a:cxn ang="0">
                <a:pos x="connsiteX0" y="connsiteY0"/>
              </a:cxn>
              <a:cxn ang="0">
                <a:pos x="connsiteX1" y="connsiteY1"/>
              </a:cxn>
              <a:cxn ang="0">
                <a:pos x="connsiteX2" y="connsiteY2"/>
              </a:cxn>
            </a:cxnLst>
            <a:rect l="l" t="t" r="r" b="b"/>
            <a:pathLst>
              <a:path w="839756" h="335902">
                <a:moveTo>
                  <a:pt x="839756" y="0"/>
                </a:moveTo>
                <a:lnTo>
                  <a:pt x="839756" y="335902"/>
                </a:lnTo>
                <a:lnTo>
                  <a:pt x="0" y="335902"/>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15" name="Rechthoek 11"/>
          <p:cNvSpPr>
            <a:spLocks noChangeAspect="1"/>
          </p:cNvSpPr>
          <p:nvPr/>
        </p:nvSpPr>
        <p:spPr>
          <a:xfrm>
            <a:off x="4833911" y="3701087"/>
            <a:ext cx="49490" cy="484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16" name="Freeform 5"/>
          <p:cNvSpPr/>
          <p:nvPr/>
        </p:nvSpPr>
        <p:spPr>
          <a:xfrm>
            <a:off x="6781799" y="3455405"/>
            <a:ext cx="814514" cy="376609"/>
          </a:xfrm>
          <a:custGeom>
            <a:avLst/>
            <a:gdLst>
              <a:gd name="connsiteX0" fmla="*/ 1184987 w 1184987"/>
              <a:gd name="connsiteY0" fmla="*/ 0 h 559837"/>
              <a:gd name="connsiteX1" fmla="*/ 1184987 w 1184987"/>
              <a:gd name="connsiteY1" fmla="*/ 559837 h 559837"/>
              <a:gd name="connsiteX2" fmla="*/ 317241 w 1184987"/>
              <a:gd name="connsiteY2" fmla="*/ 559837 h 559837"/>
              <a:gd name="connsiteX3" fmla="*/ 317241 w 1184987"/>
              <a:gd name="connsiteY3" fmla="*/ 298580 h 559837"/>
              <a:gd name="connsiteX4" fmla="*/ 0 w 1184987"/>
              <a:gd name="connsiteY4" fmla="*/ 298580 h 559837"/>
              <a:gd name="connsiteX5" fmla="*/ 0 w 1184987"/>
              <a:gd name="connsiteY5" fmla="*/ 74645 h 5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987" h="559837">
                <a:moveTo>
                  <a:pt x="1184987" y="0"/>
                </a:moveTo>
                <a:lnTo>
                  <a:pt x="1184987" y="559837"/>
                </a:lnTo>
                <a:lnTo>
                  <a:pt x="317241" y="559837"/>
                </a:lnTo>
                <a:lnTo>
                  <a:pt x="317241" y="298580"/>
                </a:lnTo>
                <a:lnTo>
                  <a:pt x="0" y="298580"/>
                </a:lnTo>
                <a:lnTo>
                  <a:pt x="0" y="74645"/>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17" name="Rechthoek 11"/>
          <p:cNvSpPr>
            <a:spLocks noChangeAspect="1"/>
          </p:cNvSpPr>
          <p:nvPr/>
        </p:nvSpPr>
        <p:spPr>
          <a:xfrm>
            <a:off x="7571565" y="3406967"/>
            <a:ext cx="49490" cy="484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18" name="Freeform 6"/>
          <p:cNvSpPr/>
          <p:nvPr/>
        </p:nvSpPr>
        <p:spPr>
          <a:xfrm>
            <a:off x="5512031" y="3495156"/>
            <a:ext cx="130942" cy="322942"/>
          </a:xfrm>
          <a:custGeom>
            <a:avLst/>
            <a:gdLst>
              <a:gd name="connsiteX0" fmla="*/ 0 w 190500"/>
              <a:gd name="connsiteY0" fmla="*/ 0 h 480060"/>
              <a:gd name="connsiteX1" fmla="*/ 0 w 190500"/>
              <a:gd name="connsiteY1" fmla="*/ 480060 h 480060"/>
              <a:gd name="connsiteX2" fmla="*/ 190500 w 190500"/>
              <a:gd name="connsiteY2" fmla="*/ 480060 h 480060"/>
            </a:gdLst>
            <a:ahLst/>
            <a:cxnLst>
              <a:cxn ang="0">
                <a:pos x="connsiteX0" y="connsiteY0"/>
              </a:cxn>
              <a:cxn ang="0">
                <a:pos x="connsiteX1" y="connsiteY1"/>
              </a:cxn>
              <a:cxn ang="0">
                <a:pos x="connsiteX2" y="connsiteY2"/>
              </a:cxn>
            </a:cxnLst>
            <a:rect l="l" t="t" r="r" b="b"/>
            <a:pathLst>
              <a:path w="190500" h="480060">
                <a:moveTo>
                  <a:pt x="0" y="0"/>
                </a:moveTo>
                <a:lnTo>
                  <a:pt x="0" y="480060"/>
                </a:lnTo>
                <a:lnTo>
                  <a:pt x="190500" y="48006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19" name="Rechthoek 11"/>
          <p:cNvSpPr>
            <a:spLocks noChangeAspect="1"/>
          </p:cNvSpPr>
          <p:nvPr/>
        </p:nvSpPr>
        <p:spPr>
          <a:xfrm>
            <a:off x="5643806" y="3793880"/>
            <a:ext cx="49490" cy="484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20" name="Freeform 7"/>
          <p:cNvSpPr/>
          <p:nvPr/>
        </p:nvSpPr>
        <p:spPr>
          <a:xfrm>
            <a:off x="6736905" y="3499342"/>
            <a:ext cx="173165" cy="251073"/>
          </a:xfrm>
          <a:custGeom>
            <a:avLst/>
            <a:gdLst>
              <a:gd name="connsiteX0" fmla="*/ 0 w 251927"/>
              <a:gd name="connsiteY0" fmla="*/ 0 h 373225"/>
              <a:gd name="connsiteX1" fmla="*/ 0 w 251927"/>
              <a:gd name="connsiteY1" fmla="*/ 298580 h 373225"/>
              <a:gd name="connsiteX2" fmla="*/ 251927 w 251927"/>
              <a:gd name="connsiteY2" fmla="*/ 298580 h 373225"/>
              <a:gd name="connsiteX3" fmla="*/ 251927 w 251927"/>
              <a:gd name="connsiteY3" fmla="*/ 373225 h 373225"/>
            </a:gdLst>
            <a:ahLst/>
            <a:cxnLst>
              <a:cxn ang="0">
                <a:pos x="connsiteX0" y="connsiteY0"/>
              </a:cxn>
              <a:cxn ang="0">
                <a:pos x="connsiteX1" y="connsiteY1"/>
              </a:cxn>
              <a:cxn ang="0">
                <a:pos x="connsiteX2" y="connsiteY2"/>
              </a:cxn>
              <a:cxn ang="0">
                <a:pos x="connsiteX3" y="connsiteY3"/>
              </a:cxn>
            </a:cxnLst>
            <a:rect l="l" t="t" r="r" b="b"/>
            <a:pathLst>
              <a:path w="251927" h="373225">
                <a:moveTo>
                  <a:pt x="0" y="0"/>
                </a:moveTo>
                <a:lnTo>
                  <a:pt x="0" y="298580"/>
                </a:lnTo>
                <a:lnTo>
                  <a:pt x="251927" y="298580"/>
                </a:lnTo>
                <a:lnTo>
                  <a:pt x="251927" y="373225"/>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21" name="Rechthoek 11"/>
          <p:cNvSpPr>
            <a:spLocks noChangeAspect="1"/>
          </p:cNvSpPr>
          <p:nvPr/>
        </p:nvSpPr>
        <p:spPr>
          <a:xfrm>
            <a:off x="6885321" y="3752086"/>
            <a:ext cx="49490" cy="484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22" name="Freeform 21"/>
          <p:cNvSpPr/>
          <p:nvPr/>
        </p:nvSpPr>
        <p:spPr>
          <a:xfrm>
            <a:off x="4158681" y="2149127"/>
            <a:ext cx="994092" cy="0"/>
          </a:xfrm>
          <a:custGeom>
            <a:avLst/>
            <a:gdLst>
              <a:gd name="connsiteX0" fmla="*/ 0 w 1446245"/>
              <a:gd name="connsiteY0" fmla="*/ 0 h 0"/>
              <a:gd name="connsiteX1" fmla="*/ 1446245 w 1446245"/>
              <a:gd name="connsiteY1" fmla="*/ 0 h 0"/>
            </a:gdLst>
            <a:ahLst/>
            <a:cxnLst>
              <a:cxn ang="0">
                <a:pos x="connsiteX0" y="connsiteY0"/>
              </a:cxn>
              <a:cxn ang="0">
                <a:pos x="connsiteX1" y="connsiteY1"/>
              </a:cxn>
            </a:cxnLst>
            <a:rect l="l" t="t" r="r" b="b"/>
            <a:pathLst>
              <a:path w="1446245">
                <a:moveTo>
                  <a:pt x="0" y="0"/>
                </a:moveTo>
                <a:lnTo>
                  <a:pt x="1446245" y="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23" name="Freeform 26"/>
          <p:cNvSpPr/>
          <p:nvPr/>
        </p:nvSpPr>
        <p:spPr>
          <a:xfrm>
            <a:off x="4158681" y="2439873"/>
            <a:ext cx="994092" cy="0"/>
          </a:xfrm>
          <a:custGeom>
            <a:avLst/>
            <a:gdLst>
              <a:gd name="connsiteX0" fmla="*/ 0 w 1446245"/>
              <a:gd name="connsiteY0" fmla="*/ 0 h 0"/>
              <a:gd name="connsiteX1" fmla="*/ 1446245 w 1446245"/>
              <a:gd name="connsiteY1" fmla="*/ 0 h 0"/>
            </a:gdLst>
            <a:ahLst/>
            <a:cxnLst>
              <a:cxn ang="0">
                <a:pos x="connsiteX0" y="connsiteY0"/>
              </a:cxn>
              <a:cxn ang="0">
                <a:pos x="connsiteX1" y="connsiteY1"/>
              </a:cxn>
            </a:cxnLst>
            <a:rect l="l" t="t" r="r" b="b"/>
            <a:pathLst>
              <a:path w="1446245">
                <a:moveTo>
                  <a:pt x="0" y="0"/>
                </a:moveTo>
                <a:lnTo>
                  <a:pt x="1446245" y="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24" name="Freeform 30"/>
          <p:cNvSpPr/>
          <p:nvPr/>
        </p:nvSpPr>
        <p:spPr>
          <a:xfrm>
            <a:off x="5903151" y="1202026"/>
            <a:ext cx="679831" cy="182028"/>
          </a:xfrm>
          <a:custGeom>
            <a:avLst/>
            <a:gdLst>
              <a:gd name="connsiteX0" fmla="*/ 0 w 989045"/>
              <a:gd name="connsiteY0" fmla="*/ 541175 h 541175"/>
              <a:gd name="connsiteX1" fmla="*/ 0 w 989045"/>
              <a:gd name="connsiteY1" fmla="*/ 214604 h 541175"/>
              <a:gd name="connsiteX2" fmla="*/ 989045 w 989045"/>
              <a:gd name="connsiteY2" fmla="*/ 214604 h 541175"/>
              <a:gd name="connsiteX3" fmla="*/ 989045 w 989045"/>
              <a:gd name="connsiteY3" fmla="*/ 0 h 541175"/>
            </a:gdLst>
            <a:ahLst/>
            <a:cxnLst>
              <a:cxn ang="0">
                <a:pos x="connsiteX0" y="connsiteY0"/>
              </a:cxn>
              <a:cxn ang="0">
                <a:pos x="connsiteX1" y="connsiteY1"/>
              </a:cxn>
              <a:cxn ang="0">
                <a:pos x="connsiteX2" y="connsiteY2"/>
              </a:cxn>
              <a:cxn ang="0">
                <a:pos x="connsiteX3" y="connsiteY3"/>
              </a:cxn>
            </a:cxnLst>
            <a:rect l="l" t="t" r="r" b="b"/>
            <a:pathLst>
              <a:path w="989045" h="541175">
                <a:moveTo>
                  <a:pt x="0" y="541175"/>
                </a:moveTo>
                <a:lnTo>
                  <a:pt x="0" y="214604"/>
                </a:lnTo>
                <a:lnTo>
                  <a:pt x="989045" y="214604"/>
                </a:lnTo>
                <a:lnTo>
                  <a:pt x="989045" y="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25" name="Freeform 1023"/>
          <p:cNvSpPr/>
          <p:nvPr/>
        </p:nvSpPr>
        <p:spPr>
          <a:xfrm>
            <a:off x="7230742" y="1610021"/>
            <a:ext cx="359156" cy="558637"/>
          </a:xfrm>
          <a:custGeom>
            <a:avLst/>
            <a:gdLst>
              <a:gd name="connsiteX0" fmla="*/ 0 w 522514"/>
              <a:gd name="connsiteY0" fmla="*/ 0 h 830425"/>
              <a:gd name="connsiteX1" fmla="*/ 139959 w 522514"/>
              <a:gd name="connsiteY1" fmla="*/ 0 h 830425"/>
              <a:gd name="connsiteX2" fmla="*/ 139959 w 522514"/>
              <a:gd name="connsiteY2" fmla="*/ 830425 h 830425"/>
              <a:gd name="connsiteX3" fmla="*/ 522514 w 522514"/>
              <a:gd name="connsiteY3" fmla="*/ 830425 h 830425"/>
            </a:gdLst>
            <a:ahLst/>
            <a:cxnLst>
              <a:cxn ang="0">
                <a:pos x="connsiteX0" y="connsiteY0"/>
              </a:cxn>
              <a:cxn ang="0">
                <a:pos x="connsiteX1" y="connsiteY1"/>
              </a:cxn>
              <a:cxn ang="0">
                <a:pos x="connsiteX2" y="connsiteY2"/>
              </a:cxn>
              <a:cxn ang="0">
                <a:pos x="connsiteX3" y="connsiteY3"/>
              </a:cxn>
            </a:cxnLst>
            <a:rect l="l" t="t" r="r" b="b"/>
            <a:pathLst>
              <a:path w="522514" h="830425">
                <a:moveTo>
                  <a:pt x="0" y="0"/>
                </a:moveTo>
                <a:lnTo>
                  <a:pt x="139959" y="0"/>
                </a:lnTo>
                <a:lnTo>
                  <a:pt x="139959" y="830425"/>
                </a:lnTo>
                <a:lnTo>
                  <a:pt x="522514" y="830425"/>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26" name="Freeform 1024"/>
          <p:cNvSpPr/>
          <p:nvPr/>
        </p:nvSpPr>
        <p:spPr>
          <a:xfrm>
            <a:off x="7237156" y="2394622"/>
            <a:ext cx="224473" cy="156920"/>
          </a:xfrm>
          <a:custGeom>
            <a:avLst/>
            <a:gdLst>
              <a:gd name="connsiteX0" fmla="*/ 0 w 326572"/>
              <a:gd name="connsiteY0" fmla="*/ 233265 h 233265"/>
              <a:gd name="connsiteX1" fmla="*/ 186612 w 326572"/>
              <a:gd name="connsiteY1" fmla="*/ 233265 h 233265"/>
              <a:gd name="connsiteX2" fmla="*/ 186612 w 326572"/>
              <a:gd name="connsiteY2" fmla="*/ 0 h 233265"/>
              <a:gd name="connsiteX3" fmla="*/ 326572 w 326572"/>
              <a:gd name="connsiteY3" fmla="*/ 0 h 233265"/>
            </a:gdLst>
            <a:ahLst/>
            <a:cxnLst>
              <a:cxn ang="0">
                <a:pos x="connsiteX0" y="connsiteY0"/>
              </a:cxn>
              <a:cxn ang="0">
                <a:pos x="connsiteX1" y="connsiteY1"/>
              </a:cxn>
              <a:cxn ang="0">
                <a:pos x="connsiteX2" y="connsiteY2"/>
              </a:cxn>
              <a:cxn ang="0">
                <a:pos x="connsiteX3" y="connsiteY3"/>
              </a:cxn>
            </a:cxnLst>
            <a:rect l="l" t="t" r="r" b="b"/>
            <a:pathLst>
              <a:path w="326572" h="233265">
                <a:moveTo>
                  <a:pt x="0" y="233265"/>
                </a:moveTo>
                <a:lnTo>
                  <a:pt x="186612" y="233265"/>
                </a:lnTo>
                <a:lnTo>
                  <a:pt x="186612" y="0"/>
                </a:lnTo>
                <a:lnTo>
                  <a:pt x="326572" y="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sz="1400">
              <a:solidFill>
                <a:srgbClr val="0099C6"/>
              </a:solidFill>
            </a:endParaRPr>
          </a:p>
        </p:txBody>
      </p:sp>
      <p:sp>
        <p:nvSpPr>
          <p:cNvPr id="127" name="Rechthoek 11"/>
          <p:cNvSpPr>
            <a:spLocks noChangeAspect="1"/>
          </p:cNvSpPr>
          <p:nvPr/>
        </p:nvSpPr>
        <p:spPr>
          <a:xfrm>
            <a:off x="7461627" y="2371526"/>
            <a:ext cx="49490" cy="484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28" name="Rechthoek 11"/>
          <p:cNvSpPr>
            <a:spLocks noChangeAspect="1"/>
          </p:cNvSpPr>
          <p:nvPr/>
        </p:nvSpPr>
        <p:spPr>
          <a:xfrm>
            <a:off x="7571565" y="2144438"/>
            <a:ext cx="49490" cy="484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29" name="Rechthoek 11"/>
          <p:cNvSpPr>
            <a:spLocks noChangeAspect="1"/>
          </p:cNvSpPr>
          <p:nvPr/>
        </p:nvSpPr>
        <p:spPr>
          <a:xfrm>
            <a:off x="6558233" y="995780"/>
            <a:ext cx="49490" cy="484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30" name="Rechthoek 11"/>
          <p:cNvSpPr>
            <a:spLocks noChangeAspect="1"/>
          </p:cNvSpPr>
          <p:nvPr/>
        </p:nvSpPr>
        <p:spPr>
          <a:xfrm>
            <a:off x="5115327" y="2113815"/>
            <a:ext cx="72164" cy="7062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31" name="Rechthoek 11"/>
          <p:cNvSpPr>
            <a:spLocks noChangeAspect="1"/>
          </p:cNvSpPr>
          <p:nvPr/>
        </p:nvSpPr>
        <p:spPr>
          <a:xfrm>
            <a:off x="3967768" y="2040820"/>
            <a:ext cx="222655" cy="21791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32" name="Rechthoek 11"/>
          <p:cNvSpPr>
            <a:spLocks noChangeAspect="1"/>
          </p:cNvSpPr>
          <p:nvPr/>
        </p:nvSpPr>
        <p:spPr>
          <a:xfrm>
            <a:off x="3967768" y="2318775"/>
            <a:ext cx="222655" cy="21791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nl-NL" sz="1400" dirty="0"/>
          </a:p>
        </p:txBody>
      </p:sp>
      <p:sp>
        <p:nvSpPr>
          <p:cNvPr id="133" name="Isosceles Triangle 1026"/>
          <p:cNvSpPr/>
          <p:nvPr/>
        </p:nvSpPr>
        <p:spPr>
          <a:xfrm>
            <a:off x="4009306" y="2119625"/>
            <a:ext cx="139579" cy="70626"/>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0" tIns="45715" rIns="91430" bIns="45715" numCol="1" spcCol="0" rtlCol="0" fromWordArt="0" anchor="ctr" anchorCtr="0" forceAA="0" compatLnSpc="1">
            <a:prstTxWarp prst="textNoShape">
              <a:avLst/>
            </a:prstTxWarp>
            <a:noAutofit/>
          </a:bodyPr>
          <a:lstStyle/>
          <a:p>
            <a:pPr algn="ctr"/>
            <a:endParaRPr lang="en-GB" sz="1400"/>
          </a:p>
        </p:txBody>
      </p:sp>
      <p:sp>
        <p:nvSpPr>
          <p:cNvPr id="134" name="Isosceles Triangle 1026"/>
          <p:cNvSpPr/>
          <p:nvPr/>
        </p:nvSpPr>
        <p:spPr>
          <a:xfrm rot="10800000">
            <a:off x="4009306" y="2399638"/>
            <a:ext cx="139579" cy="70626"/>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0" tIns="45715" rIns="91430" bIns="45715" numCol="1" spcCol="0" rtlCol="0" fromWordArt="0" anchor="ctr" anchorCtr="0" forceAA="0" compatLnSpc="1">
            <a:prstTxWarp prst="textNoShape">
              <a:avLst/>
            </a:prstTxWarp>
            <a:noAutofit/>
          </a:bodyPr>
          <a:lstStyle/>
          <a:p>
            <a:pPr algn="ctr"/>
            <a:endParaRPr lang="en-GB" sz="1400"/>
          </a:p>
        </p:txBody>
      </p:sp>
      <p:grpSp>
        <p:nvGrpSpPr>
          <p:cNvPr id="135" name="Group 91"/>
          <p:cNvGrpSpPr/>
          <p:nvPr/>
        </p:nvGrpSpPr>
        <p:grpSpPr>
          <a:xfrm>
            <a:off x="5705001" y="1548838"/>
            <a:ext cx="982392" cy="946301"/>
            <a:chOff x="-3841750" y="174625"/>
            <a:chExt cx="3625850" cy="3568700"/>
          </a:xfrm>
          <a:solidFill>
            <a:schemeClr val="accent2"/>
          </a:solidFill>
        </p:grpSpPr>
        <p:sp>
          <p:nvSpPr>
            <p:cNvPr id="136" name="Rectangle 26"/>
            <p:cNvSpPr>
              <a:spLocks noChangeArrowheads="1"/>
            </p:cNvSpPr>
            <p:nvPr/>
          </p:nvSpPr>
          <p:spPr bwMode="auto">
            <a:xfrm>
              <a:off x="-2855913" y="174625"/>
              <a:ext cx="109538" cy="349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37" name="Freeform 27"/>
            <p:cNvSpPr>
              <a:spLocks/>
            </p:cNvSpPr>
            <p:nvPr/>
          </p:nvSpPr>
          <p:spPr bwMode="auto">
            <a:xfrm>
              <a:off x="-3406775" y="609600"/>
              <a:ext cx="1214438" cy="1211263"/>
            </a:xfrm>
            <a:custGeom>
              <a:avLst/>
              <a:gdLst>
                <a:gd name="T0" fmla="*/ 266 w 324"/>
                <a:gd name="T1" fmla="*/ 57 h 323"/>
                <a:gd name="T2" fmla="*/ 266 w 324"/>
                <a:gd name="T3" fmla="*/ 266 h 323"/>
                <a:gd name="T4" fmla="*/ 58 w 324"/>
                <a:gd name="T5" fmla="*/ 266 h 323"/>
                <a:gd name="T6" fmla="*/ 58 w 324"/>
                <a:gd name="T7" fmla="*/ 57 h 323"/>
                <a:gd name="T8" fmla="*/ 266 w 324"/>
                <a:gd name="T9" fmla="*/ 57 h 323"/>
              </a:gdLst>
              <a:ahLst/>
              <a:cxnLst>
                <a:cxn ang="0">
                  <a:pos x="T0" y="T1"/>
                </a:cxn>
                <a:cxn ang="0">
                  <a:pos x="T2" y="T3"/>
                </a:cxn>
                <a:cxn ang="0">
                  <a:pos x="T4" y="T5"/>
                </a:cxn>
                <a:cxn ang="0">
                  <a:pos x="T6" y="T7"/>
                </a:cxn>
                <a:cxn ang="0">
                  <a:pos x="T8" y="T9"/>
                </a:cxn>
              </a:cxnLst>
              <a:rect l="0" t="0" r="r" b="b"/>
              <a:pathLst>
                <a:path w="324" h="323">
                  <a:moveTo>
                    <a:pt x="266" y="57"/>
                  </a:moveTo>
                  <a:cubicBezTo>
                    <a:pt x="324" y="115"/>
                    <a:pt x="324" y="208"/>
                    <a:pt x="266" y="266"/>
                  </a:cubicBezTo>
                  <a:cubicBezTo>
                    <a:pt x="209" y="323"/>
                    <a:pt x="115" y="323"/>
                    <a:pt x="58" y="266"/>
                  </a:cubicBezTo>
                  <a:cubicBezTo>
                    <a:pt x="0" y="208"/>
                    <a:pt x="0" y="115"/>
                    <a:pt x="58" y="57"/>
                  </a:cubicBezTo>
                  <a:cubicBezTo>
                    <a:pt x="115" y="0"/>
                    <a:pt x="209" y="0"/>
                    <a:pt x="266" y="5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38" name="Freeform 28"/>
            <p:cNvSpPr>
              <a:spLocks/>
            </p:cNvSpPr>
            <p:nvPr/>
          </p:nvSpPr>
          <p:spPr bwMode="auto">
            <a:xfrm>
              <a:off x="-3576638" y="441325"/>
              <a:ext cx="323850" cy="322263"/>
            </a:xfrm>
            <a:custGeom>
              <a:avLst/>
              <a:gdLst>
                <a:gd name="T0" fmla="*/ 156 w 204"/>
                <a:gd name="T1" fmla="*/ 203 h 203"/>
                <a:gd name="T2" fmla="*/ 0 w 204"/>
                <a:gd name="T3" fmla="*/ 47 h 203"/>
                <a:gd name="T4" fmla="*/ 48 w 204"/>
                <a:gd name="T5" fmla="*/ 0 h 203"/>
                <a:gd name="T6" fmla="*/ 204 w 204"/>
                <a:gd name="T7" fmla="*/ 153 h 203"/>
                <a:gd name="T8" fmla="*/ 156 w 204"/>
                <a:gd name="T9" fmla="*/ 203 h 203"/>
              </a:gdLst>
              <a:ahLst/>
              <a:cxnLst>
                <a:cxn ang="0">
                  <a:pos x="T0" y="T1"/>
                </a:cxn>
                <a:cxn ang="0">
                  <a:pos x="T2" y="T3"/>
                </a:cxn>
                <a:cxn ang="0">
                  <a:pos x="T4" y="T5"/>
                </a:cxn>
                <a:cxn ang="0">
                  <a:pos x="T6" y="T7"/>
                </a:cxn>
                <a:cxn ang="0">
                  <a:pos x="T8" y="T9"/>
                </a:cxn>
              </a:cxnLst>
              <a:rect l="0" t="0" r="r" b="b"/>
              <a:pathLst>
                <a:path w="204" h="203">
                  <a:moveTo>
                    <a:pt x="156" y="203"/>
                  </a:moveTo>
                  <a:lnTo>
                    <a:pt x="0" y="47"/>
                  </a:lnTo>
                  <a:lnTo>
                    <a:pt x="48" y="0"/>
                  </a:lnTo>
                  <a:lnTo>
                    <a:pt x="204" y="153"/>
                  </a:lnTo>
                  <a:lnTo>
                    <a:pt x="156"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39" name="Freeform 29"/>
            <p:cNvSpPr>
              <a:spLocks/>
            </p:cNvSpPr>
            <p:nvPr/>
          </p:nvSpPr>
          <p:spPr bwMode="auto">
            <a:xfrm>
              <a:off x="-2349500" y="1663700"/>
              <a:ext cx="322263" cy="322263"/>
            </a:xfrm>
            <a:custGeom>
              <a:avLst/>
              <a:gdLst>
                <a:gd name="T0" fmla="*/ 156 w 203"/>
                <a:gd name="T1" fmla="*/ 203 h 203"/>
                <a:gd name="T2" fmla="*/ 0 w 203"/>
                <a:gd name="T3" fmla="*/ 47 h 203"/>
                <a:gd name="T4" fmla="*/ 47 w 203"/>
                <a:gd name="T5" fmla="*/ 0 h 203"/>
                <a:gd name="T6" fmla="*/ 203 w 203"/>
                <a:gd name="T7" fmla="*/ 155 h 203"/>
                <a:gd name="T8" fmla="*/ 156 w 203"/>
                <a:gd name="T9" fmla="*/ 203 h 203"/>
              </a:gdLst>
              <a:ahLst/>
              <a:cxnLst>
                <a:cxn ang="0">
                  <a:pos x="T0" y="T1"/>
                </a:cxn>
                <a:cxn ang="0">
                  <a:pos x="T2" y="T3"/>
                </a:cxn>
                <a:cxn ang="0">
                  <a:pos x="T4" y="T5"/>
                </a:cxn>
                <a:cxn ang="0">
                  <a:pos x="T6" y="T7"/>
                </a:cxn>
                <a:cxn ang="0">
                  <a:pos x="T8" y="T9"/>
                </a:cxn>
              </a:cxnLst>
              <a:rect l="0" t="0" r="r" b="b"/>
              <a:pathLst>
                <a:path w="203" h="203">
                  <a:moveTo>
                    <a:pt x="156" y="203"/>
                  </a:moveTo>
                  <a:lnTo>
                    <a:pt x="0" y="47"/>
                  </a:lnTo>
                  <a:lnTo>
                    <a:pt x="47" y="0"/>
                  </a:lnTo>
                  <a:lnTo>
                    <a:pt x="203" y="155"/>
                  </a:lnTo>
                  <a:lnTo>
                    <a:pt x="156"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0" name="Rectangle 30"/>
            <p:cNvSpPr>
              <a:spLocks noChangeArrowheads="1"/>
            </p:cNvSpPr>
            <p:nvPr/>
          </p:nvSpPr>
          <p:spPr bwMode="auto">
            <a:xfrm>
              <a:off x="-3841750" y="1160463"/>
              <a:ext cx="347663" cy="104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1" name="Rectangle 31"/>
            <p:cNvSpPr>
              <a:spLocks noChangeArrowheads="1"/>
            </p:cNvSpPr>
            <p:nvPr/>
          </p:nvSpPr>
          <p:spPr bwMode="auto">
            <a:xfrm>
              <a:off x="-2109788" y="1160463"/>
              <a:ext cx="349250" cy="104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2" name="Freeform 32"/>
            <p:cNvSpPr>
              <a:spLocks/>
            </p:cNvSpPr>
            <p:nvPr/>
          </p:nvSpPr>
          <p:spPr bwMode="auto">
            <a:xfrm>
              <a:off x="-2349500" y="441325"/>
              <a:ext cx="322263" cy="322263"/>
            </a:xfrm>
            <a:custGeom>
              <a:avLst/>
              <a:gdLst>
                <a:gd name="T0" fmla="*/ 47 w 203"/>
                <a:gd name="T1" fmla="*/ 203 h 203"/>
                <a:gd name="T2" fmla="*/ 0 w 203"/>
                <a:gd name="T3" fmla="*/ 153 h 203"/>
                <a:gd name="T4" fmla="*/ 156 w 203"/>
                <a:gd name="T5" fmla="*/ 0 h 203"/>
                <a:gd name="T6" fmla="*/ 203 w 203"/>
                <a:gd name="T7" fmla="*/ 47 h 203"/>
                <a:gd name="T8" fmla="*/ 47 w 203"/>
                <a:gd name="T9" fmla="*/ 203 h 203"/>
              </a:gdLst>
              <a:ahLst/>
              <a:cxnLst>
                <a:cxn ang="0">
                  <a:pos x="T0" y="T1"/>
                </a:cxn>
                <a:cxn ang="0">
                  <a:pos x="T2" y="T3"/>
                </a:cxn>
                <a:cxn ang="0">
                  <a:pos x="T4" y="T5"/>
                </a:cxn>
                <a:cxn ang="0">
                  <a:pos x="T6" y="T7"/>
                </a:cxn>
                <a:cxn ang="0">
                  <a:pos x="T8" y="T9"/>
                </a:cxn>
              </a:cxnLst>
              <a:rect l="0" t="0" r="r" b="b"/>
              <a:pathLst>
                <a:path w="203" h="203">
                  <a:moveTo>
                    <a:pt x="47" y="203"/>
                  </a:moveTo>
                  <a:lnTo>
                    <a:pt x="0" y="153"/>
                  </a:lnTo>
                  <a:lnTo>
                    <a:pt x="156" y="0"/>
                  </a:lnTo>
                  <a:lnTo>
                    <a:pt x="203" y="47"/>
                  </a:lnTo>
                  <a:lnTo>
                    <a:pt x="47"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3" name="Freeform 33"/>
            <p:cNvSpPr>
              <a:spLocks/>
            </p:cNvSpPr>
            <p:nvPr/>
          </p:nvSpPr>
          <p:spPr bwMode="auto">
            <a:xfrm>
              <a:off x="-3576638" y="1663700"/>
              <a:ext cx="323850" cy="322263"/>
            </a:xfrm>
            <a:custGeom>
              <a:avLst/>
              <a:gdLst>
                <a:gd name="T0" fmla="*/ 48 w 204"/>
                <a:gd name="T1" fmla="*/ 203 h 203"/>
                <a:gd name="T2" fmla="*/ 0 w 204"/>
                <a:gd name="T3" fmla="*/ 155 h 203"/>
                <a:gd name="T4" fmla="*/ 156 w 204"/>
                <a:gd name="T5" fmla="*/ 0 h 203"/>
                <a:gd name="T6" fmla="*/ 204 w 204"/>
                <a:gd name="T7" fmla="*/ 47 h 203"/>
                <a:gd name="T8" fmla="*/ 48 w 204"/>
                <a:gd name="T9" fmla="*/ 203 h 203"/>
              </a:gdLst>
              <a:ahLst/>
              <a:cxnLst>
                <a:cxn ang="0">
                  <a:pos x="T0" y="T1"/>
                </a:cxn>
                <a:cxn ang="0">
                  <a:pos x="T2" y="T3"/>
                </a:cxn>
                <a:cxn ang="0">
                  <a:pos x="T4" y="T5"/>
                </a:cxn>
                <a:cxn ang="0">
                  <a:pos x="T6" y="T7"/>
                </a:cxn>
                <a:cxn ang="0">
                  <a:pos x="T8" y="T9"/>
                </a:cxn>
              </a:cxnLst>
              <a:rect l="0" t="0" r="r" b="b"/>
              <a:pathLst>
                <a:path w="204" h="203">
                  <a:moveTo>
                    <a:pt x="48" y="203"/>
                  </a:moveTo>
                  <a:lnTo>
                    <a:pt x="0" y="155"/>
                  </a:lnTo>
                  <a:lnTo>
                    <a:pt x="156" y="0"/>
                  </a:lnTo>
                  <a:lnTo>
                    <a:pt x="204" y="47"/>
                  </a:lnTo>
                  <a:lnTo>
                    <a:pt x="48"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4" name="Rectangle 34"/>
            <p:cNvSpPr>
              <a:spLocks noChangeArrowheads="1"/>
            </p:cNvSpPr>
            <p:nvPr/>
          </p:nvSpPr>
          <p:spPr bwMode="auto">
            <a:xfrm>
              <a:off x="-2855913" y="1903413"/>
              <a:ext cx="109538" cy="347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5" name="Rectangle 35"/>
            <p:cNvSpPr>
              <a:spLocks noChangeArrowheads="1"/>
            </p:cNvSpPr>
            <p:nvPr/>
          </p:nvSpPr>
          <p:spPr bwMode="auto">
            <a:xfrm>
              <a:off x="-1854200" y="3263900"/>
              <a:ext cx="280988" cy="479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6" name="Freeform 36"/>
            <p:cNvSpPr>
              <a:spLocks/>
            </p:cNvSpPr>
            <p:nvPr/>
          </p:nvSpPr>
          <p:spPr bwMode="auto">
            <a:xfrm>
              <a:off x="-1595438" y="2690813"/>
              <a:ext cx="952500" cy="460375"/>
            </a:xfrm>
            <a:custGeom>
              <a:avLst/>
              <a:gdLst>
                <a:gd name="T0" fmla="*/ 375 w 600"/>
                <a:gd name="T1" fmla="*/ 290 h 290"/>
                <a:gd name="T2" fmla="*/ 0 w 600"/>
                <a:gd name="T3" fmla="*/ 290 h 290"/>
                <a:gd name="T4" fmla="*/ 226 w 600"/>
                <a:gd name="T5" fmla="*/ 0 h 290"/>
                <a:gd name="T6" fmla="*/ 600 w 600"/>
                <a:gd name="T7" fmla="*/ 0 h 290"/>
                <a:gd name="T8" fmla="*/ 375 w 600"/>
                <a:gd name="T9" fmla="*/ 290 h 290"/>
              </a:gdLst>
              <a:ahLst/>
              <a:cxnLst>
                <a:cxn ang="0">
                  <a:pos x="T0" y="T1"/>
                </a:cxn>
                <a:cxn ang="0">
                  <a:pos x="T2" y="T3"/>
                </a:cxn>
                <a:cxn ang="0">
                  <a:pos x="T4" y="T5"/>
                </a:cxn>
                <a:cxn ang="0">
                  <a:pos x="T6" y="T7"/>
                </a:cxn>
                <a:cxn ang="0">
                  <a:pos x="T8" y="T9"/>
                </a:cxn>
              </a:cxnLst>
              <a:rect l="0" t="0" r="r" b="b"/>
              <a:pathLst>
                <a:path w="600" h="290">
                  <a:moveTo>
                    <a:pt x="375" y="290"/>
                  </a:moveTo>
                  <a:lnTo>
                    <a:pt x="0" y="290"/>
                  </a:lnTo>
                  <a:lnTo>
                    <a:pt x="226" y="0"/>
                  </a:lnTo>
                  <a:lnTo>
                    <a:pt x="600" y="0"/>
                  </a:lnTo>
                  <a:lnTo>
                    <a:pt x="37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7" name="Freeform 37"/>
            <p:cNvSpPr>
              <a:spLocks/>
            </p:cNvSpPr>
            <p:nvPr/>
          </p:nvSpPr>
          <p:spPr bwMode="auto">
            <a:xfrm>
              <a:off x="-2319338" y="2690813"/>
              <a:ext cx="952500" cy="460375"/>
            </a:xfrm>
            <a:custGeom>
              <a:avLst/>
              <a:gdLst>
                <a:gd name="T0" fmla="*/ 373 w 600"/>
                <a:gd name="T1" fmla="*/ 290 h 290"/>
                <a:gd name="T2" fmla="*/ 0 w 600"/>
                <a:gd name="T3" fmla="*/ 290 h 290"/>
                <a:gd name="T4" fmla="*/ 224 w 600"/>
                <a:gd name="T5" fmla="*/ 0 h 290"/>
                <a:gd name="T6" fmla="*/ 600 w 600"/>
                <a:gd name="T7" fmla="*/ 0 h 290"/>
                <a:gd name="T8" fmla="*/ 373 w 600"/>
                <a:gd name="T9" fmla="*/ 290 h 290"/>
              </a:gdLst>
              <a:ahLst/>
              <a:cxnLst>
                <a:cxn ang="0">
                  <a:pos x="T0" y="T1"/>
                </a:cxn>
                <a:cxn ang="0">
                  <a:pos x="T2" y="T3"/>
                </a:cxn>
                <a:cxn ang="0">
                  <a:pos x="T4" y="T5"/>
                </a:cxn>
                <a:cxn ang="0">
                  <a:pos x="T6" y="T7"/>
                </a:cxn>
                <a:cxn ang="0">
                  <a:pos x="T8" y="T9"/>
                </a:cxn>
              </a:cxnLst>
              <a:rect l="0" t="0" r="r" b="b"/>
              <a:pathLst>
                <a:path w="600" h="290">
                  <a:moveTo>
                    <a:pt x="373" y="290"/>
                  </a:moveTo>
                  <a:lnTo>
                    <a:pt x="0" y="290"/>
                  </a:lnTo>
                  <a:lnTo>
                    <a:pt x="224" y="0"/>
                  </a:lnTo>
                  <a:lnTo>
                    <a:pt x="600" y="0"/>
                  </a:lnTo>
                  <a:lnTo>
                    <a:pt x="373"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8" name="Freeform 38"/>
            <p:cNvSpPr>
              <a:spLocks/>
            </p:cNvSpPr>
            <p:nvPr/>
          </p:nvSpPr>
          <p:spPr bwMode="auto">
            <a:xfrm>
              <a:off x="-3043238" y="2690813"/>
              <a:ext cx="949325" cy="460375"/>
            </a:xfrm>
            <a:custGeom>
              <a:avLst/>
              <a:gdLst>
                <a:gd name="T0" fmla="*/ 373 w 598"/>
                <a:gd name="T1" fmla="*/ 290 h 290"/>
                <a:gd name="T2" fmla="*/ 0 w 598"/>
                <a:gd name="T3" fmla="*/ 290 h 290"/>
                <a:gd name="T4" fmla="*/ 224 w 598"/>
                <a:gd name="T5" fmla="*/ 0 h 290"/>
                <a:gd name="T6" fmla="*/ 598 w 598"/>
                <a:gd name="T7" fmla="*/ 0 h 290"/>
                <a:gd name="T8" fmla="*/ 373 w 598"/>
                <a:gd name="T9" fmla="*/ 290 h 290"/>
              </a:gdLst>
              <a:ahLst/>
              <a:cxnLst>
                <a:cxn ang="0">
                  <a:pos x="T0" y="T1"/>
                </a:cxn>
                <a:cxn ang="0">
                  <a:pos x="T2" y="T3"/>
                </a:cxn>
                <a:cxn ang="0">
                  <a:pos x="T4" y="T5"/>
                </a:cxn>
                <a:cxn ang="0">
                  <a:pos x="T6" y="T7"/>
                </a:cxn>
                <a:cxn ang="0">
                  <a:pos x="T8" y="T9"/>
                </a:cxn>
              </a:cxnLst>
              <a:rect l="0" t="0" r="r" b="b"/>
              <a:pathLst>
                <a:path w="598" h="290">
                  <a:moveTo>
                    <a:pt x="373" y="290"/>
                  </a:moveTo>
                  <a:lnTo>
                    <a:pt x="0" y="290"/>
                  </a:lnTo>
                  <a:lnTo>
                    <a:pt x="224" y="0"/>
                  </a:lnTo>
                  <a:lnTo>
                    <a:pt x="598" y="0"/>
                  </a:lnTo>
                  <a:lnTo>
                    <a:pt x="373"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49" name="Freeform 39"/>
            <p:cNvSpPr>
              <a:spLocks/>
            </p:cNvSpPr>
            <p:nvPr/>
          </p:nvSpPr>
          <p:spPr bwMode="auto">
            <a:xfrm>
              <a:off x="-1168400" y="2138363"/>
              <a:ext cx="952500" cy="461963"/>
            </a:xfrm>
            <a:custGeom>
              <a:avLst/>
              <a:gdLst>
                <a:gd name="T0" fmla="*/ 376 w 600"/>
                <a:gd name="T1" fmla="*/ 291 h 291"/>
                <a:gd name="T2" fmla="*/ 0 w 600"/>
                <a:gd name="T3" fmla="*/ 291 h 291"/>
                <a:gd name="T4" fmla="*/ 227 w 600"/>
                <a:gd name="T5" fmla="*/ 0 h 291"/>
                <a:gd name="T6" fmla="*/ 600 w 600"/>
                <a:gd name="T7" fmla="*/ 0 h 291"/>
                <a:gd name="T8" fmla="*/ 376 w 600"/>
                <a:gd name="T9" fmla="*/ 291 h 291"/>
              </a:gdLst>
              <a:ahLst/>
              <a:cxnLst>
                <a:cxn ang="0">
                  <a:pos x="T0" y="T1"/>
                </a:cxn>
                <a:cxn ang="0">
                  <a:pos x="T2" y="T3"/>
                </a:cxn>
                <a:cxn ang="0">
                  <a:pos x="T4" y="T5"/>
                </a:cxn>
                <a:cxn ang="0">
                  <a:pos x="T6" y="T7"/>
                </a:cxn>
                <a:cxn ang="0">
                  <a:pos x="T8" y="T9"/>
                </a:cxn>
              </a:cxnLst>
              <a:rect l="0" t="0" r="r" b="b"/>
              <a:pathLst>
                <a:path w="600" h="291">
                  <a:moveTo>
                    <a:pt x="376" y="291"/>
                  </a:moveTo>
                  <a:lnTo>
                    <a:pt x="0" y="291"/>
                  </a:lnTo>
                  <a:lnTo>
                    <a:pt x="227" y="0"/>
                  </a:lnTo>
                  <a:lnTo>
                    <a:pt x="600" y="0"/>
                  </a:lnTo>
                  <a:lnTo>
                    <a:pt x="376"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50" name="Freeform 40"/>
            <p:cNvSpPr>
              <a:spLocks/>
            </p:cNvSpPr>
            <p:nvPr/>
          </p:nvSpPr>
          <p:spPr bwMode="auto">
            <a:xfrm>
              <a:off x="-1892300" y="2138363"/>
              <a:ext cx="952500" cy="461963"/>
            </a:xfrm>
            <a:custGeom>
              <a:avLst/>
              <a:gdLst>
                <a:gd name="T0" fmla="*/ 373 w 600"/>
                <a:gd name="T1" fmla="*/ 291 h 291"/>
                <a:gd name="T2" fmla="*/ 0 w 600"/>
                <a:gd name="T3" fmla="*/ 291 h 291"/>
                <a:gd name="T4" fmla="*/ 225 w 600"/>
                <a:gd name="T5" fmla="*/ 0 h 291"/>
                <a:gd name="T6" fmla="*/ 600 w 600"/>
                <a:gd name="T7" fmla="*/ 0 h 291"/>
                <a:gd name="T8" fmla="*/ 373 w 600"/>
                <a:gd name="T9" fmla="*/ 291 h 291"/>
              </a:gdLst>
              <a:ahLst/>
              <a:cxnLst>
                <a:cxn ang="0">
                  <a:pos x="T0" y="T1"/>
                </a:cxn>
                <a:cxn ang="0">
                  <a:pos x="T2" y="T3"/>
                </a:cxn>
                <a:cxn ang="0">
                  <a:pos x="T4" y="T5"/>
                </a:cxn>
                <a:cxn ang="0">
                  <a:pos x="T6" y="T7"/>
                </a:cxn>
                <a:cxn ang="0">
                  <a:pos x="T8" y="T9"/>
                </a:cxn>
              </a:cxnLst>
              <a:rect l="0" t="0" r="r" b="b"/>
              <a:pathLst>
                <a:path w="600" h="291">
                  <a:moveTo>
                    <a:pt x="373" y="291"/>
                  </a:moveTo>
                  <a:lnTo>
                    <a:pt x="0" y="291"/>
                  </a:lnTo>
                  <a:lnTo>
                    <a:pt x="225" y="0"/>
                  </a:lnTo>
                  <a:lnTo>
                    <a:pt x="600" y="0"/>
                  </a:lnTo>
                  <a:lnTo>
                    <a:pt x="373"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151" name="Freeform 41"/>
            <p:cNvSpPr>
              <a:spLocks/>
            </p:cNvSpPr>
            <p:nvPr/>
          </p:nvSpPr>
          <p:spPr bwMode="auto">
            <a:xfrm>
              <a:off x="-2619375" y="2138363"/>
              <a:ext cx="952500" cy="461963"/>
            </a:xfrm>
            <a:custGeom>
              <a:avLst/>
              <a:gdLst>
                <a:gd name="T0" fmla="*/ 375 w 600"/>
                <a:gd name="T1" fmla="*/ 291 h 291"/>
                <a:gd name="T2" fmla="*/ 0 w 600"/>
                <a:gd name="T3" fmla="*/ 291 h 291"/>
                <a:gd name="T4" fmla="*/ 227 w 600"/>
                <a:gd name="T5" fmla="*/ 0 h 291"/>
                <a:gd name="T6" fmla="*/ 600 w 600"/>
                <a:gd name="T7" fmla="*/ 0 h 291"/>
                <a:gd name="T8" fmla="*/ 375 w 600"/>
                <a:gd name="T9" fmla="*/ 291 h 291"/>
              </a:gdLst>
              <a:ahLst/>
              <a:cxnLst>
                <a:cxn ang="0">
                  <a:pos x="T0" y="T1"/>
                </a:cxn>
                <a:cxn ang="0">
                  <a:pos x="T2" y="T3"/>
                </a:cxn>
                <a:cxn ang="0">
                  <a:pos x="T4" y="T5"/>
                </a:cxn>
                <a:cxn ang="0">
                  <a:pos x="T6" y="T7"/>
                </a:cxn>
                <a:cxn ang="0">
                  <a:pos x="T8" y="T9"/>
                </a:cxn>
              </a:cxnLst>
              <a:rect l="0" t="0" r="r" b="b"/>
              <a:pathLst>
                <a:path w="600" h="291">
                  <a:moveTo>
                    <a:pt x="375" y="291"/>
                  </a:moveTo>
                  <a:lnTo>
                    <a:pt x="0" y="291"/>
                  </a:lnTo>
                  <a:lnTo>
                    <a:pt x="227" y="0"/>
                  </a:lnTo>
                  <a:lnTo>
                    <a:pt x="600" y="0"/>
                  </a:lnTo>
                  <a:lnTo>
                    <a:pt x="375"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grpSp>
      <p:sp>
        <p:nvSpPr>
          <p:cNvPr id="152" name="Freeform 15"/>
          <p:cNvSpPr>
            <a:spLocks noEditPoints="1"/>
          </p:cNvSpPr>
          <p:nvPr/>
        </p:nvSpPr>
        <p:spPr bwMode="auto">
          <a:xfrm>
            <a:off x="5632860" y="2715855"/>
            <a:ext cx="1126675" cy="609256"/>
          </a:xfrm>
          <a:custGeom>
            <a:avLst/>
            <a:gdLst>
              <a:gd name="T0" fmla="*/ 391 w 778"/>
              <a:gd name="T1" fmla="*/ 197 h 430"/>
              <a:gd name="T2" fmla="*/ 314 w 778"/>
              <a:gd name="T3" fmla="*/ 77 h 430"/>
              <a:gd name="T4" fmla="*/ 74 w 778"/>
              <a:gd name="T5" fmla="*/ 104 h 430"/>
              <a:gd name="T6" fmla="*/ 17 w 778"/>
              <a:gd name="T7" fmla="*/ 197 h 430"/>
              <a:gd name="T8" fmla="*/ 0 w 778"/>
              <a:gd name="T9" fmla="*/ 359 h 430"/>
              <a:gd name="T10" fmla="*/ 39 w 778"/>
              <a:gd name="T11" fmla="*/ 414 h 430"/>
              <a:gd name="T12" fmla="*/ 78 w 778"/>
              <a:gd name="T13" fmla="*/ 430 h 430"/>
              <a:gd name="T14" fmla="*/ 95 w 778"/>
              <a:gd name="T15" fmla="*/ 359 h 430"/>
              <a:gd name="T16" fmla="*/ 330 w 778"/>
              <a:gd name="T17" fmla="*/ 414 h 430"/>
              <a:gd name="T18" fmla="*/ 370 w 778"/>
              <a:gd name="T19" fmla="*/ 430 h 430"/>
              <a:gd name="T20" fmla="*/ 386 w 778"/>
              <a:gd name="T21" fmla="*/ 359 h 430"/>
              <a:gd name="T22" fmla="*/ 415 w 778"/>
              <a:gd name="T23" fmla="*/ 214 h 430"/>
              <a:gd name="T24" fmla="*/ 64 w 778"/>
              <a:gd name="T25" fmla="*/ 287 h 430"/>
              <a:gd name="T26" fmla="*/ 64 w 778"/>
              <a:gd name="T27" fmla="*/ 227 h 430"/>
              <a:gd name="T28" fmla="*/ 64 w 778"/>
              <a:gd name="T29" fmla="*/ 287 h 430"/>
              <a:gd name="T30" fmla="*/ 103 w 778"/>
              <a:gd name="T31" fmla="*/ 111 h 430"/>
              <a:gd name="T32" fmla="*/ 105 w 778"/>
              <a:gd name="T33" fmla="*/ 106 h 430"/>
              <a:gd name="T34" fmla="*/ 316 w 778"/>
              <a:gd name="T35" fmla="*/ 108 h 430"/>
              <a:gd name="T36" fmla="*/ 359 w 778"/>
              <a:gd name="T37" fmla="*/ 197 h 430"/>
              <a:gd name="T38" fmla="*/ 351 w 778"/>
              <a:gd name="T39" fmla="*/ 287 h 430"/>
              <a:gd name="T40" fmla="*/ 351 w 778"/>
              <a:gd name="T41" fmla="*/ 227 h 430"/>
              <a:gd name="T42" fmla="*/ 351 w 778"/>
              <a:gd name="T43" fmla="*/ 287 h 430"/>
              <a:gd name="T44" fmla="*/ 758 w 778"/>
              <a:gd name="T45" fmla="*/ 87 h 430"/>
              <a:gd name="T46" fmla="*/ 741 w 778"/>
              <a:gd name="T47" fmla="*/ 87 h 430"/>
              <a:gd name="T48" fmla="*/ 709 w 778"/>
              <a:gd name="T49" fmla="*/ 131 h 430"/>
              <a:gd name="T50" fmla="*/ 701 w 778"/>
              <a:gd name="T51" fmla="*/ 78 h 430"/>
              <a:gd name="T52" fmla="*/ 692 w 778"/>
              <a:gd name="T53" fmla="*/ 131 h 430"/>
              <a:gd name="T54" fmla="*/ 710 w 778"/>
              <a:gd name="T55" fmla="*/ 181 h 430"/>
              <a:gd name="T56" fmla="*/ 689 w 778"/>
              <a:gd name="T57" fmla="*/ 398 h 430"/>
              <a:gd name="T58" fmla="*/ 673 w 778"/>
              <a:gd name="T59" fmla="*/ 215 h 430"/>
              <a:gd name="T60" fmla="*/ 603 w 778"/>
              <a:gd name="T61" fmla="*/ 174 h 430"/>
              <a:gd name="T62" fmla="*/ 586 w 778"/>
              <a:gd name="T63" fmla="*/ 0 h 430"/>
              <a:gd name="T64" fmla="*/ 435 w 778"/>
              <a:gd name="T65" fmla="*/ 16 h 430"/>
              <a:gd name="T66" fmla="*/ 603 w 778"/>
              <a:gd name="T67" fmla="*/ 429 h 430"/>
              <a:gd name="T68" fmla="*/ 631 w 778"/>
              <a:gd name="T69" fmla="*/ 203 h 430"/>
              <a:gd name="T70" fmla="*/ 644 w 778"/>
              <a:gd name="T71" fmla="*/ 379 h 430"/>
              <a:gd name="T72" fmla="*/ 740 w 778"/>
              <a:gd name="T73" fmla="*/ 379 h 430"/>
              <a:gd name="T74" fmla="*/ 778 w 778"/>
              <a:gd name="T75" fmla="*/ 131 h 430"/>
              <a:gd name="T76" fmla="*/ 488 w 778"/>
              <a:gd name="T77" fmla="*/ 310 h 430"/>
              <a:gd name="T78" fmla="*/ 478 w 778"/>
              <a:gd name="T79" fmla="*/ 257 h 430"/>
              <a:gd name="T80" fmla="*/ 554 w 778"/>
              <a:gd name="T81" fmla="*/ 188 h 430"/>
              <a:gd name="T82" fmla="*/ 560 w 778"/>
              <a:gd name="T83" fmla="*/ 23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78" h="430">
                <a:moveTo>
                  <a:pt x="399" y="197"/>
                </a:moveTo>
                <a:cubicBezTo>
                  <a:pt x="391" y="197"/>
                  <a:pt x="391" y="197"/>
                  <a:pt x="391" y="197"/>
                </a:cubicBezTo>
                <a:cubicBezTo>
                  <a:pt x="345" y="104"/>
                  <a:pt x="345" y="104"/>
                  <a:pt x="345" y="104"/>
                </a:cubicBezTo>
                <a:cubicBezTo>
                  <a:pt x="343" y="89"/>
                  <a:pt x="330" y="77"/>
                  <a:pt x="314" y="77"/>
                </a:cubicBezTo>
                <a:cubicBezTo>
                  <a:pt x="105" y="77"/>
                  <a:pt x="105" y="77"/>
                  <a:pt x="105" y="77"/>
                </a:cubicBezTo>
                <a:cubicBezTo>
                  <a:pt x="89" y="77"/>
                  <a:pt x="76" y="89"/>
                  <a:pt x="74" y="104"/>
                </a:cubicBezTo>
                <a:cubicBezTo>
                  <a:pt x="31" y="197"/>
                  <a:pt x="31" y="197"/>
                  <a:pt x="31" y="197"/>
                </a:cubicBezTo>
                <a:cubicBezTo>
                  <a:pt x="17" y="197"/>
                  <a:pt x="17" y="197"/>
                  <a:pt x="17" y="197"/>
                </a:cubicBezTo>
                <a:cubicBezTo>
                  <a:pt x="8" y="197"/>
                  <a:pt x="0" y="204"/>
                  <a:pt x="0" y="214"/>
                </a:cubicBezTo>
                <a:cubicBezTo>
                  <a:pt x="0" y="359"/>
                  <a:pt x="0" y="359"/>
                  <a:pt x="0" y="359"/>
                </a:cubicBezTo>
                <a:cubicBezTo>
                  <a:pt x="39" y="359"/>
                  <a:pt x="39" y="359"/>
                  <a:pt x="39" y="359"/>
                </a:cubicBezTo>
                <a:cubicBezTo>
                  <a:pt x="39" y="414"/>
                  <a:pt x="39" y="414"/>
                  <a:pt x="39" y="414"/>
                </a:cubicBezTo>
                <a:cubicBezTo>
                  <a:pt x="39" y="423"/>
                  <a:pt x="47" y="430"/>
                  <a:pt x="56" y="430"/>
                </a:cubicBezTo>
                <a:cubicBezTo>
                  <a:pt x="78" y="430"/>
                  <a:pt x="78" y="430"/>
                  <a:pt x="78" y="430"/>
                </a:cubicBezTo>
                <a:cubicBezTo>
                  <a:pt x="88" y="430"/>
                  <a:pt x="95" y="423"/>
                  <a:pt x="95" y="414"/>
                </a:cubicBezTo>
                <a:cubicBezTo>
                  <a:pt x="95" y="359"/>
                  <a:pt x="95" y="359"/>
                  <a:pt x="95" y="359"/>
                </a:cubicBezTo>
                <a:cubicBezTo>
                  <a:pt x="330" y="359"/>
                  <a:pt x="330" y="359"/>
                  <a:pt x="330" y="359"/>
                </a:cubicBezTo>
                <a:cubicBezTo>
                  <a:pt x="330" y="414"/>
                  <a:pt x="330" y="414"/>
                  <a:pt x="330" y="414"/>
                </a:cubicBezTo>
                <a:cubicBezTo>
                  <a:pt x="330" y="423"/>
                  <a:pt x="338" y="430"/>
                  <a:pt x="347" y="430"/>
                </a:cubicBezTo>
                <a:cubicBezTo>
                  <a:pt x="370" y="430"/>
                  <a:pt x="370" y="430"/>
                  <a:pt x="370" y="430"/>
                </a:cubicBezTo>
                <a:cubicBezTo>
                  <a:pt x="379" y="430"/>
                  <a:pt x="386" y="423"/>
                  <a:pt x="386" y="414"/>
                </a:cubicBezTo>
                <a:cubicBezTo>
                  <a:pt x="386" y="359"/>
                  <a:pt x="386" y="359"/>
                  <a:pt x="386" y="359"/>
                </a:cubicBezTo>
                <a:cubicBezTo>
                  <a:pt x="415" y="359"/>
                  <a:pt x="415" y="359"/>
                  <a:pt x="415" y="359"/>
                </a:cubicBezTo>
                <a:cubicBezTo>
                  <a:pt x="415" y="214"/>
                  <a:pt x="415" y="214"/>
                  <a:pt x="415" y="214"/>
                </a:cubicBezTo>
                <a:cubicBezTo>
                  <a:pt x="415" y="204"/>
                  <a:pt x="408" y="197"/>
                  <a:pt x="399" y="197"/>
                </a:cubicBezTo>
                <a:close/>
                <a:moveTo>
                  <a:pt x="64" y="287"/>
                </a:moveTo>
                <a:cubicBezTo>
                  <a:pt x="47" y="287"/>
                  <a:pt x="34" y="274"/>
                  <a:pt x="34" y="257"/>
                </a:cubicBezTo>
                <a:cubicBezTo>
                  <a:pt x="34" y="240"/>
                  <a:pt x="47" y="227"/>
                  <a:pt x="64" y="227"/>
                </a:cubicBezTo>
                <a:cubicBezTo>
                  <a:pt x="80" y="227"/>
                  <a:pt x="94" y="240"/>
                  <a:pt x="94" y="257"/>
                </a:cubicBezTo>
                <a:cubicBezTo>
                  <a:pt x="94" y="274"/>
                  <a:pt x="80" y="287"/>
                  <a:pt x="64" y="287"/>
                </a:cubicBezTo>
                <a:close/>
                <a:moveTo>
                  <a:pt x="63" y="197"/>
                </a:moveTo>
                <a:cubicBezTo>
                  <a:pt x="103" y="111"/>
                  <a:pt x="103" y="111"/>
                  <a:pt x="103" y="111"/>
                </a:cubicBezTo>
                <a:cubicBezTo>
                  <a:pt x="103" y="108"/>
                  <a:pt x="103" y="108"/>
                  <a:pt x="103" y="108"/>
                </a:cubicBezTo>
                <a:cubicBezTo>
                  <a:pt x="103" y="107"/>
                  <a:pt x="104" y="106"/>
                  <a:pt x="105" y="106"/>
                </a:cubicBezTo>
                <a:cubicBezTo>
                  <a:pt x="314" y="106"/>
                  <a:pt x="314" y="106"/>
                  <a:pt x="314" y="106"/>
                </a:cubicBezTo>
                <a:cubicBezTo>
                  <a:pt x="315" y="106"/>
                  <a:pt x="316" y="107"/>
                  <a:pt x="316" y="108"/>
                </a:cubicBezTo>
                <a:cubicBezTo>
                  <a:pt x="316" y="112"/>
                  <a:pt x="316" y="112"/>
                  <a:pt x="316" y="112"/>
                </a:cubicBezTo>
                <a:cubicBezTo>
                  <a:pt x="359" y="197"/>
                  <a:pt x="359" y="197"/>
                  <a:pt x="359" y="197"/>
                </a:cubicBezTo>
                <a:lnTo>
                  <a:pt x="63" y="197"/>
                </a:lnTo>
                <a:close/>
                <a:moveTo>
                  <a:pt x="351" y="287"/>
                </a:moveTo>
                <a:cubicBezTo>
                  <a:pt x="334" y="287"/>
                  <a:pt x="321" y="274"/>
                  <a:pt x="321" y="257"/>
                </a:cubicBezTo>
                <a:cubicBezTo>
                  <a:pt x="321" y="240"/>
                  <a:pt x="334" y="227"/>
                  <a:pt x="351" y="227"/>
                </a:cubicBezTo>
                <a:cubicBezTo>
                  <a:pt x="368" y="227"/>
                  <a:pt x="381" y="240"/>
                  <a:pt x="381" y="257"/>
                </a:cubicBezTo>
                <a:cubicBezTo>
                  <a:pt x="381" y="274"/>
                  <a:pt x="368" y="287"/>
                  <a:pt x="351" y="287"/>
                </a:cubicBezTo>
                <a:close/>
                <a:moveTo>
                  <a:pt x="758" y="131"/>
                </a:moveTo>
                <a:cubicBezTo>
                  <a:pt x="758" y="87"/>
                  <a:pt x="758" y="87"/>
                  <a:pt x="758" y="87"/>
                </a:cubicBezTo>
                <a:cubicBezTo>
                  <a:pt x="758" y="82"/>
                  <a:pt x="754" y="78"/>
                  <a:pt x="750" y="78"/>
                </a:cubicBezTo>
                <a:cubicBezTo>
                  <a:pt x="745" y="78"/>
                  <a:pt x="741" y="82"/>
                  <a:pt x="741" y="87"/>
                </a:cubicBezTo>
                <a:cubicBezTo>
                  <a:pt x="741" y="131"/>
                  <a:pt x="741" y="131"/>
                  <a:pt x="741" y="131"/>
                </a:cubicBezTo>
                <a:cubicBezTo>
                  <a:pt x="709" y="131"/>
                  <a:pt x="709" y="131"/>
                  <a:pt x="709" y="131"/>
                </a:cubicBezTo>
                <a:cubicBezTo>
                  <a:pt x="709" y="87"/>
                  <a:pt x="709" y="87"/>
                  <a:pt x="709" y="87"/>
                </a:cubicBezTo>
                <a:cubicBezTo>
                  <a:pt x="709" y="82"/>
                  <a:pt x="706" y="78"/>
                  <a:pt x="701" y="78"/>
                </a:cubicBezTo>
                <a:cubicBezTo>
                  <a:pt x="696" y="78"/>
                  <a:pt x="692" y="82"/>
                  <a:pt x="692" y="87"/>
                </a:cubicBezTo>
                <a:cubicBezTo>
                  <a:pt x="692" y="131"/>
                  <a:pt x="692" y="131"/>
                  <a:pt x="692" y="131"/>
                </a:cubicBezTo>
                <a:cubicBezTo>
                  <a:pt x="672" y="131"/>
                  <a:pt x="672" y="131"/>
                  <a:pt x="672" y="131"/>
                </a:cubicBezTo>
                <a:cubicBezTo>
                  <a:pt x="672" y="155"/>
                  <a:pt x="688" y="175"/>
                  <a:pt x="710" y="181"/>
                </a:cubicBezTo>
                <a:cubicBezTo>
                  <a:pt x="710" y="379"/>
                  <a:pt x="710" y="379"/>
                  <a:pt x="710" y="379"/>
                </a:cubicBezTo>
                <a:cubicBezTo>
                  <a:pt x="710" y="379"/>
                  <a:pt x="709" y="398"/>
                  <a:pt x="689" y="398"/>
                </a:cubicBezTo>
                <a:cubicBezTo>
                  <a:pt x="675" y="398"/>
                  <a:pt x="673" y="385"/>
                  <a:pt x="673" y="379"/>
                </a:cubicBezTo>
                <a:cubicBezTo>
                  <a:pt x="673" y="215"/>
                  <a:pt x="673" y="215"/>
                  <a:pt x="673" y="215"/>
                </a:cubicBezTo>
                <a:cubicBezTo>
                  <a:pt x="673" y="187"/>
                  <a:pt x="649" y="176"/>
                  <a:pt x="633" y="174"/>
                </a:cubicBezTo>
                <a:cubicBezTo>
                  <a:pt x="603" y="174"/>
                  <a:pt x="603" y="174"/>
                  <a:pt x="603" y="174"/>
                </a:cubicBezTo>
                <a:cubicBezTo>
                  <a:pt x="603" y="16"/>
                  <a:pt x="603" y="16"/>
                  <a:pt x="603" y="16"/>
                </a:cubicBezTo>
                <a:cubicBezTo>
                  <a:pt x="603" y="7"/>
                  <a:pt x="595" y="0"/>
                  <a:pt x="586" y="0"/>
                </a:cubicBezTo>
                <a:cubicBezTo>
                  <a:pt x="452" y="0"/>
                  <a:pt x="452" y="0"/>
                  <a:pt x="452" y="0"/>
                </a:cubicBezTo>
                <a:cubicBezTo>
                  <a:pt x="443" y="0"/>
                  <a:pt x="435" y="7"/>
                  <a:pt x="435" y="16"/>
                </a:cubicBezTo>
                <a:cubicBezTo>
                  <a:pt x="435" y="429"/>
                  <a:pt x="435" y="429"/>
                  <a:pt x="435" y="429"/>
                </a:cubicBezTo>
                <a:cubicBezTo>
                  <a:pt x="603" y="429"/>
                  <a:pt x="603" y="429"/>
                  <a:pt x="603" y="429"/>
                </a:cubicBezTo>
                <a:cubicBezTo>
                  <a:pt x="603" y="203"/>
                  <a:pt x="603" y="203"/>
                  <a:pt x="603" y="203"/>
                </a:cubicBezTo>
                <a:cubicBezTo>
                  <a:pt x="631" y="203"/>
                  <a:pt x="631" y="203"/>
                  <a:pt x="631" y="203"/>
                </a:cubicBezTo>
                <a:cubicBezTo>
                  <a:pt x="632" y="203"/>
                  <a:pt x="644" y="205"/>
                  <a:pt x="644" y="215"/>
                </a:cubicBezTo>
                <a:cubicBezTo>
                  <a:pt x="644" y="379"/>
                  <a:pt x="644" y="379"/>
                  <a:pt x="644" y="379"/>
                </a:cubicBezTo>
                <a:cubicBezTo>
                  <a:pt x="644" y="399"/>
                  <a:pt x="656" y="428"/>
                  <a:pt x="689" y="428"/>
                </a:cubicBezTo>
                <a:cubicBezTo>
                  <a:pt x="727" y="428"/>
                  <a:pt x="740" y="394"/>
                  <a:pt x="740" y="379"/>
                </a:cubicBezTo>
                <a:cubicBezTo>
                  <a:pt x="740" y="181"/>
                  <a:pt x="740" y="181"/>
                  <a:pt x="740" y="181"/>
                </a:cubicBezTo>
                <a:cubicBezTo>
                  <a:pt x="762" y="175"/>
                  <a:pt x="778" y="155"/>
                  <a:pt x="778" y="131"/>
                </a:cubicBezTo>
                <a:lnTo>
                  <a:pt x="758" y="131"/>
                </a:lnTo>
                <a:close/>
                <a:moveTo>
                  <a:pt x="488" y="310"/>
                </a:moveTo>
                <a:cubicBezTo>
                  <a:pt x="516" y="257"/>
                  <a:pt x="516" y="257"/>
                  <a:pt x="516" y="257"/>
                </a:cubicBezTo>
                <a:cubicBezTo>
                  <a:pt x="478" y="257"/>
                  <a:pt x="478" y="257"/>
                  <a:pt x="478" y="257"/>
                </a:cubicBezTo>
                <a:cubicBezTo>
                  <a:pt x="521" y="188"/>
                  <a:pt x="521" y="188"/>
                  <a:pt x="521" y="188"/>
                </a:cubicBezTo>
                <a:cubicBezTo>
                  <a:pt x="554" y="188"/>
                  <a:pt x="554" y="188"/>
                  <a:pt x="554" y="188"/>
                </a:cubicBezTo>
                <a:cubicBezTo>
                  <a:pt x="519" y="236"/>
                  <a:pt x="519" y="236"/>
                  <a:pt x="519" y="236"/>
                </a:cubicBezTo>
                <a:cubicBezTo>
                  <a:pt x="560" y="236"/>
                  <a:pt x="560" y="236"/>
                  <a:pt x="560" y="236"/>
                </a:cubicBezTo>
                <a:lnTo>
                  <a:pt x="488" y="310"/>
                </a:lnTo>
                <a:close/>
              </a:path>
            </a:pathLst>
          </a:custGeom>
          <a:solidFill>
            <a:schemeClr val="accent2"/>
          </a:solidFill>
          <a:ln>
            <a:noFill/>
          </a:ln>
        </p:spPr>
        <p:txBody>
          <a:bodyPr vert="horz" wrap="square" lIns="91430" tIns="45715" rIns="91430" bIns="45715" numCol="1" anchor="t" anchorCtr="0" compatLnSpc="1">
            <a:prstTxWarp prst="textNoShape">
              <a:avLst/>
            </a:prstTxWarp>
          </a:bodyPr>
          <a:lstStyle/>
          <a:p>
            <a:endParaRPr lang="en-GB" sz="1400"/>
          </a:p>
        </p:txBody>
      </p:sp>
      <p:sp>
        <p:nvSpPr>
          <p:cNvPr id="153" name="Rectangle 8"/>
          <p:cNvSpPr/>
          <p:nvPr/>
        </p:nvSpPr>
        <p:spPr>
          <a:xfrm>
            <a:off x="384562" y="4022680"/>
            <a:ext cx="8058684" cy="369322"/>
          </a:xfrm>
          <a:prstGeom prst="rect">
            <a:avLst/>
          </a:prstGeom>
        </p:spPr>
        <p:txBody>
          <a:bodyPr wrap="square" lIns="91430" tIns="45715" rIns="91430" bIns="45715">
            <a:spAutoFit/>
          </a:bodyPr>
          <a:lstStyle/>
          <a:p>
            <a:pPr lvl="0" algn="ctr">
              <a:defRPr/>
            </a:pPr>
            <a:r>
              <a:rPr lang="en-GB" dirty="0" smtClean="0">
                <a:solidFill>
                  <a:srgbClr val="197AA0"/>
                </a:solidFill>
              </a:rPr>
              <a:t>Yet </a:t>
            </a:r>
            <a:r>
              <a:rPr lang="en-GB" dirty="0">
                <a:solidFill>
                  <a:srgbClr val="197AA0"/>
                </a:solidFill>
              </a:rPr>
              <a:t>our current market system is not designed to facilitate more interaction</a:t>
            </a:r>
          </a:p>
        </p:txBody>
      </p:sp>
      <p:sp>
        <p:nvSpPr>
          <p:cNvPr id="154" name="Rectangle 1"/>
          <p:cNvSpPr/>
          <p:nvPr/>
        </p:nvSpPr>
        <p:spPr>
          <a:xfrm>
            <a:off x="1171870" y="456575"/>
            <a:ext cx="1256750" cy="1169541"/>
          </a:xfrm>
          <a:prstGeom prst="rect">
            <a:avLst/>
          </a:prstGeom>
          <a:noFill/>
        </p:spPr>
        <p:txBody>
          <a:bodyPr wrap="square" lIns="91430" tIns="45715" rIns="91430" bIns="45715">
            <a:spAutoFit/>
          </a:bodyPr>
          <a:lstStyle/>
          <a:p>
            <a:pPr algn="ctr"/>
            <a:r>
              <a:rPr lang="en-GB" sz="1400" dirty="0">
                <a:solidFill>
                  <a:schemeClr val="bg1"/>
                </a:solidFill>
              </a:rPr>
              <a:t>More variations in energy flows causes more complexity</a:t>
            </a:r>
          </a:p>
        </p:txBody>
      </p:sp>
      <p:grpSp>
        <p:nvGrpSpPr>
          <p:cNvPr id="155" name="Group 9"/>
          <p:cNvGrpSpPr/>
          <p:nvPr/>
        </p:nvGrpSpPr>
        <p:grpSpPr>
          <a:xfrm>
            <a:off x="1600740" y="1607957"/>
            <a:ext cx="1767642" cy="1729971"/>
            <a:chOff x="789278" y="2166444"/>
            <a:chExt cx="2571636" cy="2571636"/>
          </a:xfrm>
        </p:grpSpPr>
        <p:sp>
          <p:nvSpPr>
            <p:cNvPr id="156" name="Oval 2"/>
            <p:cNvSpPr/>
            <p:nvPr/>
          </p:nvSpPr>
          <p:spPr>
            <a:xfrm>
              <a:off x="789278" y="2166444"/>
              <a:ext cx="2571636" cy="2571636"/>
            </a:xfrm>
            <a:prstGeom prst="ellipse">
              <a:avLst/>
            </a:prstGeom>
            <a:noFill/>
            <a:ln w="571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p>
          </p:txBody>
        </p:sp>
        <p:sp>
          <p:nvSpPr>
            <p:cNvPr id="157" name="Freeform 5"/>
            <p:cNvSpPr>
              <a:spLocks noEditPoints="1"/>
            </p:cNvSpPr>
            <p:nvPr/>
          </p:nvSpPr>
          <p:spPr bwMode="auto">
            <a:xfrm>
              <a:off x="2067325" y="2936035"/>
              <a:ext cx="904037" cy="859777"/>
            </a:xfrm>
            <a:custGeom>
              <a:avLst/>
              <a:gdLst>
                <a:gd name="T0" fmla="*/ 734 w 1277"/>
                <a:gd name="T1" fmla="*/ 57 h 1214"/>
                <a:gd name="T2" fmla="*/ 751 w 1277"/>
                <a:gd name="T3" fmla="*/ 60 h 1214"/>
                <a:gd name="T4" fmla="*/ 785 w 1277"/>
                <a:gd name="T5" fmla="*/ 73 h 1214"/>
                <a:gd name="T6" fmla="*/ 800 w 1277"/>
                <a:gd name="T7" fmla="*/ 76 h 1214"/>
                <a:gd name="T8" fmla="*/ 826 w 1277"/>
                <a:gd name="T9" fmla="*/ 76 h 1214"/>
                <a:gd name="T10" fmla="*/ 847 w 1277"/>
                <a:gd name="T11" fmla="*/ 68 h 1214"/>
                <a:gd name="T12" fmla="*/ 858 w 1277"/>
                <a:gd name="T13" fmla="*/ 60 h 1214"/>
                <a:gd name="T14" fmla="*/ 870 w 1277"/>
                <a:gd name="T15" fmla="*/ 50 h 1214"/>
                <a:gd name="T16" fmla="*/ 870 w 1277"/>
                <a:gd name="T17" fmla="*/ 50 h 1214"/>
                <a:gd name="T18" fmla="*/ 873 w 1277"/>
                <a:gd name="T19" fmla="*/ 48 h 1214"/>
                <a:gd name="T20" fmla="*/ 882 w 1277"/>
                <a:gd name="T21" fmla="*/ 39 h 1214"/>
                <a:gd name="T22" fmla="*/ 908 w 1277"/>
                <a:gd name="T23" fmla="*/ 18 h 1214"/>
                <a:gd name="T24" fmla="*/ 956 w 1277"/>
                <a:gd name="T25" fmla="*/ 1 h 1214"/>
                <a:gd name="T26" fmla="*/ 971 w 1277"/>
                <a:gd name="T27" fmla="*/ 5 h 1214"/>
                <a:gd name="T28" fmla="*/ 1003 w 1277"/>
                <a:gd name="T29" fmla="*/ 26 h 1214"/>
                <a:gd name="T30" fmla="*/ 1020 w 1277"/>
                <a:gd name="T31" fmla="*/ 51 h 1214"/>
                <a:gd name="T32" fmla="*/ 1019 w 1277"/>
                <a:gd name="T33" fmla="*/ 57 h 1214"/>
                <a:gd name="T34" fmla="*/ 989 w 1277"/>
                <a:gd name="T35" fmla="*/ 45 h 1214"/>
                <a:gd name="T36" fmla="*/ 961 w 1277"/>
                <a:gd name="T37" fmla="*/ 35 h 1214"/>
                <a:gd name="T38" fmla="*/ 951 w 1277"/>
                <a:gd name="T39" fmla="*/ 32 h 1214"/>
                <a:gd name="T40" fmla="*/ 914 w 1277"/>
                <a:gd name="T41" fmla="*/ 29 h 1214"/>
                <a:gd name="T42" fmla="*/ 892 w 1277"/>
                <a:gd name="T43" fmla="*/ 48 h 1214"/>
                <a:gd name="T44" fmla="*/ 887 w 1277"/>
                <a:gd name="T45" fmla="*/ 58 h 1214"/>
                <a:gd name="T46" fmla="*/ 886 w 1277"/>
                <a:gd name="T47" fmla="*/ 60 h 1214"/>
                <a:gd name="T48" fmla="*/ 886 w 1277"/>
                <a:gd name="T49" fmla="*/ 61 h 1214"/>
                <a:gd name="T50" fmla="*/ 885 w 1277"/>
                <a:gd name="T51" fmla="*/ 62 h 1214"/>
                <a:gd name="T52" fmla="*/ 867 w 1277"/>
                <a:gd name="T53" fmla="*/ 91 h 1214"/>
                <a:gd name="T54" fmla="*/ 835 w 1277"/>
                <a:gd name="T55" fmla="*/ 112 h 1214"/>
                <a:gd name="T56" fmla="*/ 784 w 1277"/>
                <a:gd name="T57" fmla="*/ 108 h 1214"/>
                <a:gd name="T58" fmla="*/ 752 w 1277"/>
                <a:gd name="T59" fmla="*/ 86 h 1214"/>
                <a:gd name="T60" fmla="*/ 1277 w 1277"/>
                <a:gd name="T61" fmla="*/ 910 h 1214"/>
                <a:gd name="T62" fmla="*/ 0 w 1277"/>
                <a:gd name="T63" fmla="*/ 1214 h 1214"/>
                <a:gd name="T64" fmla="*/ 87 w 1277"/>
                <a:gd name="T65" fmla="*/ 910 h 1214"/>
                <a:gd name="T66" fmla="*/ 332 w 1277"/>
                <a:gd name="T67" fmla="*/ 396 h 1214"/>
                <a:gd name="T68" fmla="*/ 577 w 1277"/>
                <a:gd name="T69" fmla="*/ 396 h 1214"/>
                <a:gd name="T70" fmla="*/ 822 w 1277"/>
                <a:gd name="T71" fmla="*/ 396 h 1214"/>
                <a:gd name="T72" fmla="*/ 907 w 1277"/>
                <a:gd name="T73" fmla="*/ 734 h 1214"/>
                <a:gd name="T74" fmla="*/ 1093 w 1277"/>
                <a:gd name="T75" fmla="*/ 136 h 1214"/>
                <a:gd name="T76" fmla="*/ 1227 w 1277"/>
                <a:gd name="T77" fmla="*/ 734 h 1214"/>
                <a:gd name="T78" fmla="*/ 1277 w 1277"/>
                <a:gd name="T79" fmla="*/ 910 h 1214"/>
                <a:gd name="T80" fmla="*/ 208 w 1277"/>
                <a:gd name="T81" fmla="*/ 778 h 1214"/>
                <a:gd name="T82" fmla="*/ 400 w 1277"/>
                <a:gd name="T83" fmla="*/ 956 h 1214"/>
                <a:gd name="T84" fmla="*/ 732 w 1277"/>
                <a:gd name="T85" fmla="*/ 778 h 1214"/>
                <a:gd name="T86" fmla="*/ 540 w 1277"/>
                <a:gd name="T87" fmla="*/ 956 h 1214"/>
                <a:gd name="T88" fmla="*/ 732 w 1277"/>
                <a:gd name="T89" fmla="*/ 778 h 1214"/>
                <a:gd name="T90" fmla="*/ 876 w 1277"/>
                <a:gd name="T91" fmla="*/ 778 h 1214"/>
                <a:gd name="T92" fmla="*/ 1069 w 1277"/>
                <a:gd name="T93" fmla="*/ 956 h 1214"/>
                <a:gd name="T94" fmla="*/ 1069 w 1277"/>
                <a:gd name="T95" fmla="*/ 778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7" h="1214">
                  <a:moveTo>
                    <a:pt x="741" y="71"/>
                  </a:moveTo>
                  <a:cubicBezTo>
                    <a:pt x="736" y="63"/>
                    <a:pt x="734" y="57"/>
                    <a:pt x="734" y="57"/>
                  </a:cubicBezTo>
                  <a:cubicBezTo>
                    <a:pt x="737" y="55"/>
                    <a:pt x="737" y="55"/>
                    <a:pt x="737" y="55"/>
                  </a:cubicBezTo>
                  <a:cubicBezTo>
                    <a:pt x="737" y="55"/>
                    <a:pt x="742" y="57"/>
                    <a:pt x="751" y="60"/>
                  </a:cubicBezTo>
                  <a:cubicBezTo>
                    <a:pt x="755" y="62"/>
                    <a:pt x="760" y="64"/>
                    <a:pt x="766" y="66"/>
                  </a:cubicBezTo>
                  <a:cubicBezTo>
                    <a:pt x="772" y="69"/>
                    <a:pt x="778" y="71"/>
                    <a:pt x="785" y="73"/>
                  </a:cubicBezTo>
                  <a:cubicBezTo>
                    <a:pt x="788" y="74"/>
                    <a:pt x="791" y="75"/>
                    <a:pt x="795" y="75"/>
                  </a:cubicBezTo>
                  <a:cubicBezTo>
                    <a:pt x="797" y="75"/>
                    <a:pt x="798" y="76"/>
                    <a:pt x="800" y="76"/>
                  </a:cubicBezTo>
                  <a:cubicBezTo>
                    <a:pt x="802" y="76"/>
                    <a:pt x="803" y="76"/>
                    <a:pt x="805" y="77"/>
                  </a:cubicBezTo>
                  <a:cubicBezTo>
                    <a:pt x="812" y="77"/>
                    <a:pt x="819" y="77"/>
                    <a:pt x="826" y="76"/>
                  </a:cubicBezTo>
                  <a:cubicBezTo>
                    <a:pt x="829" y="75"/>
                    <a:pt x="833" y="75"/>
                    <a:pt x="836" y="73"/>
                  </a:cubicBezTo>
                  <a:cubicBezTo>
                    <a:pt x="839" y="71"/>
                    <a:pt x="844" y="70"/>
                    <a:pt x="847" y="68"/>
                  </a:cubicBezTo>
                  <a:cubicBezTo>
                    <a:pt x="848" y="67"/>
                    <a:pt x="850" y="66"/>
                    <a:pt x="852" y="64"/>
                  </a:cubicBezTo>
                  <a:cubicBezTo>
                    <a:pt x="854" y="63"/>
                    <a:pt x="856" y="63"/>
                    <a:pt x="858" y="60"/>
                  </a:cubicBezTo>
                  <a:cubicBezTo>
                    <a:pt x="870" y="50"/>
                    <a:pt x="870" y="50"/>
                    <a:pt x="870" y="50"/>
                  </a:cubicBezTo>
                  <a:cubicBezTo>
                    <a:pt x="870" y="50"/>
                    <a:pt x="869" y="51"/>
                    <a:pt x="870" y="50"/>
                  </a:cubicBezTo>
                  <a:cubicBezTo>
                    <a:pt x="870" y="50"/>
                    <a:pt x="870" y="50"/>
                    <a:pt x="870" y="50"/>
                  </a:cubicBezTo>
                  <a:cubicBezTo>
                    <a:pt x="870" y="50"/>
                    <a:pt x="870" y="50"/>
                    <a:pt x="870" y="50"/>
                  </a:cubicBezTo>
                  <a:cubicBezTo>
                    <a:pt x="871" y="49"/>
                    <a:pt x="871" y="49"/>
                    <a:pt x="871" y="49"/>
                  </a:cubicBezTo>
                  <a:cubicBezTo>
                    <a:pt x="873" y="48"/>
                    <a:pt x="873" y="48"/>
                    <a:pt x="873" y="48"/>
                  </a:cubicBezTo>
                  <a:cubicBezTo>
                    <a:pt x="876" y="45"/>
                    <a:pt x="876" y="45"/>
                    <a:pt x="876" y="45"/>
                  </a:cubicBezTo>
                  <a:cubicBezTo>
                    <a:pt x="882" y="39"/>
                    <a:pt x="882" y="39"/>
                    <a:pt x="882" y="39"/>
                  </a:cubicBezTo>
                  <a:cubicBezTo>
                    <a:pt x="886" y="35"/>
                    <a:pt x="891" y="32"/>
                    <a:pt x="895" y="28"/>
                  </a:cubicBezTo>
                  <a:cubicBezTo>
                    <a:pt x="899" y="24"/>
                    <a:pt x="904" y="22"/>
                    <a:pt x="908" y="18"/>
                  </a:cubicBezTo>
                  <a:cubicBezTo>
                    <a:pt x="912" y="14"/>
                    <a:pt x="917" y="12"/>
                    <a:pt x="922" y="8"/>
                  </a:cubicBezTo>
                  <a:cubicBezTo>
                    <a:pt x="933" y="4"/>
                    <a:pt x="945" y="0"/>
                    <a:pt x="956" y="1"/>
                  </a:cubicBezTo>
                  <a:cubicBezTo>
                    <a:pt x="959" y="2"/>
                    <a:pt x="961" y="2"/>
                    <a:pt x="964" y="3"/>
                  </a:cubicBezTo>
                  <a:cubicBezTo>
                    <a:pt x="966" y="3"/>
                    <a:pt x="969" y="4"/>
                    <a:pt x="971" y="5"/>
                  </a:cubicBezTo>
                  <a:cubicBezTo>
                    <a:pt x="976" y="7"/>
                    <a:pt x="980" y="9"/>
                    <a:pt x="984" y="11"/>
                  </a:cubicBezTo>
                  <a:cubicBezTo>
                    <a:pt x="992" y="16"/>
                    <a:pt x="998" y="21"/>
                    <a:pt x="1003" y="26"/>
                  </a:cubicBezTo>
                  <a:cubicBezTo>
                    <a:pt x="1008" y="31"/>
                    <a:pt x="1012" y="36"/>
                    <a:pt x="1014" y="40"/>
                  </a:cubicBezTo>
                  <a:cubicBezTo>
                    <a:pt x="1017" y="44"/>
                    <a:pt x="1019" y="48"/>
                    <a:pt x="1020" y="51"/>
                  </a:cubicBezTo>
                  <a:cubicBezTo>
                    <a:pt x="1021" y="53"/>
                    <a:pt x="1021" y="55"/>
                    <a:pt x="1021" y="55"/>
                  </a:cubicBezTo>
                  <a:cubicBezTo>
                    <a:pt x="1019" y="57"/>
                    <a:pt x="1019" y="57"/>
                    <a:pt x="1019" y="57"/>
                  </a:cubicBezTo>
                  <a:cubicBezTo>
                    <a:pt x="1019" y="57"/>
                    <a:pt x="1013" y="55"/>
                    <a:pt x="1004" y="52"/>
                  </a:cubicBezTo>
                  <a:cubicBezTo>
                    <a:pt x="1000" y="50"/>
                    <a:pt x="995" y="48"/>
                    <a:pt x="989" y="45"/>
                  </a:cubicBezTo>
                  <a:cubicBezTo>
                    <a:pt x="984" y="43"/>
                    <a:pt x="977" y="41"/>
                    <a:pt x="971" y="38"/>
                  </a:cubicBezTo>
                  <a:cubicBezTo>
                    <a:pt x="968" y="37"/>
                    <a:pt x="964" y="36"/>
                    <a:pt x="961" y="35"/>
                  </a:cubicBezTo>
                  <a:cubicBezTo>
                    <a:pt x="959" y="35"/>
                    <a:pt x="957" y="34"/>
                    <a:pt x="956" y="33"/>
                  </a:cubicBezTo>
                  <a:cubicBezTo>
                    <a:pt x="954" y="33"/>
                    <a:pt x="952" y="33"/>
                    <a:pt x="951" y="32"/>
                  </a:cubicBezTo>
                  <a:cubicBezTo>
                    <a:pt x="944" y="30"/>
                    <a:pt x="936" y="28"/>
                    <a:pt x="927" y="27"/>
                  </a:cubicBezTo>
                  <a:cubicBezTo>
                    <a:pt x="923" y="27"/>
                    <a:pt x="918" y="27"/>
                    <a:pt x="914" y="29"/>
                  </a:cubicBezTo>
                  <a:cubicBezTo>
                    <a:pt x="910" y="31"/>
                    <a:pt x="905" y="33"/>
                    <a:pt x="902" y="36"/>
                  </a:cubicBezTo>
                  <a:cubicBezTo>
                    <a:pt x="898" y="40"/>
                    <a:pt x="895" y="43"/>
                    <a:pt x="892" y="48"/>
                  </a:cubicBezTo>
                  <a:cubicBezTo>
                    <a:pt x="889" y="54"/>
                    <a:pt x="889" y="54"/>
                    <a:pt x="889" y="54"/>
                  </a:cubicBezTo>
                  <a:cubicBezTo>
                    <a:pt x="887" y="58"/>
                    <a:pt x="887" y="58"/>
                    <a:pt x="887" y="58"/>
                  </a:cubicBezTo>
                  <a:cubicBezTo>
                    <a:pt x="886" y="60"/>
                    <a:pt x="886" y="60"/>
                    <a:pt x="886" y="60"/>
                  </a:cubicBezTo>
                  <a:cubicBezTo>
                    <a:pt x="886" y="60"/>
                    <a:pt x="886" y="60"/>
                    <a:pt x="886" y="60"/>
                  </a:cubicBezTo>
                  <a:cubicBezTo>
                    <a:pt x="886" y="61"/>
                    <a:pt x="886" y="61"/>
                    <a:pt x="886" y="61"/>
                  </a:cubicBezTo>
                  <a:cubicBezTo>
                    <a:pt x="886" y="61"/>
                    <a:pt x="886" y="61"/>
                    <a:pt x="886" y="61"/>
                  </a:cubicBezTo>
                  <a:cubicBezTo>
                    <a:pt x="886" y="61"/>
                    <a:pt x="886" y="61"/>
                    <a:pt x="886" y="61"/>
                  </a:cubicBezTo>
                  <a:cubicBezTo>
                    <a:pt x="886" y="61"/>
                    <a:pt x="885" y="62"/>
                    <a:pt x="885" y="62"/>
                  </a:cubicBezTo>
                  <a:cubicBezTo>
                    <a:pt x="879" y="77"/>
                    <a:pt x="879" y="77"/>
                    <a:pt x="879" y="77"/>
                  </a:cubicBezTo>
                  <a:cubicBezTo>
                    <a:pt x="876" y="81"/>
                    <a:pt x="871" y="87"/>
                    <a:pt x="867" y="91"/>
                  </a:cubicBezTo>
                  <a:cubicBezTo>
                    <a:pt x="863" y="97"/>
                    <a:pt x="858" y="100"/>
                    <a:pt x="853" y="104"/>
                  </a:cubicBezTo>
                  <a:cubicBezTo>
                    <a:pt x="847" y="107"/>
                    <a:pt x="841" y="109"/>
                    <a:pt x="835" y="112"/>
                  </a:cubicBezTo>
                  <a:cubicBezTo>
                    <a:pt x="823" y="116"/>
                    <a:pt x="810" y="116"/>
                    <a:pt x="799" y="113"/>
                  </a:cubicBezTo>
                  <a:cubicBezTo>
                    <a:pt x="793" y="112"/>
                    <a:pt x="788" y="111"/>
                    <a:pt x="784" y="108"/>
                  </a:cubicBezTo>
                  <a:cubicBezTo>
                    <a:pt x="779" y="106"/>
                    <a:pt x="775" y="104"/>
                    <a:pt x="771" y="101"/>
                  </a:cubicBezTo>
                  <a:cubicBezTo>
                    <a:pt x="763" y="96"/>
                    <a:pt x="757" y="91"/>
                    <a:pt x="752" y="86"/>
                  </a:cubicBezTo>
                  <a:cubicBezTo>
                    <a:pt x="748" y="81"/>
                    <a:pt x="744" y="76"/>
                    <a:pt x="741" y="71"/>
                  </a:cubicBezTo>
                  <a:close/>
                  <a:moveTo>
                    <a:pt x="1277" y="910"/>
                  </a:moveTo>
                  <a:cubicBezTo>
                    <a:pt x="1277" y="1214"/>
                    <a:pt x="1277" y="1214"/>
                    <a:pt x="1277" y="1214"/>
                  </a:cubicBezTo>
                  <a:cubicBezTo>
                    <a:pt x="0" y="1214"/>
                    <a:pt x="0" y="1214"/>
                    <a:pt x="0" y="1214"/>
                  </a:cubicBezTo>
                  <a:cubicBezTo>
                    <a:pt x="0" y="910"/>
                    <a:pt x="0" y="910"/>
                    <a:pt x="0" y="910"/>
                  </a:cubicBezTo>
                  <a:cubicBezTo>
                    <a:pt x="87" y="910"/>
                    <a:pt x="87" y="910"/>
                    <a:pt x="87" y="910"/>
                  </a:cubicBezTo>
                  <a:cubicBezTo>
                    <a:pt x="87" y="568"/>
                    <a:pt x="87" y="568"/>
                    <a:pt x="87" y="568"/>
                  </a:cubicBezTo>
                  <a:cubicBezTo>
                    <a:pt x="332" y="396"/>
                    <a:pt x="332" y="396"/>
                    <a:pt x="332" y="396"/>
                  </a:cubicBezTo>
                  <a:cubicBezTo>
                    <a:pt x="332" y="568"/>
                    <a:pt x="332" y="568"/>
                    <a:pt x="332" y="568"/>
                  </a:cubicBezTo>
                  <a:cubicBezTo>
                    <a:pt x="577" y="396"/>
                    <a:pt x="577" y="396"/>
                    <a:pt x="577" y="396"/>
                  </a:cubicBezTo>
                  <a:cubicBezTo>
                    <a:pt x="577" y="568"/>
                    <a:pt x="577" y="568"/>
                    <a:pt x="577" y="568"/>
                  </a:cubicBezTo>
                  <a:cubicBezTo>
                    <a:pt x="822" y="396"/>
                    <a:pt x="822" y="396"/>
                    <a:pt x="822" y="396"/>
                  </a:cubicBezTo>
                  <a:cubicBezTo>
                    <a:pt x="822" y="734"/>
                    <a:pt x="822" y="734"/>
                    <a:pt x="822" y="734"/>
                  </a:cubicBezTo>
                  <a:cubicBezTo>
                    <a:pt x="907" y="734"/>
                    <a:pt x="907" y="734"/>
                    <a:pt x="907" y="734"/>
                  </a:cubicBezTo>
                  <a:cubicBezTo>
                    <a:pt x="953" y="136"/>
                    <a:pt x="953" y="136"/>
                    <a:pt x="953" y="136"/>
                  </a:cubicBezTo>
                  <a:cubicBezTo>
                    <a:pt x="1093" y="136"/>
                    <a:pt x="1093" y="136"/>
                    <a:pt x="1093" y="136"/>
                  </a:cubicBezTo>
                  <a:cubicBezTo>
                    <a:pt x="1133" y="734"/>
                    <a:pt x="1133" y="734"/>
                    <a:pt x="1133" y="734"/>
                  </a:cubicBezTo>
                  <a:cubicBezTo>
                    <a:pt x="1227" y="734"/>
                    <a:pt x="1227" y="734"/>
                    <a:pt x="1227" y="734"/>
                  </a:cubicBezTo>
                  <a:cubicBezTo>
                    <a:pt x="1227" y="910"/>
                    <a:pt x="1227" y="910"/>
                    <a:pt x="1227" y="910"/>
                  </a:cubicBezTo>
                  <a:lnTo>
                    <a:pt x="1277" y="910"/>
                  </a:lnTo>
                  <a:close/>
                  <a:moveTo>
                    <a:pt x="400" y="778"/>
                  </a:moveTo>
                  <a:cubicBezTo>
                    <a:pt x="208" y="778"/>
                    <a:pt x="208" y="778"/>
                    <a:pt x="208" y="778"/>
                  </a:cubicBezTo>
                  <a:cubicBezTo>
                    <a:pt x="208" y="956"/>
                    <a:pt x="208" y="956"/>
                    <a:pt x="208" y="956"/>
                  </a:cubicBezTo>
                  <a:cubicBezTo>
                    <a:pt x="400" y="956"/>
                    <a:pt x="400" y="956"/>
                    <a:pt x="400" y="956"/>
                  </a:cubicBezTo>
                  <a:lnTo>
                    <a:pt x="400" y="778"/>
                  </a:lnTo>
                  <a:close/>
                  <a:moveTo>
                    <a:pt x="732" y="778"/>
                  </a:moveTo>
                  <a:cubicBezTo>
                    <a:pt x="540" y="778"/>
                    <a:pt x="540" y="778"/>
                    <a:pt x="540" y="778"/>
                  </a:cubicBezTo>
                  <a:cubicBezTo>
                    <a:pt x="540" y="956"/>
                    <a:pt x="540" y="956"/>
                    <a:pt x="540" y="956"/>
                  </a:cubicBezTo>
                  <a:cubicBezTo>
                    <a:pt x="732" y="956"/>
                    <a:pt x="732" y="956"/>
                    <a:pt x="732" y="956"/>
                  </a:cubicBezTo>
                  <a:lnTo>
                    <a:pt x="732" y="778"/>
                  </a:lnTo>
                  <a:close/>
                  <a:moveTo>
                    <a:pt x="1069" y="778"/>
                  </a:moveTo>
                  <a:cubicBezTo>
                    <a:pt x="876" y="778"/>
                    <a:pt x="876" y="778"/>
                    <a:pt x="876" y="778"/>
                  </a:cubicBezTo>
                  <a:cubicBezTo>
                    <a:pt x="876" y="956"/>
                    <a:pt x="876" y="956"/>
                    <a:pt x="876" y="956"/>
                  </a:cubicBezTo>
                  <a:cubicBezTo>
                    <a:pt x="1069" y="956"/>
                    <a:pt x="1069" y="956"/>
                    <a:pt x="1069" y="956"/>
                  </a:cubicBezTo>
                  <a:lnTo>
                    <a:pt x="1069" y="778"/>
                  </a:lnTo>
                  <a:close/>
                  <a:moveTo>
                    <a:pt x="1069" y="778"/>
                  </a:moveTo>
                  <a:cubicBezTo>
                    <a:pt x="1069" y="778"/>
                    <a:pt x="1069" y="778"/>
                    <a:pt x="1069" y="778"/>
                  </a:cubicBezTo>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sz="1400"/>
            </a:p>
          </p:txBody>
        </p:sp>
        <p:sp>
          <p:nvSpPr>
            <p:cNvPr id="158" name="Freeform 17"/>
            <p:cNvSpPr>
              <a:spLocks/>
            </p:cNvSpPr>
            <p:nvPr/>
          </p:nvSpPr>
          <p:spPr bwMode="auto">
            <a:xfrm flipH="1">
              <a:off x="1208950" y="3238057"/>
              <a:ext cx="632152" cy="579205"/>
            </a:xfrm>
            <a:custGeom>
              <a:avLst/>
              <a:gdLst>
                <a:gd name="T0" fmla="*/ 166 w 167"/>
                <a:gd name="T1" fmla="*/ 58 h 153"/>
                <a:gd name="T2" fmla="*/ 147 w 167"/>
                <a:gd name="T3" fmla="*/ 44 h 153"/>
                <a:gd name="T4" fmla="*/ 147 w 167"/>
                <a:gd name="T5" fmla="*/ 3 h 153"/>
                <a:gd name="T6" fmla="*/ 144 w 167"/>
                <a:gd name="T7" fmla="*/ 0 h 153"/>
                <a:gd name="T8" fmla="*/ 125 w 167"/>
                <a:gd name="T9" fmla="*/ 0 h 153"/>
                <a:gd name="T10" fmla="*/ 123 w 167"/>
                <a:gd name="T11" fmla="*/ 3 h 153"/>
                <a:gd name="T12" fmla="*/ 123 w 167"/>
                <a:gd name="T13" fmla="*/ 27 h 153"/>
                <a:gd name="T14" fmla="*/ 85 w 167"/>
                <a:gd name="T15" fmla="*/ 1 h 153"/>
                <a:gd name="T16" fmla="*/ 82 w 167"/>
                <a:gd name="T17" fmla="*/ 1 h 153"/>
                <a:gd name="T18" fmla="*/ 1 w 167"/>
                <a:gd name="T19" fmla="*/ 58 h 153"/>
                <a:gd name="T20" fmla="*/ 0 w 167"/>
                <a:gd name="T21" fmla="*/ 59 h 153"/>
                <a:gd name="T22" fmla="*/ 1 w 167"/>
                <a:gd name="T23" fmla="*/ 61 h 153"/>
                <a:gd name="T24" fmla="*/ 12 w 167"/>
                <a:gd name="T25" fmla="*/ 77 h 153"/>
                <a:gd name="T26" fmla="*/ 14 w 167"/>
                <a:gd name="T27" fmla="*/ 78 h 153"/>
                <a:gd name="T28" fmla="*/ 15 w 167"/>
                <a:gd name="T29" fmla="*/ 77 h 153"/>
                <a:gd name="T30" fmla="*/ 20 w 167"/>
                <a:gd name="T31" fmla="*/ 74 h 153"/>
                <a:gd name="T32" fmla="*/ 20 w 167"/>
                <a:gd name="T33" fmla="*/ 151 h 153"/>
                <a:gd name="T34" fmla="*/ 23 w 167"/>
                <a:gd name="T35" fmla="*/ 153 h 153"/>
                <a:gd name="T36" fmla="*/ 65 w 167"/>
                <a:gd name="T37" fmla="*/ 153 h 153"/>
                <a:gd name="T38" fmla="*/ 68 w 167"/>
                <a:gd name="T39" fmla="*/ 151 h 153"/>
                <a:gd name="T40" fmla="*/ 68 w 167"/>
                <a:gd name="T41" fmla="*/ 93 h 153"/>
                <a:gd name="T42" fmla="*/ 100 w 167"/>
                <a:gd name="T43" fmla="*/ 93 h 153"/>
                <a:gd name="T44" fmla="*/ 100 w 167"/>
                <a:gd name="T45" fmla="*/ 151 h 153"/>
                <a:gd name="T46" fmla="*/ 102 w 167"/>
                <a:gd name="T47" fmla="*/ 153 h 153"/>
                <a:gd name="T48" fmla="*/ 144 w 167"/>
                <a:gd name="T49" fmla="*/ 153 h 153"/>
                <a:gd name="T50" fmla="*/ 147 w 167"/>
                <a:gd name="T51" fmla="*/ 151 h 153"/>
                <a:gd name="T52" fmla="*/ 147 w 167"/>
                <a:gd name="T53" fmla="*/ 74 h 153"/>
                <a:gd name="T54" fmla="*/ 152 w 167"/>
                <a:gd name="T55" fmla="*/ 77 h 153"/>
                <a:gd name="T56" fmla="*/ 155 w 167"/>
                <a:gd name="T57" fmla="*/ 77 h 153"/>
                <a:gd name="T58" fmla="*/ 166 w 167"/>
                <a:gd name="T59" fmla="*/ 61 h 153"/>
                <a:gd name="T60" fmla="*/ 167 w 167"/>
                <a:gd name="T61" fmla="*/ 59 h 153"/>
                <a:gd name="T62" fmla="*/ 166 w 167"/>
                <a:gd name="T63" fmla="*/ 5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53">
                  <a:moveTo>
                    <a:pt x="166" y="58"/>
                  </a:moveTo>
                  <a:cubicBezTo>
                    <a:pt x="147" y="44"/>
                    <a:pt x="147" y="44"/>
                    <a:pt x="147" y="44"/>
                  </a:cubicBezTo>
                  <a:cubicBezTo>
                    <a:pt x="147" y="3"/>
                    <a:pt x="147" y="3"/>
                    <a:pt x="147" y="3"/>
                  </a:cubicBezTo>
                  <a:cubicBezTo>
                    <a:pt x="147" y="1"/>
                    <a:pt x="146" y="0"/>
                    <a:pt x="144" y="0"/>
                  </a:cubicBezTo>
                  <a:cubicBezTo>
                    <a:pt x="125" y="0"/>
                    <a:pt x="125" y="0"/>
                    <a:pt x="125" y="0"/>
                  </a:cubicBezTo>
                  <a:cubicBezTo>
                    <a:pt x="124" y="0"/>
                    <a:pt x="123" y="1"/>
                    <a:pt x="123" y="3"/>
                  </a:cubicBezTo>
                  <a:cubicBezTo>
                    <a:pt x="123" y="27"/>
                    <a:pt x="123" y="27"/>
                    <a:pt x="123" y="27"/>
                  </a:cubicBezTo>
                  <a:cubicBezTo>
                    <a:pt x="85" y="1"/>
                    <a:pt x="85" y="1"/>
                    <a:pt x="85" y="1"/>
                  </a:cubicBezTo>
                  <a:cubicBezTo>
                    <a:pt x="84" y="0"/>
                    <a:pt x="83" y="0"/>
                    <a:pt x="82" y="1"/>
                  </a:cubicBezTo>
                  <a:cubicBezTo>
                    <a:pt x="1" y="58"/>
                    <a:pt x="1" y="58"/>
                    <a:pt x="1" y="58"/>
                  </a:cubicBezTo>
                  <a:cubicBezTo>
                    <a:pt x="1" y="58"/>
                    <a:pt x="1" y="59"/>
                    <a:pt x="0" y="59"/>
                  </a:cubicBezTo>
                  <a:cubicBezTo>
                    <a:pt x="0" y="60"/>
                    <a:pt x="0" y="60"/>
                    <a:pt x="1" y="61"/>
                  </a:cubicBezTo>
                  <a:cubicBezTo>
                    <a:pt x="12" y="77"/>
                    <a:pt x="12" y="77"/>
                    <a:pt x="12" y="77"/>
                  </a:cubicBezTo>
                  <a:cubicBezTo>
                    <a:pt x="12" y="77"/>
                    <a:pt x="13" y="78"/>
                    <a:pt x="14" y="78"/>
                  </a:cubicBezTo>
                  <a:cubicBezTo>
                    <a:pt x="14" y="78"/>
                    <a:pt x="15" y="78"/>
                    <a:pt x="15" y="77"/>
                  </a:cubicBezTo>
                  <a:cubicBezTo>
                    <a:pt x="20" y="74"/>
                    <a:pt x="20" y="74"/>
                    <a:pt x="20" y="74"/>
                  </a:cubicBezTo>
                  <a:cubicBezTo>
                    <a:pt x="20" y="151"/>
                    <a:pt x="20" y="151"/>
                    <a:pt x="20" y="151"/>
                  </a:cubicBezTo>
                  <a:cubicBezTo>
                    <a:pt x="20" y="152"/>
                    <a:pt x="21" y="153"/>
                    <a:pt x="23" y="153"/>
                  </a:cubicBezTo>
                  <a:cubicBezTo>
                    <a:pt x="65" y="153"/>
                    <a:pt x="65" y="153"/>
                    <a:pt x="65" y="153"/>
                  </a:cubicBezTo>
                  <a:cubicBezTo>
                    <a:pt x="66" y="153"/>
                    <a:pt x="68" y="152"/>
                    <a:pt x="68" y="151"/>
                  </a:cubicBezTo>
                  <a:cubicBezTo>
                    <a:pt x="68" y="93"/>
                    <a:pt x="68" y="93"/>
                    <a:pt x="68" y="93"/>
                  </a:cubicBezTo>
                  <a:cubicBezTo>
                    <a:pt x="100" y="93"/>
                    <a:pt x="100" y="93"/>
                    <a:pt x="100" y="93"/>
                  </a:cubicBezTo>
                  <a:cubicBezTo>
                    <a:pt x="100" y="151"/>
                    <a:pt x="100" y="151"/>
                    <a:pt x="100" y="151"/>
                  </a:cubicBezTo>
                  <a:cubicBezTo>
                    <a:pt x="100" y="152"/>
                    <a:pt x="101" y="153"/>
                    <a:pt x="102" y="153"/>
                  </a:cubicBezTo>
                  <a:cubicBezTo>
                    <a:pt x="144" y="153"/>
                    <a:pt x="144" y="153"/>
                    <a:pt x="144" y="153"/>
                  </a:cubicBezTo>
                  <a:cubicBezTo>
                    <a:pt x="146" y="153"/>
                    <a:pt x="147" y="152"/>
                    <a:pt x="147" y="151"/>
                  </a:cubicBezTo>
                  <a:cubicBezTo>
                    <a:pt x="147" y="74"/>
                    <a:pt x="147" y="74"/>
                    <a:pt x="147" y="74"/>
                  </a:cubicBezTo>
                  <a:cubicBezTo>
                    <a:pt x="152" y="77"/>
                    <a:pt x="152" y="77"/>
                    <a:pt x="152" y="77"/>
                  </a:cubicBezTo>
                  <a:cubicBezTo>
                    <a:pt x="153" y="78"/>
                    <a:pt x="155" y="78"/>
                    <a:pt x="155" y="77"/>
                  </a:cubicBezTo>
                  <a:cubicBezTo>
                    <a:pt x="166" y="61"/>
                    <a:pt x="166" y="61"/>
                    <a:pt x="166" y="61"/>
                  </a:cubicBezTo>
                  <a:cubicBezTo>
                    <a:pt x="167" y="60"/>
                    <a:pt x="167" y="60"/>
                    <a:pt x="167" y="59"/>
                  </a:cubicBezTo>
                  <a:cubicBezTo>
                    <a:pt x="167" y="59"/>
                    <a:pt x="166" y="58"/>
                    <a:pt x="166" y="58"/>
                  </a:cubicBezTo>
                  <a:close/>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sz="1400"/>
            </a:p>
          </p:txBody>
        </p:sp>
        <p:grpSp>
          <p:nvGrpSpPr>
            <p:cNvPr id="159" name="Group 27"/>
            <p:cNvGrpSpPr/>
            <p:nvPr/>
          </p:nvGrpSpPr>
          <p:grpSpPr>
            <a:xfrm>
              <a:off x="1670677" y="2611814"/>
              <a:ext cx="717184" cy="1781970"/>
              <a:chOff x="1586608" y="206374"/>
              <a:chExt cx="828675" cy="2058988"/>
            </a:xfrm>
            <a:solidFill>
              <a:schemeClr val="accent2"/>
            </a:solidFill>
          </p:grpSpPr>
          <p:sp>
            <p:nvSpPr>
              <p:cNvPr id="160" name="Freeform 3735"/>
              <p:cNvSpPr>
                <a:spLocks/>
              </p:cNvSpPr>
              <p:nvPr/>
            </p:nvSpPr>
            <p:spPr bwMode="auto">
              <a:xfrm>
                <a:off x="1586608" y="577849"/>
                <a:ext cx="828675" cy="1687513"/>
              </a:xfrm>
              <a:custGeom>
                <a:avLst/>
                <a:gdLst>
                  <a:gd name="T0" fmla="*/ 52 w 221"/>
                  <a:gd name="T1" fmla="*/ 425 h 450"/>
                  <a:gd name="T2" fmla="*/ 77 w 221"/>
                  <a:gd name="T3" fmla="*/ 450 h 450"/>
                  <a:gd name="T4" fmla="*/ 102 w 221"/>
                  <a:gd name="T5" fmla="*/ 425 h 450"/>
                  <a:gd name="T6" fmla="*/ 102 w 221"/>
                  <a:gd name="T7" fmla="*/ 214 h 450"/>
                  <a:gd name="T8" fmla="*/ 119 w 221"/>
                  <a:gd name="T9" fmla="*/ 214 h 450"/>
                  <a:gd name="T10" fmla="*/ 119 w 221"/>
                  <a:gd name="T11" fmla="*/ 425 h 450"/>
                  <a:gd name="T12" fmla="*/ 144 w 221"/>
                  <a:gd name="T13" fmla="*/ 450 h 450"/>
                  <a:gd name="T14" fmla="*/ 169 w 221"/>
                  <a:gd name="T15" fmla="*/ 425 h 450"/>
                  <a:gd name="T16" fmla="*/ 169 w 221"/>
                  <a:gd name="T17" fmla="*/ 62 h 450"/>
                  <a:gd name="T18" fmla="*/ 186 w 221"/>
                  <a:gd name="T19" fmla="*/ 62 h 450"/>
                  <a:gd name="T20" fmla="*/ 186 w 221"/>
                  <a:gd name="T21" fmla="*/ 196 h 450"/>
                  <a:gd name="T22" fmla="*/ 221 w 221"/>
                  <a:gd name="T23" fmla="*/ 196 h 450"/>
                  <a:gd name="T24" fmla="*/ 221 w 221"/>
                  <a:gd name="T25" fmla="*/ 59 h 450"/>
                  <a:gd name="T26" fmla="*/ 163 w 221"/>
                  <a:gd name="T27" fmla="*/ 0 h 450"/>
                  <a:gd name="T28" fmla="*/ 57 w 221"/>
                  <a:gd name="T29" fmla="*/ 0 h 450"/>
                  <a:gd name="T30" fmla="*/ 0 w 221"/>
                  <a:gd name="T31" fmla="*/ 58 h 450"/>
                  <a:gd name="T32" fmla="*/ 0 w 221"/>
                  <a:gd name="T33" fmla="*/ 196 h 450"/>
                  <a:gd name="T34" fmla="*/ 35 w 221"/>
                  <a:gd name="T35" fmla="*/ 196 h 450"/>
                  <a:gd name="T36" fmla="*/ 35 w 221"/>
                  <a:gd name="T37" fmla="*/ 62 h 450"/>
                  <a:gd name="T38" fmla="*/ 52 w 221"/>
                  <a:gd name="T39" fmla="*/ 62 h 450"/>
                  <a:gd name="T40" fmla="*/ 52 w 221"/>
                  <a:gd name="T41" fmla="*/ 42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1" h="450">
                    <a:moveTo>
                      <a:pt x="52" y="425"/>
                    </a:moveTo>
                    <a:cubicBezTo>
                      <a:pt x="52" y="439"/>
                      <a:pt x="63" y="450"/>
                      <a:pt x="77" y="450"/>
                    </a:cubicBezTo>
                    <a:cubicBezTo>
                      <a:pt x="91" y="450"/>
                      <a:pt x="102" y="439"/>
                      <a:pt x="102" y="425"/>
                    </a:cubicBezTo>
                    <a:cubicBezTo>
                      <a:pt x="102" y="214"/>
                      <a:pt x="102" y="214"/>
                      <a:pt x="102" y="214"/>
                    </a:cubicBezTo>
                    <a:cubicBezTo>
                      <a:pt x="119" y="214"/>
                      <a:pt x="119" y="214"/>
                      <a:pt x="119" y="214"/>
                    </a:cubicBezTo>
                    <a:cubicBezTo>
                      <a:pt x="119" y="425"/>
                      <a:pt x="119" y="425"/>
                      <a:pt x="119" y="425"/>
                    </a:cubicBezTo>
                    <a:cubicBezTo>
                      <a:pt x="119" y="439"/>
                      <a:pt x="130" y="450"/>
                      <a:pt x="144" y="450"/>
                    </a:cubicBezTo>
                    <a:cubicBezTo>
                      <a:pt x="158" y="450"/>
                      <a:pt x="169" y="439"/>
                      <a:pt x="169" y="425"/>
                    </a:cubicBezTo>
                    <a:cubicBezTo>
                      <a:pt x="169" y="62"/>
                      <a:pt x="169" y="62"/>
                      <a:pt x="169" y="62"/>
                    </a:cubicBezTo>
                    <a:cubicBezTo>
                      <a:pt x="186" y="62"/>
                      <a:pt x="186" y="62"/>
                      <a:pt x="186" y="62"/>
                    </a:cubicBezTo>
                    <a:cubicBezTo>
                      <a:pt x="186" y="196"/>
                      <a:pt x="186" y="196"/>
                      <a:pt x="186" y="196"/>
                    </a:cubicBezTo>
                    <a:cubicBezTo>
                      <a:pt x="186" y="222"/>
                      <a:pt x="221" y="222"/>
                      <a:pt x="221" y="196"/>
                    </a:cubicBezTo>
                    <a:cubicBezTo>
                      <a:pt x="221" y="59"/>
                      <a:pt x="221" y="59"/>
                      <a:pt x="221" y="59"/>
                    </a:cubicBezTo>
                    <a:cubicBezTo>
                      <a:pt x="221" y="29"/>
                      <a:pt x="198" y="0"/>
                      <a:pt x="163" y="0"/>
                    </a:cubicBezTo>
                    <a:cubicBezTo>
                      <a:pt x="57" y="0"/>
                      <a:pt x="57" y="0"/>
                      <a:pt x="57" y="0"/>
                    </a:cubicBezTo>
                    <a:cubicBezTo>
                      <a:pt x="25" y="0"/>
                      <a:pt x="0" y="26"/>
                      <a:pt x="0" y="58"/>
                    </a:cubicBezTo>
                    <a:cubicBezTo>
                      <a:pt x="0" y="196"/>
                      <a:pt x="0" y="196"/>
                      <a:pt x="0" y="196"/>
                    </a:cubicBezTo>
                    <a:cubicBezTo>
                      <a:pt x="0" y="222"/>
                      <a:pt x="35" y="222"/>
                      <a:pt x="35" y="196"/>
                    </a:cubicBezTo>
                    <a:cubicBezTo>
                      <a:pt x="35" y="62"/>
                      <a:pt x="35" y="62"/>
                      <a:pt x="35" y="62"/>
                    </a:cubicBezTo>
                    <a:cubicBezTo>
                      <a:pt x="52" y="62"/>
                      <a:pt x="52" y="62"/>
                      <a:pt x="52" y="62"/>
                    </a:cubicBezTo>
                    <a:lnTo>
                      <a:pt x="52" y="425"/>
                    </a:lnTo>
                    <a:close/>
                  </a:path>
                </a:pathLst>
              </a:cu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p>
            </p:txBody>
          </p:sp>
          <p:sp>
            <p:nvSpPr>
              <p:cNvPr id="161" name="Oval 3736"/>
              <p:cNvSpPr>
                <a:spLocks noChangeArrowheads="1"/>
              </p:cNvSpPr>
              <p:nvPr/>
            </p:nvSpPr>
            <p:spPr bwMode="auto">
              <a:xfrm>
                <a:off x="1834258" y="206374"/>
                <a:ext cx="333375" cy="336550"/>
              </a:xfrm>
              <a:prstGeom prst="ellipse">
                <a:avLst/>
              </a:pr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p>
            </p:txBody>
          </p:sp>
        </p:grpSp>
      </p:grpSp>
    </p:spTree>
    <p:extLst>
      <p:ext uri="{BB962C8B-B14F-4D97-AF65-F5344CB8AC3E}">
        <p14:creationId xmlns:p14="http://schemas.microsoft.com/office/powerpoint/2010/main" val="5907644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1"/>
          </p:nvPr>
        </p:nvSpPr>
        <p:spPr/>
        <p:txBody>
          <a:bodyPr/>
          <a:lstStyle/>
          <a:p>
            <a:r>
              <a:rPr lang="en-GB" dirty="0" smtClean="0"/>
              <a:t>USEF describes the market for flexibility and provides access to</a:t>
            </a:r>
            <a:endParaRPr lang="en-GB" dirty="0"/>
          </a:p>
        </p:txBody>
      </p:sp>
      <p:cxnSp>
        <p:nvCxnSpPr>
          <p:cNvPr id="4" name="Straight Connector 3"/>
          <p:cNvCxnSpPr/>
          <p:nvPr/>
        </p:nvCxnSpPr>
        <p:spPr>
          <a:xfrm>
            <a:off x="-129159" y="1854573"/>
            <a:ext cx="567267"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6649941" y="2365935"/>
            <a:ext cx="1968797" cy="1599647"/>
          </a:xfrm>
          <a:prstGeom prst="rect">
            <a:avLst/>
          </a:prstGeom>
          <a:blipFill>
            <a:blip r:embed="rId3"/>
            <a:srcRect/>
            <a:stretch>
              <a:fillRect l="-18164" r="-38280"/>
            </a:stretch>
          </a:bli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7904" tIns="38952" rIns="77904" bIns="38952" numCol="1" spcCol="0" rtlCol="0" fromWordArt="0" anchor="ctr" anchorCtr="0" forceAA="0" compatLnSpc="1">
            <a:prstTxWarp prst="textNoShape">
              <a:avLst/>
            </a:prstTxWarp>
            <a:noAutofit/>
          </a:bodyPr>
          <a:lstStyle/>
          <a:p>
            <a:pPr algn="ctr"/>
            <a:endParaRPr lang="en-GB" dirty="0">
              <a:solidFill>
                <a:prstClr val="white"/>
              </a:solidFill>
              <a:latin typeface="Calibri" pitchFamily="34" charset="0"/>
            </a:endParaRPr>
          </a:p>
        </p:txBody>
      </p:sp>
      <p:sp>
        <p:nvSpPr>
          <p:cNvPr id="16" name="Rechthoek 10"/>
          <p:cNvSpPr>
            <a:spLocks noChangeAspect="1"/>
          </p:cNvSpPr>
          <p:nvPr/>
        </p:nvSpPr>
        <p:spPr>
          <a:xfrm>
            <a:off x="3444331" y="2059573"/>
            <a:ext cx="2117576" cy="172053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77904" tIns="38952" rIns="77904" bIns="38952" rtlCol="0" anchor="ctr"/>
          <a:lstStyle/>
          <a:p>
            <a:pPr algn="ctr"/>
            <a:r>
              <a:rPr lang="en-GB" dirty="0">
                <a:solidFill>
                  <a:prstClr val="white"/>
                </a:solidFill>
                <a:latin typeface="Calibri" pitchFamily="34" charset="0"/>
              </a:rPr>
              <a:t>A reference implementation to accelerate large scale deployments</a:t>
            </a:r>
          </a:p>
        </p:txBody>
      </p:sp>
      <p:grpSp>
        <p:nvGrpSpPr>
          <p:cNvPr id="24" name="Group 23"/>
          <p:cNvGrpSpPr/>
          <p:nvPr/>
        </p:nvGrpSpPr>
        <p:grpSpPr>
          <a:xfrm>
            <a:off x="1604673" y="2828408"/>
            <a:ext cx="1909726" cy="541299"/>
            <a:chOff x="1604671" y="2566099"/>
            <a:chExt cx="1909726" cy="541299"/>
          </a:xfrm>
        </p:grpSpPr>
        <p:grpSp>
          <p:nvGrpSpPr>
            <p:cNvPr id="11" name="Group 10"/>
            <p:cNvGrpSpPr/>
            <p:nvPr/>
          </p:nvGrpSpPr>
          <p:grpSpPr>
            <a:xfrm rot="10800000">
              <a:off x="1604671" y="2566099"/>
              <a:ext cx="1800000" cy="469297"/>
              <a:chOff x="3751367" y="1225570"/>
              <a:chExt cx="1950000" cy="625728"/>
            </a:xfrm>
          </p:grpSpPr>
          <p:cxnSp>
            <p:nvCxnSpPr>
              <p:cNvPr id="12" name="Straight Connector 11"/>
              <p:cNvCxnSpPr/>
              <p:nvPr/>
            </p:nvCxnSpPr>
            <p:spPr>
              <a:xfrm flipV="1">
                <a:off x="5701367" y="1227299"/>
                <a:ext cx="0" cy="623999"/>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a:endCxn id="19" idx="3"/>
              </p:cNvCxnSpPr>
              <p:nvPr/>
            </p:nvCxnSpPr>
            <p:spPr>
              <a:xfrm rot="10800000">
                <a:off x="3751367" y="1225570"/>
                <a:ext cx="1950000" cy="1729"/>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19" name="Rectangle 18"/>
            <p:cNvSpPr/>
            <p:nvPr/>
          </p:nvSpPr>
          <p:spPr>
            <a:xfrm>
              <a:off x="3370397" y="2963398"/>
              <a:ext cx="144000" cy="14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dirty="0">
                <a:solidFill>
                  <a:prstClr val="white"/>
                </a:solidFill>
                <a:latin typeface="Calibri" pitchFamily="34" charset="0"/>
              </a:endParaRPr>
            </a:p>
          </p:txBody>
        </p:sp>
      </p:grpSp>
      <p:sp>
        <p:nvSpPr>
          <p:cNvPr id="20" name="Rechthoek 10"/>
          <p:cNvSpPr>
            <a:spLocks noChangeAspect="1"/>
          </p:cNvSpPr>
          <p:nvPr/>
        </p:nvSpPr>
        <p:spPr>
          <a:xfrm>
            <a:off x="438106" y="963237"/>
            <a:ext cx="2333130" cy="189566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904" tIns="38952" rIns="77904" bIns="38952" rtlCol="0" anchor="ctr"/>
          <a:lstStyle/>
          <a:p>
            <a:pPr algn="ctr"/>
            <a:r>
              <a:rPr lang="en-GB" dirty="0">
                <a:solidFill>
                  <a:prstClr val="white"/>
                </a:solidFill>
                <a:latin typeface="Calibri" pitchFamily="34" charset="0"/>
              </a:rPr>
              <a:t>A set of specifications, designs and implementation </a:t>
            </a:r>
            <a:r>
              <a:rPr lang="en-GB" dirty="0" smtClean="0">
                <a:solidFill>
                  <a:prstClr val="white"/>
                </a:solidFill>
                <a:latin typeface="Calibri" pitchFamily="34" charset="0"/>
              </a:rPr>
              <a:t>guidelines</a:t>
            </a:r>
            <a:endParaRPr lang="en-GB" sz="1600" dirty="0">
              <a:solidFill>
                <a:prstClr val="white"/>
              </a:solidFill>
              <a:latin typeface="Calibri" pitchFamily="34" charset="0"/>
            </a:endParaRPr>
          </a:p>
        </p:txBody>
      </p:sp>
      <p:grpSp>
        <p:nvGrpSpPr>
          <p:cNvPr id="25" name="Group 24"/>
          <p:cNvGrpSpPr/>
          <p:nvPr/>
        </p:nvGrpSpPr>
        <p:grpSpPr>
          <a:xfrm>
            <a:off x="4780099" y="1287072"/>
            <a:ext cx="1345476" cy="846785"/>
            <a:chOff x="4780098" y="1024756"/>
            <a:chExt cx="1345476" cy="846785"/>
          </a:xfrm>
        </p:grpSpPr>
        <p:grpSp>
          <p:nvGrpSpPr>
            <p:cNvPr id="8" name="Group 7"/>
            <p:cNvGrpSpPr/>
            <p:nvPr/>
          </p:nvGrpSpPr>
          <p:grpSpPr>
            <a:xfrm>
              <a:off x="4857319" y="1024756"/>
              <a:ext cx="1268255" cy="789935"/>
              <a:chOff x="5447624" y="1454770"/>
              <a:chExt cx="1373943" cy="1053247"/>
            </a:xfrm>
          </p:grpSpPr>
          <p:sp>
            <p:nvSpPr>
              <p:cNvPr id="9" name="Freeform 8"/>
              <p:cNvSpPr/>
              <p:nvPr/>
            </p:nvSpPr>
            <p:spPr>
              <a:xfrm flipH="1">
                <a:off x="5447624" y="1454770"/>
                <a:ext cx="710942" cy="1053247"/>
              </a:xfrm>
              <a:custGeom>
                <a:avLst/>
                <a:gdLst>
                  <a:gd name="connsiteX0" fmla="*/ 0 w 251927"/>
                  <a:gd name="connsiteY0" fmla="*/ 0 h 373225"/>
                  <a:gd name="connsiteX1" fmla="*/ 0 w 251927"/>
                  <a:gd name="connsiteY1" fmla="*/ 298580 h 373225"/>
                  <a:gd name="connsiteX2" fmla="*/ 251927 w 251927"/>
                  <a:gd name="connsiteY2" fmla="*/ 298580 h 373225"/>
                  <a:gd name="connsiteX3" fmla="*/ 251927 w 251927"/>
                  <a:gd name="connsiteY3" fmla="*/ 373225 h 373225"/>
                </a:gdLst>
                <a:ahLst/>
                <a:cxnLst>
                  <a:cxn ang="0">
                    <a:pos x="connsiteX0" y="connsiteY0"/>
                  </a:cxn>
                  <a:cxn ang="0">
                    <a:pos x="connsiteX1" y="connsiteY1"/>
                  </a:cxn>
                  <a:cxn ang="0">
                    <a:pos x="connsiteX2" y="connsiteY2"/>
                  </a:cxn>
                  <a:cxn ang="0">
                    <a:pos x="connsiteX3" y="connsiteY3"/>
                  </a:cxn>
                </a:cxnLst>
                <a:rect l="l" t="t" r="r" b="b"/>
                <a:pathLst>
                  <a:path w="251927" h="373225">
                    <a:moveTo>
                      <a:pt x="0" y="0"/>
                    </a:moveTo>
                    <a:lnTo>
                      <a:pt x="0" y="298580"/>
                    </a:lnTo>
                    <a:lnTo>
                      <a:pt x="251927" y="298580"/>
                    </a:lnTo>
                    <a:lnTo>
                      <a:pt x="251927" y="373225"/>
                    </a:lnTo>
                  </a:path>
                </a:pathLst>
              </a:custGeom>
              <a:no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0099C6"/>
                  </a:solidFill>
                  <a:latin typeface="Calibri" pitchFamily="34" charset="0"/>
                </a:endParaRPr>
              </a:p>
            </p:txBody>
          </p:sp>
          <p:cxnSp>
            <p:nvCxnSpPr>
              <p:cNvPr id="10" name="Straight Connector 9"/>
              <p:cNvCxnSpPr/>
              <p:nvPr/>
            </p:nvCxnSpPr>
            <p:spPr>
              <a:xfrm flipH="1">
                <a:off x="6158567" y="1454770"/>
                <a:ext cx="663000"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1" name="Rechthoek 11"/>
            <p:cNvSpPr>
              <a:spLocks/>
            </p:cNvSpPr>
            <p:nvPr/>
          </p:nvSpPr>
          <p:spPr>
            <a:xfrm>
              <a:off x="4780098" y="1727541"/>
              <a:ext cx="144000" cy="14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dirty="0">
                <a:solidFill>
                  <a:prstClr val="white"/>
                </a:solidFill>
                <a:latin typeface="Calibri" pitchFamily="34" charset="0"/>
              </a:endParaRPr>
            </a:p>
          </p:txBody>
        </p:sp>
      </p:grpSp>
      <p:grpSp>
        <p:nvGrpSpPr>
          <p:cNvPr id="26" name="Group 25"/>
          <p:cNvGrpSpPr/>
          <p:nvPr/>
        </p:nvGrpSpPr>
        <p:grpSpPr>
          <a:xfrm>
            <a:off x="7597059" y="1845558"/>
            <a:ext cx="405539" cy="620467"/>
            <a:chOff x="7597052" y="1583242"/>
            <a:chExt cx="405539" cy="620467"/>
          </a:xfrm>
        </p:grpSpPr>
        <p:cxnSp>
          <p:nvCxnSpPr>
            <p:cNvPr id="6" name="Straight Connector 5"/>
            <p:cNvCxnSpPr/>
            <p:nvPr/>
          </p:nvCxnSpPr>
          <p:spPr>
            <a:xfrm flipV="1">
              <a:off x="7935812" y="1583242"/>
              <a:ext cx="0" cy="574124"/>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H="1">
              <a:off x="7597052" y="1583242"/>
              <a:ext cx="328129"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Rechthoek 11"/>
            <p:cNvSpPr>
              <a:spLocks/>
            </p:cNvSpPr>
            <p:nvPr/>
          </p:nvSpPr>
          <p:spPr>
            <a:xfrm>
              <a:off x="7858591" y="2059709"/>
              <a:ext cx="144000" cy="14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dirty="0">
                <a:solidFill>
                  <a:prstClr val="white"/>
                </a:solidFill>
                <a:latin typeface="Calibri" pitchFamily="34" charset="0"/>
              </a:endParaRPr>
            </a:p>
          </p:txBody>
        </p:sp>
      </p:grpSp>
      <p:grpSp>
        <p:nvGrpSpPr>
          <p:cNvPr id="27" name="Group 26"/>
          <p:cNvGrpSpPr/>
          <p:nvPr/>
        </p:nvGrpSpPr>
        <p:grpSpPr>
          <a:xfrm>
            <a:off x="8530878" y="3093751"/>
            <a:ext cx="613125" cy="144000"/>
            <a:chOff x="8530876" y="2831442"/>
            <a:chExt cx="613125" cy="144000"/>
          </a:xfrm>
        </p:grpSpPr>
        <p:cxnSp>
          <p:nvCxnSpPr>
            <p:cNvPr id="5" name="Straight Connector 4"/>
            <p:cNvCxnSpPr/>
            <p:nvPr/>
          </p:nvCxnSpPr>
          <p:spPr>
            <a:xfrm>
              <a:off x="8576734" y="2903442"/>
              <a:ext cx="567267"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Rechthoek 11"/>
            <p:cNvSpPr>
              <a:spLocks/>
            </p:cNvSpPr>
            <p:nvPr/>
          </p:nvSpPr>
          <p:spPr>
            <a:xfrm>
              <a:off x="8530876" y="2831442"/>
              <a:ext cx="144000" cy="14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dirty="0">
                <a:solidFill>
                  <a:prstClr val="white"/>
                </a:solidFill>
                <a:latin typeface="Calibri" pitchFamily="34" charset="0"/>
              </a:endParaRPr>
            </a:p>
          </p:txBody>
        </p:sp>
      </p:grpSp>
      <p:sp>
        <p:nvSpPr>
          <p:cNvPr id="17" name="Rechthoek 10"/>
          <p:cNvSpPr>
            <a:spLocks noChangeAspect="1"/>
          </p:cNvSpPr>
          <p:nvPr/>
        </p:nvSpPr>
        <p:spPr>
          <a:xfrm>
            <a:off x="6128746" y="945911"/>
            <a:ext cx="1505588" cy="122329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904" tIns="38952" rIns="77904" bIns="38952" rtlCol="0" anchor="ctr"/>
          <a:lstStyle/>
          <a:p>
            <a:pPr algn="ctr"/>
            <a:r>
              <a:rPr lang="en-GB" dirty="0" smtClean="0">
                <a:solidFill>
                  <a:prstClr val="white"/>
                </a:solidFill>
                <a:latin typeface="Calibri" pitchFamily="34" charset="0"/>
              </a:rPr>
              <a:t>Pilot results &amp; insights</a:t>
            </a:r>
            <a:endParaRPr lang="en-GB" dirty="0">
              <a:solidFill>
                <a:prstClr val="white"/>
              </a:solidFill>
              <a:latin typeface="Calibri" pitchFamily="34" charset="0"/>
            </a:endParaRPr>
          </a:p>
        </p:txBody>
      </p:sp>
    </p:spTree>
    <p:extLst>
      <p:ext uri="{BB962C8B-B14F-4D97-AF65-F5344CB8AC3E}">
        <p14:creationId xmlns:p14="http://schemas.microsoft.com/office/powerpoint/2010/main" val="342738078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1913" y="371248"/>
            <a:ext cx="8286750" cy="486075"/>
          </a:xfrm>
        </p:spPr>
        <p:txBody>
          <a:bodyPr/>
          <a:lstStyle/>
          <a:p>
            <a:r>
              <a:rPr lang="en-GB" dirty="0">
                <a:solidFill>
                  <a:schemeClr val="accent1"/>
                </a:solidFill>
              </a:rPr>
              <a:t>Our </a:t>
            </a:r>
            <a:r>
              <a:rPr lang="en-GB" dirty="0" smtClean="0">
                <a:solidFill>
                  <a:schemeClr val="accent1"/>
                </a:solidFill>
              </a:rPr>
              <a:t>solution</a:t>
            </a:r>
            <a:endParaRPr lang="en-GB" dirty="0">
              <a:solidFill>
                <a:schemeClr val="accent1"/>
              </a:solidFill>
            </a:endParaRPr>
          </a:p>
        </p:txBody>
      </p:sp>
      <p:grpSp>
        <p:nvGrpSpPr>
          <p:cNvPr id="56" name="Group 55"/>
          <p:cNvGrpSpPr/>
          <p:nvPr/>
        </p:nvGrpSpPr>
        <p:grpSpPr>
          <a:xfrm>
            <a:off x="8351838" y="989763"/>
            <a:ext cx="542626" cy="542626"/>
            <a:chOff x="8351838" y="989762"/>
            <a:chExt cx="542626" cy="542626"/>
          </a:xfrm>
        </p:grpSpPr>
        <p:sp>
          <p:nvSpPr>
            <p:cNvPr id="26" name="Rechthoek 10"/>
            <p:cNvSpPr>
              <a:spLocks noChangeAspect="1"/>
            </p:cNvSpPr>
            <p:nvPr/>
          </p:nvSpPr>
          <p:spPr>
            <a:xfrm>
              <a:off x="8351838" y="989762"/>
              <a:ext cx="542626" cy="54262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nvGrpSpPr>
            <p:cNvPr id="57" name="Group 56"/>
            <p:cNvGrpSpPr/>
            <p:nvPr/>
          </p:nvGrpSpPr>
          <p:grpSpPr>
            <a:xfrm>
              <a:off x="8402549" y="1055129"/>
              <a:ext cx="441344" cy="434388"/>
              <a:chOff x="-3841750" y="174625"/>
              <a:chExt cx="3625850" cy="3568700"/>
            </a:xfrm>
            <a:solidFill>
              <a:schemeClr val="bg1"/>
            </a:solidFill>
          </p:grpSpPr>
          <p:sp>
            <p:nvSpPr>
              <p:cNvPr id="58" name="Rectangle 26"/>
              <p:cNvSpPr>
                <a:spLocks noChangeArrowheads="1"/>
              </p:cNvSpPr>
              <p:nvPr/>
            </p:nvSpPr>
            <p:spPr bwMode="auto">
              <a:xfrm>
                <a:off x="-2855913" y="174625"/>
                <a:ext cx="109538" cy="349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27"/>
              <p:cNvSpPr>
                <a:spLocks/>
              </p:cNvSpPr>
              <p:nvPr/>
            </p:nvSpPr>
            <p:spPr bwMode="auto">
              <a:xfrm>
                <a:off x="-3406775" y="609600"/>
                <a:ext cx="1214438" cy="1211263"/>
              </a:xfrm>
              <a:custGeom>
                <a:avLst/>
                <a:gdLst>
                  <a:gd name="T0" fmla="*/ 266 w 324"/>
                  <a:gd name="T1" fmla="*/ 57 h 323"/>
                  <a:gd name="T2" fmla="*/ 266 w 324"/>
                  <a:gd name="T3" fmla="*/ 266 h 323"/>
                  <a:gd name="T4" fmla="*/ 58 w 324"/>
                  <a:gd name="T5" fmla="*/ 266 h 323"/>
                  <a:gd name="T6" fmla="*/ 58 w 324"/>
                  <a:gd name="T7" fmla="*/ 57 h 323"/>
                  <a:gd name="T8" fmla="*/ 266 w 324"/>
                  <a:gd name="T9" fmla="*/ 57 h 323"/>
                </a:gdLst>
                <a:ahLst/>
                <a:cxnLst>
                  <a:cxn ang="0">
                    <a:pos x="T0" y="T1"/>
                  </a:cxn>
                  <a:cxn ang="0">
                    <a:pos x="T2" y="T3"/>
                  </a:cxn>
                  <a:cxn ang="0">
                    <a:pos x="T4" y="T5"/>
                  </a:cxn>
                  <a:cxn ang="0">
                    <a:pos x="T6" y="T7"/>
                  </a:cxn>
                  <a:cxn ang="0">
                    <a:pos x="T8" y="T9"/>
                  </a:cxn>
                </a:cxnLst>
                <a:rect l="0" t="0" r="r" b="b"/>
                <a:pathLst>
                  <a:path w="324" h="323">
                    <a:moveTo>
                      <a:pt x="266" y="57"/>
                    </a:moveTo>
                    <a:cubicBezTo>
                      <a:pt x="324" y="115"/>
                      <a:pt x="324" y="208"/>
                      <a:pt x="266" y="266"/>
                    </a:cubicBezTo>
                    <a:cubicBezTo>
                      <a:pt x="209" y="323"/>
                      <a:pt x="115" y="323"/>
                      <a:pt x="58" y="266"/>
                    </a:cubicBezTo>
                    <a:cubicBezTo>
                      <a:pt x="0" y="208"/>
                      <a:pt x="0" y="115"/>
                      <a:pt x="58" y="57"/>
                    </a:cubicBezTo>
                    <a:cubicBezTo>
                      <a:pt x="115" y="0"/>
                      <a:pt x="209" y="0"/>
                      <a:pt x="266" y="5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28"/>
              <p:cNvSpPr>
                <a:spLocks/>
              </p:cNvSpPr>
              <p:nvPr/>
            </p:nvSpPr>
            <p:spPr bwMode="auto">
              <a:xfrm>
                <a:off x="-3576638" y="441325"/>
                <a:ext cx="323850" cy="322263"/>
              </a:xfrm>
              <a:custGeom>
                <a:avLst/>
                <a:gdLst>
                  <a:gd name="T0" fmla="*/ 156 w 204"/>
                  <a:gd name="T1" fmla="*/ 203 h 203"/>
                  <a:gd name="T2" fmla="*/ 0 w 204"/>
                  <a:gd name="T3" fmla="*/ 47 h 203"/>
                  <a:gd name="T4" fmla="*/ 48 w 204"/>
                  <a:gd name="T5" fmla="*/ 0 h 203"/>
                  <a:gd name="T6" fmla="*/ 204 w 204"/>
                  <a:gd name="T7" fmla="*/ 153 h 203"/>
                  <a:gd name="T8" fmla="*/ 156 w 204"/>
                  <a:gd name="T9" fmla="*/ 203 h 203"/>
                </a:gdLst>
                <a:ahLst/>
                <a:cxnLst>
                  <a:cxn ang="0">
                    <a:pos x="T0" y="T1"/>
                  </a:cxn>
                  <a:cxn ang="0">
                    <a:pos x="T2" y="T3"/>
                  </a:cxn>
                  <a:cxn ang="0">
                    <a:pos x="T4" y="T5"/>
                  </a:cxn>
                  <a:cxn ang="0">
                    <a:pos x="T6" y="T7"/>
                  </a:cxn>
                  <a:cxn ang="0">
                    <a:pos x="T8" y="T9"/>
                  </a:cxn>
                </a:cxnLst>
                <a:rect l="0" t="0" r="r" b="b"/>
                <a:pathLst>
                  <a:path w="204" h="203">
                    <a:moveTo>
                      <a:pt x="156" y="203"/>
                    </a:moveTo>
                    <a:lnTo>
                      <a:pt x="0" y="47"/>
                    </a:lnTo>
                    <a:lnTo>
                      <a:pt x="48" y="0"/>
                    </a:lnTo>
                    <a:lnTo>
                      <a:pt x="204" y="153"/>
                    </a:lnTo>
                    <a:lnTo>
                      <a:pt x="156"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29"/>
              <p:cNvSpPr>
                <a:spLocks/>
              </p:cNvSpPr>
              <p:nvPr/>
            </p:nvSpPr>
            <p:spPr bwMode="auto">
              <a:xfrm>
                <a:off x="-2349500" y="1663700"/>
                <a:ext cx="322263" cy="322263"/>
              </a:xfrm>
              <a:custGeom>
                <a:avLst/>
                <a:gdLst>
                  <a:gd name="T0" fmla="*/ 156 w 203"/>
                  <a:gd name="T1" fmla="*/ 203 h 203"/>
                  <a:gd name="T2" fmla="*/ 0 w 203"/>
                  <a:gd name="T3" fmla="*/ 47 h 203"/>
                  <a:gd name="T4" fmla="*/ 47 w 203"/>
                  <a:gd name="T5" fmla="*/ 0 h 203"/>
                  <a:gd name="T6" fmla="*/ 203 w 203"/>
                  <a:gd name="T7" fmla="*/ 155 h 203"/>
                  <a:gd name="T8" fmla="*/ 156 w 203"/>
                  <a:gd name="T9" fmla="*/ 203 h 203"/>
                </a:gdLst>
                <a:ahLst/>
                <a:cxnLst>
                  <a:cxn ang="0">
                    <a:pos x="T0" y="T1"/>
                  </a:cxn>
                  <a:cxn ang="0">
                    <a:pos x="T2" y="T3"/>
                  </a:cxn>
                  <a:cxn ang="0">
                    <a:pos x="T4" y="T5"/>
                  </a:cxn>
                  <a:cxn ang="0">
                    <a:pos x="T6" y="T7"/>
                  </a:cxn>
                  <a:cxn ang="0">
                    <a:pos x="T8" y="T9"/>
                  </a:cxn>
                </a:cxnLst>
                <a:rect l="0" t="0" r="r" b="b"/>
                <a:pathLst>
                  <a:path w="203" h="203">
                    <a:moveTo>
                      <a:pt x="156" y="203"/>
                    </a:moveTo>
                    <a:lnTo>
                      <a:pt x="0" y="47"/>
                    </a:lnTo>
                    <a:lnTo>
                      <a:pt x="47" y="0"/>
                    </a:lnTo>
                    <a:lnTo>
                      <a:pt x="203" y="155"/>
                    </a:lnTo>
                    <a:lnTo>
                      <a:pt x="156"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Rectangle 30"/>
              <p:cNvSpPr>
                <a:spLocks noChangeArrowheads="1"/>
              </p:cNvSpPr>
              <p:nvPr/>
            </p:nvSpPr>
            <p:spPr bwMode="auto">
              <a:xfrm>
                <a:off x="-3841750" y="1160463"/>
                <a:ext cx="347663" cy="104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Rectangle 31"/>
              <p:cNvSpPr>
                <a:spLocks noChangeArrowheads="1"/>
              </p:cNvSpPr>
              <p:nvPr/>
            </p:nvSpPr>
            <p:spPr bwMode="auto">
              <a:xfrm>
                <a:off x="-2109788" y="1160463"/>
                <a:ext cx="349250" cy="104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32"/>
              <p:cNvSpPr>
                <a:spLocks/>
              </p:cNvSpPr>
              <p:nvPr/>
            </p:nvSpPr>
            <p:spPr bwMode="auto">
              <a:xfrm>
                <a:off x="-2349500" y="441325"/>
                <a:ext cx="322263" cy="322263"/>
              </a:xfrm>
              <a:custGeom>
                <a:avLst/>
                <a:gdLst>
                  <a:gd name="T0" fmla="*/ 47 w 203"/>
                  <a:gd name="T1" fmla="*/ 203 h 203"/>
                  <a:gd name="T2" fmla="*/ 0 w 203"/>
                  <a:gd name="T3" fmla="*/ 153 h 203"/>
                  <a:gd name="T4" fmla="*/ 156 w 203"/>
                  <a:gd name="T5" fmla="*/ 0 h 203"/>
                  <a:gd name="T6" fmla="*/ 203 w 203"/>
                  <a:gd name="T7" fmla="*/ 47 h 203"/>
                  <a:gd name="T8" fmla="*/ 47 w 203"/>
                  <a:gd name="T9" fmla="*/ 203 h 203"/>
                </a:gdLst>
                <a:ahLst/>
                <a:cxnLst>
                  <a:cxn ang="0">
                    <a:pos x="T0" y="T1"/>
                  </a:cxn>
                  <a:cxn ang="0">
                    <a:pos x="T2" y="T3"/>
                  </a:cxn>
                  <a:cxn ang="0">
                    <a:pos x="T4" y="T5"/>
                  </a:cxn>
                  <a:cxn ang="0">
                    <a:pos x="T6" y="T7"/>
                  </a:cxn>
                  <a:cxn ang="0">
                    <a:pos x="T8" y="T9"/>
                  </a:cxn>
                </a:cxnLst>
                <a:rect l="0" t="0" r="r" b="b"/>
                <a:pathLst>
                  <a:path w="203" h="203">
                    <a:moveTo>
                      <a:pt x="47" y="203"/>
                    </a:moveTo>
                    <a:lnTo>
                      <a:pt x="0" y="153"/>
                    </a:lnTo>
                    <a:lnTo>
                      <a:pt x="156" y="0"/>
                    </a:lnTo>
                    <a:lnTo>
                      <a:pt x="203" y="47"/>
                    </a:lnTo>
                    <a:lnTo>
                      <a:pt x="47"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33"/>
              <p:cNvSpPr>
                <a:spLocks/>
              </p:cNvSpPr>
              <p:nvPr/>
            </p:nvSpPr>
            <p:spPr bwMode="auto">
              <a:xfrm>
                <a:off x="-3576638" y="1663700"/>
                <a:ext cx="323850" cy="322263"/>
              </a:xfrm>
              <a:custGeom>
                <a:avLst/>
                <a:gdLst>
                  <a:gd name="T0" fmla="*/ 48 w 204"/>
                  <a:gd name="T1" fmla="*/ 203 h 203"/>
                  <a:gd name="T2" fmla="*/ 0 w 204"/>
                  <a:gd name="T3" fmla="*/ 155 h 203"/>
                  <a:gd name="T4" fmla="*/ 156 w 204"/>
                  <a:gd name="T5" fmla="*/ 0 h 203"/>
                  <a:gd name="T6" fmla="*/ 204 w 204"/>
                  <a:gd name="T7" fmla="*/ 47 h 203"/>
                  <a:gd name="T8" fmla="*/ 48 w 204"/>
                  <a:gd name="T9" fmla="*/ 203 h 203"/>
                </a:gdLst>
                <a:ahLst/>
                <a:cxnLst>
                  <a:cxn ang="0">
                    <a:pos x="T0" y="T1"/>
                  </a:cxn>
                  <a:cxn ang="0">
                    <a:pos x="T2" y="T3"/>
                  </a:cxn>
                  <a:cxn ang="0">
                    <a:pos x="T4" y="T5"/>
                  </a:cxn>
                  <a:cxn ang="0">
                    <a:pos x="T6" y="T7"/>
                  </a:cxn>
                  <a:cxn ang="0">
                    <a:pos x="T8" y="T9"/>
                  </a:cxn>
                </a:cxnLst>
                <a:rect l="0" t="0" r="r" b="b"/>
                <a:pathLst>
                  <a:path w="204" h="203">
                    <a:moveTo>
                      <a:pt x="48" y="203"/>
                    </a:moveTo>
                    <a:lnTo>
                      <a:pt x="0" y="155"/>
                    </a:lnTo>
                    <a:lnTo>
                      <a:pt x="156" y="0"/>
                    </a:lnTo>
                    <a:lnTo>
                      <a:pt x="204" y="47"/>
                    </a:lnTo>
                    <a:lnTo>
                      <a:pt x="48"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Rectangle 34"/>
              <p:cNvSpPr>
                <a:spLocks noChangeArrowheads="1"/>
              </p:cNvSpPr>
              <p:nvPr/>
            </p:nvSpPr>
            <p:spPr bwMode="auto">
              <a:xfrm>
                <a:off x="-2855913" y="1903413"/>
                <a:ext cx="109538" cy="347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Rectangle 35"/>
              <p:cNvSpPr>
                <a:spLocks noChangeArrowheads="1"/>
              </p:cNvSpPr>
              <p:nvPr/>
            </p:nvSpPr>
            <p:spPr bwMode="auto">
              <a:xfrm>
                <a:off x="-1854200" y="3263900"/>
                <a:ext cx="280988" cy="479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36"/>
              <p:cNvSpPr>
                <a:spLocks/>
              </p:cNvSpPr>
              <p:nvPr/>
            </p:nvSpPr>
            <p:spPr bwMode="auto">
              <a:xfrm>
                <a:off x="-1595438" y="2690813"/>
                <a:ext cx="952500" cy="460375"/>
              </a:xfrm>
              <a:custGeom>
                <a:avLst/>
                <a:gdLst>
                  <a:gd name="T0" fmla="*/ 375 w 600"/>
                  <a:gd name="T1" fmla="*/ 290 h 290"/>
                  <a:gd name="T2" fmla="*/ 0 w 600"/>
                  <a:gd name="T3" fmla="*/ 290 h 290"/>
                  <a:gd name="T4" fmla="*/ 226 w 600"/>
                  <a:gd name="T5" fmla="*/ 0 h 290"/>
                  <a:gd name="T6" fmla="*/ 600 w 600"/>
                  <a:gd name="T7" fmla="*/ 0 h 290"/>
                  <a:gd name="T8" fmla="*/ 375 w 600"/>
                  <a:gd name="T9" fmla="*/ 290 h 290"/>
                </a:gdLst>
                <a:ahLst/>
                <a:cxnLst>
                  <a:cxn ang="0">
                    <a:pos x="T0" y="T1"/>
                  </a:cxn>
                  <a:cxn ang="0">
                    <a:pos x="T2" y="T3"/>
                  </a:cxn>
                  <a:cxn ang="0">
                    <a:pos x="T4" y="T5"/>
                  </a:cxn>
                  <a:cxn ang="0">
                    <a:pos x="T6" y="T7"/>
                  </a:cxn>
                  <a:cxn ang="0">
                    <a:pos x="T8" y="T9"/>
                  </a:cxn>
                </a:cxnLst>
                <a:rect l="0" t="0" r="r" b="b"/>
                <a:pathLst>
                  <a:path w="600" h="290">
                    <a:moveTo>
                      <a:pt x="375" y="290"/>
                    </a:moveTo>
                    <a:lnTo>
                      <a:pt x="0" y="290"/>
                    </a:lnTo>
                    <a:lnTo>
                      <a:pt x="226" y="0"/>
                    </a:lnTo>
                    <a:lnTo>
                      <a:pt x="600" y="0"/>
                    </a:lnTo>
                    <a:lnTo>
                      <a:pt x="37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37"/>
              <p:cNvSpPr>
                <a:spLocks/>
              </p:cNvSpPr>
              <p:nvPr/>
            </p:nvSpPr>
            <p:spPr bwMode="auto">
              <a:xfrm>
                <a:off x="-2319338" y="2690813"/>
                <a:ext cx="952500" cy="460375"/>
              </a:xfrm>
              <a:custGeom>
                <a:avLst/>
                <a:gdLst>
                  <a:gd name="T0" fmla="*/ 373 w 600"/>
                  <a:gd name="T1" fmla="*/ 290 h 290"/>
                  <a:gd name="T2" fmla="*/ 0 w 600"/>
                  <a:gd name="T3" fmla="*/ 290 h 290"/>
                  <a:gd name="T4" fmla="*/ 224 w 600"/>
                  <a:gd name="T5" fmla="*/ 0 h 290"/>
                  <a:gd name="T6" fmla="*/ 600 w 600"/>
                  <a:gd name="T7" fmla="*/ 0 h 290"/>
                  <a:gd name="T8" fmla="*/ 373 w 600"/>
                  <a:gd name="T9" fmla="*/ 290 h 290"/>
                </a:gdLst>
                <a:ahLst/>
                <a:cxnLst>
                  <a:cxn ang="0">
                    <a:pos x="T0" y="T1"/>
                  </a:cxn>
                  <a:cxn ang="0">
                    <a:pos x="T2" y="T3"/>
                  </a:cxn>
                  <a:cxn ang="0">
                    <a:pos x="T4" y="T5"/>
                  </a:cxn>
                  <a:cxn ang="0">
                    <a:pos x="T6" y="T7"/>
                  </a:cxn>
                  <a:cxn ang="0">
                    <a:pos x="T8" y="T9"/>
                  </a:cxn>
                </a:cxnLst>
                <a:rect l="0" t="0" r="r" b="b"/>
                <a:pathLst>
                  <a:path w="600" h="290">
                    <a:moveTo>
                      <a:pt x="373" y="290"/>
                    </a:moveTo>
                    <a:lnTo>
                      <a:pt x="0" y="290"/>
                    </a:lnTo>
                    <a:lnTo>
                      <a:pt x="224" y="0"/>
                    </a:lnTo>
                    <a:lnTo>
                      <a:pt x="600" y="0"/>
                    </a:lnTo>
                    <a:lnTo>
                      <a:pt x="373"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38"/>
              <p:cNvSpPr>
                <a:spLocks/>
              </p:cNvSpPr>
              <p:nvPr/>
            </p:nvSpPr>
            <p:spPr bwMode="auto">
              <a:xfrm>
                <a:off x="-3043238" y="2690813"/>
                <a:ext cx="949325" cy="460375"/>
              </a:xfrm>
              <a:custGeom>
                <a:avLst/>
                <a:gdLst>
                  <a:gd name="T0" fmla="*/ 373 w 598"/>
                  <a:gd name="T1" fmla="*/ 290 h 290"/>
                  <a:gd name="T2" fmla="*/ 0 w 598"/>
                  <a:gd name="T3" fmla="*/ 290 h 290"/>
                  <a:gd name="T4" fmla="*/ 224 w 598"/>
                  <a:gd name="T5" fmla="*/ 0 h 290"/>
                  <a:gd name="T6" fmla="*/ 598 w 598"/>
                  <a:gd name="T7" fmla="*/ 0 h 290"/>
                  <a:gd name="T8" fmla="*/ 373 w 598"/>
                  <a:gd name="T9" fmla="*/ 290 h 290"/>
                </a:gdLst>
                <a:ahLst/>
                <a:cxnLst>
                  <a:cxn ang="0">
                    <a:pos x="T0" y="T1"/>
                  </a:cxn>
                  <a:cxn ang="0">
                    <a:pos x="T2" y="T3"/>
                  </a:cxn>
                  <a:cxn ang="0">
                    <a:pos x="T4" y="T5"/>
                  </a:cxn>
                  <a:cxn ang="0">
                    <a:pos x="T6" y="T7"/>
                  </a:cxn>
                  <a:cxn ang="0">
                    <a:pos x="T8" y="T9"/>
                  </a:cxn>
                </a:cxnLst>
                <a:rect l="0" t="0" r="r" b="b"/>
                <a:pathLst>
                  <a:path w="598" h="290">
                    <a:moveTo>
                      <a:pt x="373" y="290"/>
                    </a:moveTo>
                    <a:lnTo>
                      <a:pt x="0" y="290"/>
                    </a:lnTo>
                    <a:lnTo>
                      <a:pt x="224" y="0"/>
                    </a:lnTo>
                    <a:lnTo>
                      <a:pt x="598" y="0"/>
                    </a:lnTo>
                    <a:lnTo>
                      <a:pt x="373"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39"/>
              <p:cNvSpPr>
                <a:spLocks/>
              </p:cNvSpPr>
              <p:nvPr/>
            </p:nvSpPr>
            <p:spPr bwMode="auto">
              <a:xfrm>
                <a:off x="-1168400" y="2138363"/>
                <a:ext cx="952500" cy="461963"/>
              </a:xfrm>
              <a:custGeom>
                <a:avLst/>
                <a:gdLst>
                  <a:gd name="T0" fmla="*/ 376 w 600"/>
                  <a:gd name="T1" fmla="*/ 291 h 291"/>
                  <a:gd name="T2" fmla="*/ 0 w 600"/>
                  <a:gd name="T3" fmla="*/ 291 h 291"/>
                  <a:gd name="T4" fmla="*/ 227 w 600"/>
                  <a:gd name="T5" fmla="*/ 0 h 291"/>
                  <a:gd name="T6" fmla="*/ 600 w 600"/>
                  <a:gd name="T7" fmla="*/ 0 h 291"/>
                  <a:gd name="T8" fmla="*/ 376 w 600"/>
                  <a:gd name="T9" fmla="*/ 291 h 291"/>
                </a:gdLst>
                <a:ahLst/>
                <a:cxnLst>
                  <a:cxn ang="0">
                    <a:pos x="T0" y="T1"/>
                  </a:cxn>
                  <a:cxn ang="0">
                    <a:pos x="T2" y="T3"/>
                  </a:cxn>
                  <a:cxn ang="0">
                    <a:pos x="T4" y="T5"/>
                  </a:cxn>
                  <a:cxn ang="0">
                    <a:pos x="T6" y="T7"/>
                  </a:cxn>
                  <a:cxn ang="0">
                    <a:pos x="T8" y="T9"/>
                  </a:cxn>
                </a:cxnLst>
                <a:rect l="0" t="0" r="r" b="b"/>
                <a:pathLst>
                  <a:path w="600" h="291">
                    <a:moveTo>
                      <a:pt x="376" y="291"/>
                    </a:moveTo>
                    <a:lnTo>
                      <a:pt x="0" y="291"/>
                    </a:lnTo>
                    <a:lnTo>
                      <a:pt x="227" y="0"/>
                    </a:lnTo>
                    <a:lnTo>
                      <a:pt x="600" y="0"/>
                    </a:lnTo>
                    <a:lnTo>
                      <a:pt x="376"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40"/>
              <p:cNvSpPr>
                <a:spLocks/>
              </p:cNvSpPr>
              <p:nvPr/>
            </p:nvSpPr>
            <p:spPr bwMode="auto">
              <a:xfrm>
                <a:off x="-1892300" y="2138363"/>
                <a:ext cx="952500" cy="461963"/>
              </a:xfrm>
              <a:custGeom>
                <a:avLst/>
                <a:gdLst>
                  <a:gd name="T0" fmla="*/ 373 w 600"/>
                  <a:gd name="T1" fmla="*/ 291 h 291"/>
                  <a:gd name="T2" fmla="*/ 0 w 600"/>
                  <a:gd name="T3" fmla="*/ 291 h 291"/>
                  <a:gd name="T4" fmla="*/ 225 w 600"/>
                  <a:gd name="T5" fmla="*/ 0 h 291"/>
                  <a:gd name="T6" fmla="*/ 600 w 600"/>
                  <a:gd name="T7" fmla="*/ 0 h 291"/>
                  <a:gd name="T8" fmla="*/ 373 w 600"/>
                  <a:gd name="T9" fmla="*/ 291 h 291"/>
                </a:gdLst>
                <a:ahLst/>
                <a:cxnLst>
                  <a:cxn ang="0">
                    <a:pos x="T0" y="T1"/>
                  </a:cxn>
                  <a:cxn ang="0">
                    <a:pos x="T2" y="T3"/>
                  </a:cxn>
                  <a:cxn ang="0">
                    <a:pos x="T4" y="T5"/>
                  </a:cxn>
                  <a:cxn ang="0">
                    <a:pos x="T6" y="T7"/>
                  </a:cxn>
                  <a:cxn ang="0">
                    <a:pos x="T8" y="T9"/>
                  </a:cxn>
                </a:cxnLst>
                <a:rect l="0" t="0" r="r" b="b"/>
                <a:pathLst>
                  <a:path w="600" h="291">
                    <a:moveTo>
                      <a:pt x="373" y="291"/>
                    </a:moveTo>
                    <a:lnTo>
                      <a:pt x="0" y="291"/>
                    </a:lnTo>
                    <a:lnTo>
                      <a:pt x="225" y="0"/>
                    </a:lnTo>
                    <a:lnTo>
                      <a:pt x="600" y="0"/>
                    </a:lnTo>
                    <a:lnTo>
                      <a:pt x="373"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41"/>
              <p:cNvSpPr>
                <a:spLocks/>
              </p:cNvSpPr>
              <p:nvPr/>
            </p:nvSpPr>
            <p:spPr bwMode="auto">
              <a:xfrm>
                <a:off x="-2619375" y="2138363"/>
                <a:ext cx="952500" cy="461963"/>
              </a:xfrm>
              <a:custGeom>
                <a:avLst/>
                <a:gdLst>
                  <a:gd name="T0" fmla="*/ 375 w 600"/>
                  <a:gd name="T1" fmla="*/ 291 h 291"/>
                  <a:gd name="T2" fmla="*/ 0 w 600"/>
                  <a:gd name="T3" fmla="*/ 291 h 291"/>
                  <a:gd name="T4" fmla="*/ 227 w 600"/>
                  <a:gd name="T5" fmla="*/ 0 h 291"/>
                  <a:gd name="T6" fmla="*/ 600 w 600"/>
                  <a:gd name="T7" fmla="*/ 0 h 291"/>
                  <a:gd name="T8" fmla="*/ 375 w 600"/>
                  <a:gd name="T9" fmla="*/ 291 h 291"/>
                </a:gdLst>
                <a:ahLst/>
                <a:cxnLst>
                  <a:cxn ang="0">
                    <a:pos x="T0" y="T1"/>
                  </a:cxn>
                  <a:cxn ang="0">
                    <a:pos x="T2" y="T3"/>
                  </a:cxn>
                  <a:cxn ang="0">
                    <a:pos x="T4" y="T5"/>
                  </a:cxn>
                  <a:cxn ang="0">
                    <a:pos x="T6" y="T7"/>
                  </a:cxn>
                  <a:cxn ang="0">
                    <a:pos x="T8" y="T9"/>
                  </a:cxn>
                </a:cxnLst>
                <a:rect l="0" t="0" r="r" b="b"/>
                <a:pathLst>
                  <a:path w="600" h="291">
                    <a:moveTo>
                      <a:pt x="375" y="291"/>
                    </a:moveTo>
                    <a:lnTo>
                      <a:pt x="0" y="291"/>
                    </a:lnTo>
                    <a:lnTo>
                      <a:pt x="227" y="0"/>
                    </a:lnTo>
                    <a:lnTo>
                      <a:pt x="600" y="0"/>
                    </a:lnTo>
                    <a:lnTo>
                      <a:pt x="375"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55" name="Group 54"/>
          <p:cNvGrpSpPr/>
          <p:nvPr/>
        </p:nvGrpSpPr>
        <p:grpSpPr>
          <a:xfrm>
            <a:off x="6133143" y="989763"/>
            <a:ext cx="542626" cy="542626"/>
            <a:chOff x="6133141" y="989762"/>
            <a:chExt cx="542626" cy="542626"/>
          </a:xfrm>
        </p:grpSpPr>
        <p:sp>
          <p:nvSpPr>
            <p:cNvPr id="23" name="Rechthoek 10"/>
            <p:cNvSpPr>
              <a:spLocks noChangeAspect="1"/>
            </p:cNvSpPr>
            <p:nvPr/>
          </p:nvSpPr>
          <p:spPr>
            <a:xfrm>
              <a:off x="6133141" y="989762"/>
              <a:ext cx="542626" cy="54262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nvGrpSpPr>
            <p:cNvPr id="54" name="Group 53"/>
            <p:cNvGrpSpPr/>
            <p:nvPr/>
          </p:nvGrpSpPr>
          <p:grpSpPr>
            <a:xfrm>
              <a:off x="6191251" y="1047154"/>
              <a:ext cx="433602" cy="433602"/>
              <a:chOff x="6198394" y="1047154"/>
              <a:chExt cx="433602" cy="433602"/>
            </a:xfrm>
          </p:grpSpPr>
          <p:sp>
            <p:nvSpPr>
              <p:cNvPr id="51" name="Rectangle 50"/>
              <p:cNvSpPr/>
              <p:nvPr/>
            </p:nvSpPr>
            <p:spPr>
              <a:xfrm>
                <a:off x="6198394" y="1047154"/>
                <a:ext cx="433602" cy="433602"/>
              </a:xfrm>
              <a:prstGeom prst="rect">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2" name="Rectangle 51"/>
              <p:cNvSpPr/>
              <p:nvPr/>
            </p:nvSpPr>
            <p:spPr>
              <a:xfrm>
                <a:off x="6198394" y="1263954"/>
                <a:ext cx="216801" cy="216801"/>
              </a:xfrm>
              <a:prstGeom prst="rect">
                <a:avLst/>
              </a:prstGeom>
              <a:solidFill>
                <a:schemeClr val="accent2"/>
              </a:solid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3" name="Left-Right Arrow 52"/>
              <p:cNvSpPr/>
              <p:nvPr/>
            </p:nvSpPr>
            <p:spPr>
              <a:xfrm rot="18872730">
                <a:off x="6417338" y="1136001"/>
                <a:ext cx="195258" cy="67256"/>
              </a:xfrm>
              <a:prstGeom prst="leftRight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grpSp>
        <p:nvGrpSpPr>
          <p:cNvPr id="50" name="Group 49"/>
          <p:cNvGrpSpPr/>
          <p:nvPr/>
        </p:nvGrpSpPr>
        <p:grpSpPr>
          <a:xfrm>
            <a:off x="1695750" y="989763"/>
            <a:ext cx="542626" cy="542626"/>
            <a:chOff x="1695749" y="989762"/>
            <a:chExt cx="542626" cy="542626"/>
          </a:xfrm>
        </p:grpSpPr>
        <p:sp>
          <p:nvSpPr>
            <p:cNvPr id="34" name="Rechthoek 10"/>
            <p:cNvSpPr>
              <a:spLocks noChangeAspect="1"/>
            </p:cNvSpPr>
            <p:nvPr/>
          </p:nvSpPr>
          <p:spPr>
            <a:xfrm>
              <a:off x="1695749" y="989762"/>
              <a:ext cx="542626" cy="54262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grpSp>
          <p:nvGrpSpPr>
            <p:cNvPr id="41" name="Group 40"/>
            <p:cNvGrpSpPr/>
            <p:nvPr/>
          </p:nvGrpSpPr>
          <p:grpSpPr>
            <a:xfrm>
              <a:off x="1747185" y="1041394"/>
              <a:ext cx="438917" cy="439362"/>
              <a:chOff x="69850" y="1171575"/>
              <a:chExt cx="1566863" cy="1568451"/>
            </a:xfrm>
            <a:solidFill>
              <a:schemeClr val="bg1"/>
            </a:solidFill>
            <a:effectLst/>
          </p:grpSpPr>
          <p:sp>
            <p:nvSpPr>
              <p:cNvPr id="42" name="Freeform 9"/>
              <p:cNvSpPr>
                <a:spLocks/>
              </p:cNvSpPr>
              <p:nvPr/>
            </p:nvSpPr>
            <p:spPr bwMode="auto">
              <a:xfrm>
                <a:off x="231775" y="2028825"/>
                <a:ext cx="350838" cy="525463"/>
              </a:xfrm>
              <a:custGeom>
                <a:avLst/>
                <a:gdLst>
                  <a:gd name="T0" fmla="*/ 46 w 93"/>
                  <a:gd name="T1" fmla="*/ 0 h 139"/>
                  <a:gd name="T2" fmla="*/ 0 w 93"/>
                  <a:gd name="T3" fmla="*/ 46 h 139"/>
                  <a:gd name="T4" fmla="*/ 23 w 93"/>
                  <a:gd name="T5" fmla="*/ 46 h 139"/>
                  <a:gd name="T6" fmla="*/ 23 w 93"/>
                  <a:gd name="T7" fmla="*/ 46 h 139"/>
                  <a:gd name="T8" fmla="*/ 23 w 93"/>
                  <a:gd name="T9" fmla="*/ 93 h 139"/>
                  <a:gd name="T10" fmla="*/ 69 w 93"/>
                  <a:gd name="T11" fmla="*/ 139 h 139"/>
                  <a:gd name="T12" fmla="*/ 69 w 93"/>
                  <a:gd name="T13" fmla="*/ 46 h 139"/>
                  <a:gd name="T14" fmla="*/ 69 w 93"/>
                  <a:gd name="T15" fmla="*/ 46 h 139"/>
                  <a:gd name="T16" fmla="*/ 93 w 93"/>
                  <a:gd name="T17" fmla="*/ 46 h 139"/>
                  <a:gd name="T18" fmla="*/ 46 w 93"/>
                  <a:gd name="T19"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39">
                    <a:moveTo>
                      <a:pt x="46" y="0"/>
                    </a:moveTo>
                    <a:cubicBezTo>
                      <a:pt x="0" y="46"/>
                      <a:pt x="0" y="46"/>
                      <a:pt x="0" y="46"/>
                    </a:cubicBezTo>
                    <a:cubicBezTo>
                      <a:pt x="0" y="46"/>
                      <a:pt x="8" y="46"/>
                      <a:pt x="23" y="46"/>
                    </a:cubicBezTo>
                    <a:cubicBezTo>
                      <a:pt x="23" y="46"/>
                      <a:pt x="23" y="46"/>
                      <a:pt x="23" y="46"/>
                    </a:cubicBezTo>
                    <a:cubicBezTo>
                      <a:pt x="23" y="46"/>
                      <a:pt x="23" y="69"/>
                      <a:pt x="23" y="93"/>
                    </a:cubicBezTo>
                    <a:cubicBezTo>
                      <a:pt x="23" y="137"/>
                      <a:pt x="69" y="139"/>
                      <a:pt x="69" y="139"/>
                    </a:cubicBezTo>
                    <a:cubicBezTo>
                      <a:pt x="69" y="46"/>
                      <a:pt x="69" y="46"/>
                      <a:pt x="69" y="46"/>
                    </a:cubicBezTo>
                    <a:cubicBezTo>
                      <a:pt x="69" y="46"/>
                      <a:pt x="69" y="46"/>
                      <a:pt x="69" y="46"/>
                    </a:cubicBezTo>
                    <a:cubicBezTo>
                      <a:pt x="85" y="46"/>
                      <a:pt x="93" y="46"/>
                      <a:pt x="93" y="46"/>
                    </a:cubicBez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10"/>
              <p:cNvSpPr>
                <a:spLocks/>
              </p:cNvSpPr>
              <p:nvPr/>
            </p:nvSpPr>
            <p:spPr bwMode="auto">
              <a:xfrm>
                <a:off x="69850" y="1708150"/>
                <a:ext cx="427038" cy="434975"/>
              </a:xfrm>
              <a:custGeom>
                <a:avLst/>
                <a:gdLst>
                  <a:gd name="T0" fmla="*/ 47 w 113"/>
                  <a:gd name="T1" fmla="*/ 0 h 115"/>
                  <a:gd name="T2" fmla="*/ 64 w 113"/>
                  <a:gd name="T3" fmla="*/ 17 h 115"/>
                  <a:gd name="T4" fmla="*/ 64 w 113"/>
                  <a:gd name="T5" fmla="*/ 17 h 115"/>
                  <a:gd name="T6" fmla="*/ 31 w 113"/>
                  <a:gd name="T7" fmla="*/ 49 h 115"/>
                  <a:gd name="T8" fmla="*/ 31 w 113"/>
                  <a:gd name="T9" fmla="*/ 115 h 115"/>
                  <a:gd name="T10" fmla="*/ 96 w 113"/>
                  <a:gd name="T11" fmla="*/ 49 h 115"/>
                  <a:gd name="T12" fmla="*/ 96 w 113"/>
                  <a:gd name="T13" fmla="*/ 49 h 115"/>
                  <a:gd name="T14" fmla="*/ 113 w 113"/>
                  <a:gd name="T15" fmla="*/ 66 h 115"/>
                  <a:gd name="T16" fmla="*/ 113 w 113"/>
                  <a:gd name="T17" fmla="*/ 0 h 115"/>
                  <a:gd name="T18" fmla="*/ 47 w 113"/>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5">
                    <a:moveTo>
                      <a:pt x="47" y="0"/>
                    </a:moveTo>
                    <a:cubicBezTo>
                      <a:pt x="47" y="0"/>
                      <a:pt x="53" y="6"/>
                      <a:pt x="64" y="17"/>
                    </a:cubicBezTo>
                    <a:cubicBezTo>
                      <a:pt x="64" y="17"/>
                      <a:pt x="64" y="17"/>
                      <a:pt x="64" y="17"/>
                    </a:cubicBezTo>
                    <a:cubicBezTo>
                      <a:pt x="64" y="17"/>
                      <a:pt x="47" y="33"/>
                      <a:pt x="31" y="49"/>
                    </a:cubicBezTo>
                    <a:cubicBezTo>
                      <a:pt x="0" y="80"/>
                      <a:pt x="31" y="115"/>
                      <a:pt x="31" y="115"/>
                    </a:cubicBezTo>
                    <a:cubicBezTo>
                      <a:pt x="96" y="49"/>
                      <a:pt x="96" y="49"/>
                      <a:pt x="96" y="49"/>
                    </a:cubicBezTo>
                    <a:cubicBezTo>
                      <a:pt x="96" y="49"/>
                      <a:pt x="96" y="49"/>
                      <a:pt x="96" y="49"/>
                    </a:cubicBezTo>
                    <a:cubicBezTo>
                      <a:pt x="107" y="60"/>
                      <a:pt x="113" y="66"/>
                      <a:pt x="113" y="66"/>
                    </a:cubicBezTo>
                    <a:cubicBezTo>
                      <a:pt x="113" y="0"/>
                      <a:pt x="113" y="0"/>
                      <a:pt x="113" y="0"/>
                    </a:cubicBezTo>
                    <a:cubicBezTo>
                      <a:pt x="47" y="0"/>
                      <a:pt x="47"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1"/>
              <p:cNvSpPr>
                <a:spLocks/>
              </p:cNvSpPr>
              <p:nvPr/>
            </p:nvSpPr>
            <p:spPr bwMode="auto">
              <a:xfrm>
                <a:off x="254000" y="1333500"/>
                <a:ext cx="525463" cy="352425"/>
              </a:xfrm>
              <a:custGeom>
                <a:avLst/>
                <a:gdLst>
                  <a:gd name="T0" fmla="*/ 93 w 139"/>
                  <a:gd name="T1" fmla="*/ 93 h 93"/>
                  <a:gd name="T2" fmla="*/ 139 w 139"/>
                  <a:gd name="T3" fmla="*/ 46 h 93"/>
                  <a:gd name="T4" fmla="*/ 93 w 139"/>
                  <a:gd name="T5" fmla="*/ 0 h 93"/>
                  <a:gd name="T6" fmla="*/ 93 w 139"/>
                  <a:gd name="T7" fmla="*/ 23 h 93"/>
                  <a:gd name="T8" fmla="*/ 93 w 139"/>
                  <a:gd name="T9" fmla="*/ 23 h 93"/>
                  <a:gd name="T10" fmla="*/ 47 w 139"/>
                  <a:gd name="T11" fmla="*/ 23 h 93"/>
                  <a:gd name="T12" fmla="*/ 0 w 139"/>
                  <a:gd name="T13" fmla="*/ 69 h 93"/>
                  <a:gd name="T14" fmla="*/ 93 w 139"/>
                  <a:gd name="T15" fmla="*/ 69 h 93"/>
                  <a:gd name="T16" fmla="*/ 93 w 139"/>
                  <a:gd name="T17" fmla="*/ 70 h 93"/>
                  <a:gd name="T18" fmla="*/ 93 w 139"/>
                  <a:gd name="T1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93">
                    <a:moveTo>
                      <a:pt x="93" y="93"/>
                    </a:moveTo>
                    <a:cubicBezTo>
                      <a:pt x="139" y="46"/>
                      <a:pt x="139" y="46"/>
                      <a:pt x="139" y="46"/>
                    </a:cubicBezTo>
                    <a:cubicBezTo>
                      <a:pt x="93" y="0"/>
                      <a:pt x="93" y="0"/>
                      <a:pt x="93" y="0"/>
                    </a:cubicBezTo>
                    <a:cubicBezTo>
                      <a:pt x="93" y="0"/>
                      <a:pt x="93" y="8"/>
                      <a:pt x="93" y="23"/>
                    </a:cubicBezTo>
                    <a:cubicBezTo>
                      <a:pt x="93" y="23"/>
                      <a:pt x="93" y="23"/>
                      <a:pt x="93" y="23"/>
                    </a:cubicBezTo>
                    <a:cubicBezTo>
                      <a:pt x="93" y="23"/>
                      <a:pt x="70" y="23"/>
                      <a:pt x="47" y="23"/>
                    </a:cubicBezTo>
                    <a:cubicBezTo>
                      <a:pt x="3" y="23"/>
                      <a:pt x="0" y="69"/>
                      <a:pt x="0" y="69"/>
                    </a:cubicBezTo>
                    <a:cubicBezTo>
                      <a:pt x="93" y="69"/>
                      <a:pt x="93" y="69"/>
                      <a:pt x="93" y="69"/>
                    </a:cubicBezTo>
                    <a:cubicBezTo>
                      <a:pt x="93" y="69"/>
                      <a:pt x="93" y="69"/>
                      <a:pt x="93" y="70"/>
                    </a:cubicBezTo>
                    <a:cubicBezTo>
                      <a:pt x="93" y="85"/>
                      <a:pt x="93" y="93"/>
                      <a:pt x="93"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12"/>
              <p:cNvSpPr>
                <a:spLocks/>
              </p:cNvSpPr>
              <p:nvPr/>
            </p:nvSpPr>
            <p:spPr bwMode="auto">
              <a:xfrm>
                <a:off x="666750" y="1171575"/>
                <a:ext cx="433388" cy="427038"/>
              </a:xfrm>
              <a:custGeom>
                <a:avLst/>
                <a:gdLst>
                  <a:gd name="T0" fmla="*/ 98 w 115"/>
                  <a:gd name="T1" fmla="*/ 64 h 113"/>
                  <a:gd name="T2" fmla="*/ 98 w 115"/>
                  <a:gd name="T3" fmla="*/ 64 h 113"/>
                  <a:gd name="T4" fmla="*/ 66 w 115"/>
                  <a:gd name="T5" fmla="*/ 31 h 113"/>
                  <a:gd name="T6" fmla="*/ 0 w 115"/>
                  <a:gd name="T7" fmla="*/ 31 h 113"/>
                  <a:gd name="T8" fmla="*/ 66 w 115"/>
                  <a:gd name="T9" fmla="*/ 96 h 113"/>
                  <a:gd name="T10" fmla="*/ 66 w 115"/>
                  <a:gd name="T11" fmla="*/ 96 h 113"/>
                  <a:gd name="T12" fmla="*/ 49 w 115"/>
                  <a:gd name="T13" fmla="*/ 113 h 113"/>
                  <a:gd name="T14" fmla="*/ 115 w 115"/>
                  <a:gd name="T15" fmla="*/ 113 h 113"/>
                  <a:gd name="T16" fmla="*/ 115 w 115"/>
                  <a:gd name="T17" fmla="*/ 47 h 113"/>
                  <a:gd name="T18" fmla="*/ 98 w 115"/>
                  <a:gd name="T19" fmla="*/ 6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3">
                    <a:moveTo>
                      <a:pt x="98" y="64"/>
                    </a:moveTo>
                    <a:cubicBezTo>
                      <a:pt x="98" y="64"/>
                      <a:pt x="98" y="64"/>
                      <a:pt x="98" y="64"/>
                    </a:cubicBezTo>
                    <a:cubicBezTo>
                      <a:pt x="98" y="64"/>
                      <a:pt x="82" y="47"/>
                      <a:pt x="66" y="31"/>
                    </a:cubicBezTo>
                    <a:cubicBezTo>
                      <a:pt x="35" y="0"/>
                      <a:pt x="0" y="31"/>
                      <a:pt x="0" y="31"/>
                    </a:cubicBezTo>
                    <a:cubicBezTo>
                      <a:pt x="66" y="96"/>
                      <a:pt x="66" y="96"/>
                      <a:pt x="66" y="96"/>
                    </a:cubicBezTo>
                    <a:cubicBezTo>
                      <a:pt x="66" y="96"/>
                      <a:pt x="66" y="96"/>
                      <a:pt x="66" y="96"/>
                    </a:cubicBezTo>
                    <a:cubicBezTo>
                      <a:pt x="55" y="107"/>
                      <a:pt x="49" y="113"/>
                      <a:pt x="49" y="113"/>
                    </a:cubicBezTo>
                    <a:cubicBezTo>
                      <a:pt x="115" y="113"/>
                      <a:pt x="115" y="113"/>
                      <a:pt x="115" y="113"/>
                    </a:cubicBezTo>
                    <a:cubicBezTo>
                      <a:pt x="115" y="47"/>
                      <a:pt x="115" y="47"/>
                      <a:pt x="115" y="47"/>
                    </a:cubicBezTo>
                    <a:cubicBezTo>
                      <a:pt x="115" y="47"/>
                      <a:pt x="109" y="53"/>
                      <a:pt x="9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3"/>
              <p:cNvSpPr>
                <a:spLocks/>
              </p:cNvSpPr>
              <p:nvPr/>
            </p:nvSpPr>
            <p:spPr bwMode="auto">
              <a:xfrm>
                <a:off x="1123950" y="1357313"/>
                <a:ext cx="350838" cy="525463"/>
              </a:xfrm>
              <a:custGeom>
                <a:avLst/>
                <a:gdLst>
                  <a:gd name="T0" fmla="*/ 70 w 93"/>
                  <a:gd name="T1" fmla="*/ 93 h 139"/>
                  <a:gd name="T2" fmla="*/ 70 w 93"/>
                  <a:gd name="T3" fmla="*/ 93 h 139"/>
                  <a:gd name="T4" fmla="*/ 70 w 93"/>
                  <a:gd name="T5" fmla="*/ 46 h 139"/>
                  <a:gd name="T6" fmla="*/ 24 w 93"/>
                  <a:gd name="T7" fmla="*/ 0 h 139"/>
                  <a:gd name="T8" fmla="*/ 24 w 93"/>
                  <a:gd name="T9" fmla="*/ 93 h 139"/>
                  <a:gd name="T10" fmla="*/ 23 w 93"/>
                  <a:gd name="T11" fmla="*/ 93 h 139"/>
                  <a:gd name="T12" fmla="*/ 0 w 93"/>
                  <a:gd name="T13" fmla="*/ 93 h 139"/>
                  <a:gd name="T14" fmla="*/ 47 w 93"/>
                  <a:gd name="T15" fmla="*/ 139 h 139"/>
                  <a:gd name="T16" fmla="*/ 93 w 93"/>
                  <a:gd name="T17" fmla="*/ 93 h 139"/>
                  <a:gd name="T18" fmla="*/ 70 w 93"/>
                  <a:gd name="T19" fmla="*/ 9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39">
                    <a:moveTo>
                      <a:pt x="70" y="93"/>
                    </a:moveTo>
                    <a:cubicBezTo>
                      <a:pt x="70" y="93"/>
                      <a:pt x="70" y="93"/>
                      <a:pt x="70" y="93"/>
                    </a:cubicBezTo>
                    <a:cubicBezTo>
                      <a:pt x="70" y="93"/>
                      <a:pt x="70" y="70"/>
                      <a:pt x="70" y="46"/>
                    </a:cubicBezTo>
                    <a:cubicBezTo>
                      <a:pt x="70" y="2"/>
                      <a:pt x="24" y="0"/>
                      <a:pt x="24" y="0"/>
                    </a:cubicBezTo>
                    <a:cubicBezTo>
                      <a:pt x="24" y="93"/>
                      <a:pt x="24" y="93"/>
                      <a:pt x="24" y="93"/>
                    </a:cubicBezTo>
                    <a:cubicBezTo>
                      <a:pt x="24" y="93"/>
                      <a:pt x="24" y="93"/>
                      <a:pt x="23" y="93"/>
                    </a:cubicBezTo>
                    <a:cubicBezTo>
                      <a:pt x="8" y="93"/>
                      <a:pt x="0" y="93"/>
                      <a:pt x="0" y="93"/>
                    </a:cubicBezTo>
                    <a:cubicBezTo>
                      <a:pt x="47" y="139"/>
                      <a:pt x="47" y="139"/>
                      <a:pt x="47" y="139"/>
                    </a:cubicBezTo>
                    <a:cubicBezTo>
                      <a:pt x="93" y="93"/>
                      <a:pt x="93" y="93"/>
                      <a:pt x="93" y="93"/>
                    </a:cubicBezTo>
                    <a:cubicBezTo>
                      <a:pt x="93" y="93"/>
                      <a:pt x="85" y="93"/>
                      <a:pt x="7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14"/>
              <p:cNvSpPr>
                <a:spLocks/>
              </p:cNvSpPr>
              <p:nvPr/>
            </p:nvSpPr>
            <p:spPr bwMode="auto">
              <a:xfrm>
                <a:off x="1214438" y="1768475"/>
                <a:ext cx="422275" cy="434975"/>
              </a:xfrm>
              <a:custGeom>
                <a:avLst/>
                <a:gdLst>
                  <a:gd name="T0" fmla="*/ 81 w 112"/>
                  <a:gd name="T1" fmla="*/ 66 h 115"/>
                  <a:gd name="T2" fmla="*/ 81 w 112"/>
                  <a:gd name="T3" fmla="*/ 0 h 115"/>
                  <a:gd name="T4" fmla="*/ 16 w 112"/>
                  <a:gd name="T5" fmla="*/ 66 h 115"/>
                  <a:gd name="T6" fmla="*/ 16 w 112"/>
                  <a:gd name="T7" fmla="*/ 66 h 115"/>
                  <a:gd name="T8" fmla="*/ 0 w 112"/>
                  <a:gd name="T9" fmla="*/ 49 h 115"/>
                  <a:gd name="T10" fmla="*/ 0 w 112"/>
                  <a:gd name="T11" fmla="*/ 115 h 115"/>
                  <a:gd name="T12" fmla="*/ 65 w 112"/>
                  <a:gd name="T13" fmla="*/ 115 h 115"/>
                  <a:gd name="T14" fmla="*/ 49 w 112"/>
                  <a:gd name="T15" fmla="*/ 98 h 115"/>
                  <a:gd name="T16" fmla="*/ 49 w 112"/>
                  <a:gd name="T17" fmla="*/ 98 h 115"/>
                  <a:gd name="T18" fmla="*/ 81 w 112"/>
                  <a:gd name="T19"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5">
                    <a:moveTo>
                      <a:pt x="81" y="66"/>
                    </a:moveTo>
                    <a:cubicBezTo>
                      <a:pt x="112" y="35"/>
                      <a:pt x="81" y="0"/>
                      <a:pt x="81" y="0"/>
                    </a:cubicBezTo>
                    <a:cubicBezTo>
                      <a:pt x="16" y="66"/>
                      <a:pt x="16" y="66"/>
                      <a:pt x="16" y="66"/>
                    </a:cubicBezTo>
                    <a:cubicBezTo>
                      <a:pt x="16" y="66"/>
                      <a:pt x="16" y="66"/>
                      <a:pt x="16" y="66"/>
                    </a:cubicBezTo>
                    <a:cubicBezTo>
                      <a:pt x="5" y="55"/>
                      <a:pt x="0" y="49"/>
                      <a:pt x="0" y="49"/>
                    </a:cubicBezTo>
                    <a:cubicBezTo>
                      <a:pt x="0" y="115"/>
                      <a:pt x="0" y="115"/>
                      <a:pt x="0" y="115"/>
                    </a:cubicBezTo>
                    <a:cubicBezTo>
                      <a:pt x="65" y="115"/>
                      <a:pt x="65" y="115"/>
                      <a:pt x="65" y="115"/>
                    </a:cubicBezTo>
                    <a:cubicBezTo>
                      <a:pt x="65" y="115"/>
                      <a:pt x="59" y="109"/>
                      <a:pt x="49" y="98"/>
                    </a:cubicBezTo>
                    <a:cubicBezTo>
                      <a:pt x="49" y="98"/>
                      <a:pt x="49" y="98"/>
                      <a:pt x="49" y="98"/>
                    </a:cubicBezTo>
                    <a:cubicBezTo>
                      <a:pt x="49" y="98"/>
                      <a:pt x="65" y="82"/>
                      <a:pt x="8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15"/>
              <p:cNvSpPr>
                <a:spLocks/>
              </p:cNvSpPr>
              <p:nvPr/>
            </p:nvSpPr>
            <p:spPr bwMode="auto">
              <a:xfrm>
                <a:off x="927100" y="2225675"/>
                <a:ext cx="525463" cy="352425"/>
              </a:xfrm>
              <a:custGeom>
                <a:avLst/>
                <a:gdLst>
                  <a:gd name="T0" fmla="*/ 46 w 139"/>
                  <a:gd name="T1" fmla="*/ 24 h 93"/>
                  <a:gd name="T2" fmla="*/ 46 w 139"/>
                  <a:gd name="T3" fmla="*/ 23 h 93"/>
                  <a:gd name="T4" fmla="*/ 46 w 139"/>
                  <a:gd name="T5" fmla="*/ 0 h 93"/>
                  <a:gd name="T6" fmla="*/ 0 w 139"/>
                  <a:gd name="T7" fmla="*/ 47 h 93"/>
                  <a:gd name="T8" fmla="*/ 46 w 139"/>
                  <a:gd name="T9" fmla="*/ 93 h 93"/>
                  <a:gd name="T10" fmla="*/ 46 w 139"/>
                  <a:gd name="T11" fmla="*/ 70 h 93"/>
                  <a:gd name="T12" fmla="*/ 46 w 139"/>
                  <a:gd name="T13" fmla="*/ 70 h 93"/>
                  <a:gd name="T14" fmla="*/ 93 w 139"/>
                  <a:gd name="T15" fmla="*/ 70 h 93"/>
                  <a:gd name="T16" fmla="*/ 139 w 139"/>
                  <a:gd name="T17" fmla="*/ 24 h 93"/>
                  <a:gd name="T18" fmla="*/ 46 w 139"/>
                  <a:gd name="T19" fmla="*/ 2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93">
                    <a:moveTo>
                      <a:pt x="46" y="24"/>
                    </a:moveTo>
                    <a:cubicBezTo>
                      <a:pt x="46" y="24"/>
                      <a:pt x="46" y="24"/>
                      <a:pt x="46" y="23"/>
                    </a:cubicBezTo>
                    <a:cubicBezTo>
                      <a:pt x="46" y="8"/>
                      <a:pt x="46" y="0"/>
                      <a:pt x="46" y="0"/>
                    </a:cubicBezTo>
                    <a:cubicBezTo>
                      <a:pt x="0" y="47"/>
                      <a:pt x="0" y="47"/>
                      <a:pt x="0" y="47"/>
                    </a:cubicBezTo>
                    <a:cubicBezTo>
                      <a:pt x="46" y="93"/>
                      <a:pt x="46" y="93"/>
                      <a:pt x="46" y="93"/>
                    </a:cubicBezTo>
                    <a:cubicBezTo>
                      <a:pt x="46" y="93"/>
                      <a:pt x="46" y="85"/>
                      <a:pt x="46" y="70"/>
                    </a:cubicBezTo>
                    <a:cubicBezTo>
                      <a:pt x="46" y="70"/>
                      <a:pt x="46" y="70"/>
                      <a:pt x="46" y="70"/>
                    </a:cubicBezTo>
                    <a:cubicBezTo>
                      <a:pt x="46" y="70"/>
                      <a:pt x="69" y="70"/>
                      <a:pt x="93" y="70"/>
                    </a:cubicBezTo>
                    <a:cubicBezTo>
                      <a:pt x="137" y="70"/>
                      <a:pt x="139" y="24"/>
                      <a:pt x="139" y="24"/>
                    </a:cubicBezTo>
                    <a:cubicBezTo>
                      <a:pt x="46" y="24"/>
                      <a:pt x="46" y="24"/>
                      <a:pt x="4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16"/>
              <p:cNvSpPr>
                <a:spLocks/>
              </p:cNvSpPr>
              <p:nvPr/>
            </p:nvSpPr>
            <p:spPr bwMode="auto">
              <a:xfrm>
                <a:off x="606425" y="2316163"/>
                <a:ext cx="433388" cy="423863"/>
              </a:xfrm>
              <a:custGeom>
                <a:avLst/>
                <a:gdLst>
                  <a:gd name="T0" fmla="*/ 49 w 115"/>
                  <a:gd name="T1" fmla="*/ 16 h 112"/>
                  <a:gd name="T2" fmla="*/ 49 w 115"/>
                  <a:gd name="T3" fmla="*/ 16 h 112"/>
                  <a:gd name="T4" fmla="*/ 66 w 115"/>
                  <a:gd name="T5" fmla="*/ 0 h 112"/>
                  <a:gd name="T6" fmla="*/ 0 w 115"/>
                  <a:gd name="T7" fmla="*/ 0 h 112"/>
                  <a:gd name="T8" fmla="*/ 0 w 115"/>
                  <a:gd name="T9" fmla="*/ 65 h 112"/>
                  <a:gd name="T10" fmla="*/ 17 w 115"/>
                  <a:gd name="T11" fmla="*/ 49 h 112"/>
                  <a:gd name="T12" fmla="*/ 17 w 115"/>
                  <a:gd name="T13" fmla="*/ 49 h 112"/>
                  <a:gd name="T14" fmla="*/ 49 w 115"/>
                  <a:gd name="T15" fmla="*/ 81 h 112"/>
                  <a:gd name="T16" fmla="*/ 115 w 115"/>
                  <a:gd name="T17" fmla="*/ 81 h 112"/>
                  <a:gd name="T18" fmla="*/ 49 w 115"/>
                  <a:gd name="T19" fmla="*/ 1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2">
                    <a:moveTo>
                      <a:pt x="49" y="16"/>
                    </a:moveTo>
                    <a:cubicBezTo>
                      <a:pt x="49" y="16"/>
                      <a:pt x="49" y="16"/>
                      <a:pt x="49" y="16"/>
                    </a:cubicBezTo>
                    <a:cubicBezTo>
                      <a:pt x="60" y="5"/>
                      <a:pt x="66" y="0"/>
                      <a:pt x="66" y="0"/>
                    </a:cubicBezTo>
                    <a:cubicBezTo>
                      <a:pt x="0" y="0"/>
                      <a:pt x="0" y="0"/>
                      <a:pt x="0" y="0"/>
                    </a:cubicBezTo>
                    <a:cubicBezTo>
                      <a:pt x="0" y="65"/>
                      <a:pt x="0" y="65"/>
                      <a:pt x="0" y="65"/>
                    </a:cubicBezTo>
                    <a:cubicBezTo>
                      <a:pt x="0" y="65"/>
                      <a:pt x="6" y="59"/>
                      <a:pt x="17" y="49"/>
                    </a:cubicBezTo>
                    <a:cubicBezTo>
                      <a:pt x="17" y="49"/>
                      <a:pt x="17" y="49"/>
                      <a:pt x="17" y="49"/>
                    </a:cubicBezTo>
                    <a:cubicBezTo>
                      <a:pt x="17" y="49"/>
                      <a:pt x="33" y="65"/>
                      <a:pt x="49" y="81"/>
                    </a:cubicBezTo>
                    <a:cubicBezTo>
                      <a:pt x="80" y="112"/>
                      <a:pt x="115" y="81"/>
                      <a:pt x="115" y="81"/>
                    </a:cubicBezTo>
                    <a:lnTo>
                      <a:pt x="4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38" name="Group 37"/>
          <p:cNvGrpSpPr/>
          <p:nvPr/>
        </p:nvGrpSpPr>
        <p:grpSpPr>
          <a:xfrm>
            <a:off x="3914446" y="989763"/>
            <a:ext cx="542626" cy="542626"/>
            <a:chOff x="323528" y="989762"/>
            <a:chExt cx="542626" cy="542626"/>
          </a:xfrm>
        </p:grpSpPr>
        <p:sp>
          <p:nvSpPr>
            <p:cNvPr id="39" name="Rechthoek 10"/>
            <p:cNvSpPr>
              <a:spLocks noChangeAspect="1"/>
            </p:cNvSpPr>
            <p:nvPr/>
          </p:nvSpPr>
          <p:spPr>
            <a:xfrm>
              <a:off x="323528" y="989762"/>
              <a:ext cx="542626" cy="54262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40" name="Freeform 14"/>
            <p:cNvSpPr>
              <a:spLocks noEditPoints="1"/>
            </p:cNvSpPr>
            <p:nvPr/>
          </p:nvSpPr>
          <p:spPr bwMode="auto">
            <a:xfrm>
              <a:off x="456375" y="1047154"/>
              <a:ext cx="276931" cy="437365"/>
            </a:xfrm>
            <a:custGeom>
              <a:avLst/>
              <a:gdLst>
                <a:gd name="T0" fmla="*/ 166 w 173"/>
                <a:gd name="T1" fmla="*/ 0 h 275"/>
                <a:gd name="T2" fmla="*/ 6 w 173"/>
                <a:gd name="T3" fmla="*/ 0 h 275"/>
                <a:gd name="T4" fmla="*/ 0 w 173"/>
                <a:gd name="T5" fmla="*/ 6 h 275"/>
                <a:gd name="T6" fmla="*/ 0 w 173"/>
                <a:gd name="T7" fmla="*/ 224 h 275"/>
                <a:gd name="T8" fmla="*/ 6 w 173"/>
                <a:gd name="T9" fmla="*/ 230 h 275"/>
                <a:gd name="T10" fmla="*/ 13 w 173"/>
                <a:gd name="T11" fmla="*/ 224 h 275"/>
                <a:gd name="T12" fmla="*/ 13 w 173"/>
                <a:gd name="T13" fmla="*/ 13 h 275"/>
                <a:gd name="T14" fmla="*/ 160 w 173"/>
                <a:gd name="T15" fmla="*/ 13 h 275"/>
                <a:gd name="T16" fmla="*/ 160 w 173"/>
                <a:gd name="T17" fmla="*/ 17 h 275"/>
                <a:gd name="T18" fmla="*/ 93 w 173"/>
                <a:gd name="T19" fmla="*/ 66 h 275"/>
                <a:gd name="T20" fmla="*/ 93 w 173"/>
                <a:gd name="T21" fmla="*/ 275 h 275"/>
                <a:gd name="T22" fmla="*/ 160 w 173"/>
                <a:gd name="T23" fmla="*/ 226 h 275"/>
                <a:gd name="T24" fmla="*/ 166 w 173"/>
                <a:gd name="T25" fmla="*/ 230 h 275"/>
                <a:gd name="T26" fmla="*/ 173 w 173"/>
                <a:gd name="T27" fmla="*/ 224 h 275"/>
                <a:gd name="T28" fmla="*/ 173 w 173"/>
                <a:gd name="T29" fmla="*/ 6 h 275"/>
                <a:gd name="T30" fmla="*/ 166 w 173"/>
                <a:gd name="T31" fmla="*/ 0 h 275"/>
                <a:gd name="T32" fmla="*/ 118 w 173"/>
                <a:gd name="T33" fmla="*/ 176 h 275"/>
                <a:gd name="T34" fmla="*/ 112 w 173"/>
                <a:gd name="T35" fmla="*/ 167 h 275"/>
                <a:gd name="T36" fmla="*/ 105 w 173"/>
                <a:gd name="T37" fmla="*/ 167 h 275"/>
                <a:gd name="T38" fmla="*/ 105 w 173"/>
                <a:gd name="T39" fmla="*/ 161 h 275"/>
                <a:gd name="T40" fmla="*/ 112 w 173"/>
                <a:gd name="T41" fmla="*/ 161 h 275"/>
                <a:gd name="T42" fmla="*/ 118 w 173"/>
                <a:gd name="T43" fmla="*/ 153 h 275"/>
                <a:gd name="T44" fmla="*/ 125 w 173"/>
                <a:gd name="T45" fmla="*/ 164 h 275"/>
                <a:gd name="T46" fmla="*/ 118 w 173"/>
                <a:gd name="T47" fmla="*/ 176 h 275"/>
                <a:gd name="T48" fmla="*/ 118 w 173"/>
                <a:gd name="T49" fmla="*/ 176 h 275"/>
                <a:gd name="T50" fmla="*/ 118 w 173"/>
                <a:gd name="T51" fmla="*/ 17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275">
                  <a:moveTo>
                    <a:pt x="166" y="0"/>
                  </a:moveTo>
                  <a:cubicBezTo>
                    <a:pt x="6" y="0"/>
                    <a:pt x="6" y="0"/>
                    <a:pt x="6" y="0"/>
                  </a:cubicBezTo>
                  <a:cubicBezTo>
                    <a:pt x="3" y="0"/>
                    <a:pt x="0" y="3"/>
                    <a:pt x="0" y="6"/>
                  </a:cubicBezTo>
                  <a:cubicBezTo>
                    <a:pt x="0" y="224"/>
                    <a:pt x="0" y="224"/>
                    <a:pt x="0" y="224"/>
                  </a:cubicBezTo>
                  <a:cubicBezTo>
                    <a:pt x="0" y="228"/>
                    <a:pt x="3" y="230"/>
                    <a:pt x="6" y="230"/>
                  </a:cubicBezTo>
                  <a:cubicBezTo>
                    <a:pt x="10" y="230"/>
                    <a:pt x="13" y="228"/>
                    <a:pt x="13" y="224"/>
                  </a:cubicBezTo>
                  <a:cubicBezTo>
                    <a:pt x="13" y="13"/>
                    <a:pt x="13" y="13"/>
                    <a:pt x="13" y="13"/>
                  </a:cubicBezTo>
                  <a:cubicBezTo>
                    <a:pt x="160" y="13"/>
                    <a:pt x="160" y="13"/>
                    <a:pt x="160" y="13"/>
                  </a:cubicBezTo>
                  <a:cubicBezTo>
                    <a:pt x="160" y="17"/>
                    <a:pt x="160" y="17"/>
                    <a:pt x="160" y="17"/>
                  </a:cubicBezTo>
                  <a:cubicBezTo>
                    <a:pt x="93" y="66"/>
                    <a:pt x="93" y="66"/>
                    <a:pt x="93" y="66"/>
                  </a:cubicBezTo>
                  <a:cubicBezTo>
                    <a:pt x="93" y="275"/>
                    <a:pt x="93" y="275"/>
                    <a:pt x="93" y="275"/>
                  </a:cubicBezTo>
                  <a:cubicBezTo>
                    <a:pt x="160" y="226"/>
                    <a:pt x="160" y="226"/>
                    <a:pt x="160" y="226"/>
                  </a:cubicBezTo>
                  <a:cubicBezTo>
                    <a:pt x="161" y="229"/>
                    <a:pt x="164" y="230"/>
                    <a:pt x="166" y="230"/>
                  </a:cubicBezTo>
                  <a:cubicBezTo>
                    <a:pt x="170" y="230"/>
                    <a:pt x="173" y="228"/>
                    <a:pt x="173" y="224"/>
                  </a:cubicBezTo>
                  <a:cubicBezTo>
                    <a:pt x="173" y="6"/>
                    <a:pt x="173" y="6"/>
                    <a:pt x="173" y="6"/>
                  </a:cubicBezTo>
                  <a:cubicBezTo>
                    <a:pt x="173" y="3"/>
                    <a:pt x="170" y="0"/>
                    <a:pt x="166" y="0"/>
                  </a:cubicBezTo>
                  <a:close/>
                  <a:moveTo>
                    <a:pt x="118" y="176"/>
                  </a:moveTo>
                  <a:cubicBezTo>
                    <a:pt x="115" y="176"/>
                    <a:pt x="113" y="172"/>
                    <a:pt x="112" y="167"/>
                  </a:cubicBezTo>
                  <a:cubicBezTo>
                    <a:pt x="105" y="167"/>
                    <a:pt x="105" y="167"/>
                    <a:pt x="105" y="167"/>
                  </a:cubicBezTo>
                  <a:cubicBezTo>
                    <a:pt x="105" y="161"/>
                    <a:pt x="105" y="161"/>
                    <a:pt x="105" y="161"/>
                  </a:cubicBezTo>
                  <a:cubicBezTo>
                    <a:pt x="112" y="161"/>
                    <a:pt x="112" y="161"/>
                    <a:pt x="112" y="161"/>
                  </a:cubicBezTo>
                  <a:cubicBezTo>
                    <a:pt x="113" y="157"/>
                    <a:pt x="115" y="153"/>
                    <a:pt x="118" y="153"/>
                  </a:cubicBezTo>
                  <a:cubicBezTo>
                    <a:pt x="122" y="153"/>
                    <a:pt x="125" y="158"/>
                    <a:pt x="125" y="164"/>
                  </a:cubicBezTo>
                  <a:cubicBezTo>
                    <a:pt x="125" y="170"/>
                    <a:pt x="122" y="176"/>
                    <a:pt x="118" y="176"/>
                  </a:cubicBezTo>
                  <a:close/>
                  <a:moveTo>
                    <a:pt x="118" y="176"/>
                  </a:moveTo>
                  <a:cubicBezTo>
                    <a:pt x="118" y="176"/>
                    <a:pt x="118" y="176"/>
                    <a:pt x="118" y="176"/>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4" name="Rechthoek 10"/>
          <p:cNvSpPr>
            <a:spLocks noChangeAspect="1"/>
          </p:cNvSpPr>
          <p:nvPr/>
        </p:nvSpPr>
        <p:spPr>
          <a:xfrm>
            <a:off x="2488252" y="1532396"/>
            <a:ext cx="1430635" cy="1430635"/>
          </a:xfrm>
          <a:prstGeom prst="rect">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5" name="Rechthoek 10"/>
          <p:cNvSpPr>
            <a:spLocks noChangeAspect="1"/>
          </p:cNvSpPr>
          <p:nvPr/>
        </p:nvSpPr>
        <p:spPr>
          <a:xfrm>
            <a:off x="265120" y="1532396"/>
            <a:ext cx="1430635" cy="1430635"/>
          </a:xfrm>
          <a:prstGeom prst="rect">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6" name="Rechthoek 10"/>
          <p:cNvSpPr>
            <a:spLocks noChangeAspect="1"/>
          </p:cNvSpPr>
          <p:nvPr/>
        </p:nvSpPr>
        <p:spPr>
          <a:xfrm>
            <a:off x="2483817" y="1532395"/>
            <a:ext cx="1430635" cy="14306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7" name="Rechthoek 10"/>
          <p:cNvSpPr>
            <a:spLocks noChangeAspect="1"/>
          </p:cNvSpPr>
          <p:nvPr/>
        </p:nvSpPr>
        <p:spPr>
          <a:xfrm>
            <a:off x="6921210" y="1532396"/>
            <a:ext cx="1430635" cy="143063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8" name="Rechthoek 10"/>
          <p:cNvSpPr>
            <a:spLocks noChangeAspect="1"/>
          </p:cNvSpPr>
          <p:nvPr/>
        </p:nvSpPr>
        <p:spPr>
          <a:xfrm>
            <a:off x="4702514" y="1532395"/>
            <a:ext cx="1430635" cy="143063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9" name="Rechthoek 10"/>
          <p:cNvSpPr>
            <a:spLocks noChangeAspect="1"/>
          </p:cNvSpPr>
          <p:nvPr/>
        </p:nvSpPr>
        <p:spPr>
          <a:xfrm>
            <a:off x="265120" y="1532396"/>
            <a:ext cx="1430635" cy="1430635"/>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10" name="Rechthoek 10"/>
          <p:cNvSpPr>
            <a:spLocks noChangeAspect="1"/>
          </p:cNvSpPr>
          <p:nvPr/>
        </p:nvSpPr>
        <p:spPr>
          <a:xfrm>
            <a:off x="4699710" y="1532396"/>
            <a:ext cx="1430635" cy="1430635"/>
          </a:xfrm>
          <a:prstGeom prst="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11" name="Rechthoek 10"/>
          <p:cNvSpPr>
            <a:spLocks noChangeAspect="1"/>
          </p:cNvSpPr>
          <p:nvPr/>
        </p:nvSpPr>
        <p:spPr>
          <a:xfrm>
            <a:off x="6921210" y="1532396"/>
            <a:ext cx="1430635" cy="1430635"/>
          </a:xfrm>
          <a:prstGeom prst="rect">
            <a:avLst/>
          </a:prstGeom>
          <a:no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12" name="Titel 7"/>
          <p:cNvSpPr txBox="1">
            <a:spLocks/>
          </p:cNvSpPr>
          <p:nvPr/>
        </p:nvSpPr>
        <p:spPr>
          <a:xfrm>
            <a:off x="384193" y="1592159"/>
            <a:ext cx="1135063" cy="640875"/>
          </a:xfrm>
          <a:prstGeom prst="rect">
            <a:avLst/>
          </a:prstGeom>
        </p:spPr>
        <p:txBody>
          <a:bodyPr lIns="0" tIns="34285" rIns="68563" bIns="34285"/>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600" dirty="0">
                <a:solidFill>
                  <a:schemeClr val="bg1"/>
                </a:solidFill>
              </a:rPr>
              <a:t>Integral </a:t>
            </a:r>
          </a:p>
        </p:txBody>
      </p:sp>
      <p:sp>
        <p:nvSpPr>
          <p:cNvPr id="13" name="Titel 7"/>
          <p:cNvSpPr txBox="1">
            <a:spLocks/>
          </p:cNvSpPr>
          <p:nvPr/>
        </p:nvSpPr>
        <p:spPr>
          <a:xfrm>
            <a:off x="2596244" y="1592159"/>
            <a:ext cx="1317079" cy="640875"/>
          </a:xfrm>
          <a:prstGeom prst="rect">
            <a:avLst/>
          </a:prstGeom>
        </p:spPr>
        <p:txBody>
          <a:bodyPr lIns="0" tIns="34285" rIns="68563" bIns="34285"/>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600" dirty="0">
                <a:solidFill>
                  <a:schemeClr val="bg1"/>
                </a:solidFill>
              </a:rPr>
              <a:t>Open</a:t>
            </a:r>
          </a:p>
        </p:txBody>
      </p:sp>
      <p:sp>
        <p:nvSpPr>
          <p:cNvPr id="14" name="Titel 7"/>
          <p:cNvSpPr txBox="1">
            <a:spLocks/>
          </p:cNvSpPr>
          <p:nvPr/>
        </p:nvSpPr>
        <p:spPr>
          <a:xfrm>
            <a:off x="4804112" y="1592159"/>
            <a:ext cx="1317079" cy="640875"/>
          </a:xfrm>
          <a:prstGeom prst="rect">
            <a:avLst/>
          </a:prstGeom>
        </p:spPr>
        <p:txBody>
          <a:bodyPr lIns="0" tIns="34285" rIns="68563" bIns="34285"/>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600" dirty="0">
                <a:solidFill>
                  <a:schemeClr val="bg1"/>
                </a:solidFill>
              </a:rPr>
              <a:t>Scalable &amp; replicable </a:t>
            </a:r>
          </a:p>
        </p:txBody>
      </p:sp>
      <p:sp>
        <p:nvSpPr>
          <p:cNvPr id="15" name="Titel 7"/>
          <p:cNvSpPr txBox="1">
            <a:spLocks/>
          </p:cNvSpPr>
          <p:nvPr/>
        </p:nvSpPr>
        <p:spPr>
          <a:xfrm>
            <a:off x="7038940" y="1592159"/>
            <a:ext cx="1317079" cy="640875"/>
          </a:xfrm>
          <a:prstGeom prst="rect">
            <a:avLst/>
          </a:prstGeom>
        </p:spPr>
        <p:txBody>
          <a:bodyPr lIns="0" tIns="34285" rIns="68563" bIns="34285"/>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600" dirty="0">
                <a:solidFill>
                  <a:schemeClr val="bg1"/>
                </a:solidFill>
              </a:rPr>
              <a:t>Market-based</a:t>
            </a:r>
          </a:p>
        </p:txBody>
      </p:sp>
      <p:sp>
        <p:nvSpPr>
          <p:cNvPr id="28" name="Freeform 27"/>
          <p:cNvSpPr/>
          <p:nvPr/>
        </p:nvSpPr>
        <p:spPr>
          <a:xfrm>
            <a:off x="980432" y="2963025"/>
            <a:ext cx="1257945" cy="1494676"/>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Lst>
            <a:ahLst/>
            <a:cxnLst>
              <a:cxn ang="0">
                <a:pos x="connsiteX0" y="connsiteY0"/>
              </a:cxn>
              <a:cxn ang="0">
                <a:pos x="connsiteX1" y="connsiteY1"/>
              </a:cxn>
              <a:cxn ang="0">
                <a:pos x="connsiteX2" y="connsiteY2"/>
              </a:cxn>
              <a:cxn ang="0">
                <a:pos x="connsiteX3" y="connsiteY3"/>
              </a:cxn>
            </a:cxnLst>
            <a:rect l="l" t="t" r="r" b="b"/>
            <a:pathLst>
              <a:path w="3438525" h="838200">
                <a:moveTo>
                  <a:pt x="3438525" y="838200"/>
                </a:moveTo>
                <a:lnTo>
                  <a:pt x="3438525" y="542925"/>
                </a:lnTo>
                <a:lnTo>
                  <a:pt x="0" y="542925"/>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sp>
        <p:nvSpPr>
          <p:cNvPr id="29" name="Freeform 28"/>
          <p:cNvSpPr/>
          <p:nvPr/>
        </p:nvSpPr>
        <p:spPr>
          <a:xfrm>
            <a:off x="3216682" y="2963024"/>
            <a:ext cx="444227" cy="1514520"/>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87677 w 3487677"/>
              <a:gd name="connsiteY0" fmla="*/ 1363209 h 1363209"/>
              <a:gd name="connsiteX1" fmla="*/ 3438525 w 3487677"/>
              <a:gd name="connsiteY1" fmla="*/ 542925 h 1363209"/>
              <a:gd name="connsiteX2" fmla="*/ 0 w 3487677"/>
              <a:gd name="connsiteY2" fmla="*/ 542925 h 1363209"/>
              <a:gd name="connsiteX3" fmla="*/ 0 w 3487677"/>
              <a:gd name="connsiteY3" fmla="*/ 0 h 1363209"/>
              <a:gd name="connsiteX0" fmla="*/ 3395519 w 3438525"/>
              <a:gd name="connsiteY0" fmla="*/ 1361069 h 1361069"/>
              <a:gd name="connsiteX1" fmla="*/ 3438525 w 3438525"/>
              <a:gd name="connsiteY1" fmla="*/ 542925 h 1361069"/>
              <a:gd name="connsiteX2" fmla="*/ 0 w 3438525"/>
              <a:gd name="connsiteY2" fmla="*/ 542925 h 1361069"/>
              <a:gd name="connsiteX3" fmla="*/ 0 w 3438525"/>
              <a:gd name="connsiteY3" fmla="*/ 0 h 1361069"/>
              <a:gd name="connsiteX0" fmla="*/ 3450809 w 3450809"/>
              <a:gd name="connsiteY0" fmla="*/ 1361069 h 1361069"/>
              <a:gd name="connsiteX1" fmla="*/ 3438525 w 3450809"/>
              <a:gd name="connsiteY1" fmla="*/ 542925 h 1361069"/>
              <a:gd name="connsiteX2" fmla="*/ 0 w 3450809"/>
              <a:gd name="connsiteY2" fmla="*/ 542925 h 1361069"/>
              <a:gd name="connsiteX3" fmla="*/ 0 w 3450809"/>
              <a:gd name="connsiteY3" fmla="*/ 0 h 1361069"/>
              <a:gd name="connsiteX0" fmla="*/ 3413941 w 3438525"/>
              <a:gd name="connsiteY0" fmla="*/ 1361069 h 1361069"/>
              <a:gd name="connsiteX1" fmla="*/ 3438525 w 3438525"/>
              <a:gd name="connsiteY1" fmla="*/ 542925 h 1361069"/>
              <a:gd name="connsiteX2" fmla="*/ 0 w 3438525"/>
              <a:gd name="connsiteY2" fmla="*/ 542925 h 1361069"/>
              <a:gd name="connsiteX3" fmla="*/ 0 w 3438525"/>
              <a:gd name="connsiteY3" fmla="*/ 0 h 1361069"/>
            </a:gdLst>
            <a:ahLst/>
            <a:cxnLst>
              <a:cxn ang="0">
                <a:pos x="connsiteX0" y="connsiteY0"/>
              </a:cxn>
              <a:cxn ang="0">
                <a:pos x="connsiteX1" y="connsiteY1"/>
              </a:cxn>
              <a:cxn ang="0">
                <a:pos x="connsiteX2" y="connsiteY2"/>
              </a:cxn>
              <a:cxn ang="0">
                <a:pos x="connsiteX3" y="connsiteY3"/>
              </a:cxn>
            </a:cxnLst>
            <a:rect l="l" t="t" r="r" b="b"/>
            <a:pathLst>
              <a:path w="3438525" h="1361069">
                <a:moveTo>
                  <a:pt x="3413941" y="1361069"/>
                </a:moveTo>
                <a:lnTo>
                  <a:pt x="3438525" y="542925"/>
                </a:lnTo>
                <a:lnTo>
                  <a:pt x="0" y="542925"/>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sp>
        <p:nvSpPr>
          <p:cNvPr id="30" name="Freeform 29"/>
          <p:cNvSpPr/>
          <p:nvPr/>
        </p:nvSpPr>
        <p:spPr>
          <a:xfrm flipH="1">
            <a:off x="4766007" y="2963025"/>
            <a:ext cx="658539" cy="1494676"/>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Lst>
            <a:ahLst/>
            <a:cxnLst>
              <a:cxn ang="0">
                <a:pos x="connsiteX0" y="connsiteY0"/>
              </a:cxn>
              <a:cxn ang="0">
                <a:pos x="connsiteX1" y="connsiteY1"/>
              </a:cxn>
              <a:cxn ang="0">
                <a:pos x="connsiteX2" y="connsiteY2"/>
              </a:cxn>
              <a:cxn ang="0">
                <a:pos x="connsiteX3" y="connsiteY3"/>
              </a:cxn>
            </a:cxnLst>
            <a:rect l="l" t="t" r="r" b="b"/>
            <a:pathLst>
              <a:path w="3438525" h="838200">
                <a:moveTo>
                  <a:pt x="3438525" y="838200"/>
                </a:moveTo>
                <a:lnTo>
                  <a:pt x="3438525" y="542925"/>
                </a:lnTo>
                <a:lnTo>
                  <a:pt x="0" y="542925"/>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sp>
        <p:nvSpPr>
          <p:cNvPr id="31" name="Freeform 30"/>
          <p:cNvSpPr/>
          <p:nvPr/>
        </p:nvSpPr>
        <p:spPr>
          <a:xfrm flipH="1">
            <a:off x="6558662" y="2963024"/>
            <a:ext cx="1077858" cy="1514520"/>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 name="connsiteX0" fmla="*/ 3487677 w 3487677"/>
              <a:gd name="connsiteY0" fmla="*/ 1363209 h 1363209"/>
              <a:gd name="connsiteX1" fmla="*/ 3438525 w 3487677"/>
              <a:gd name="connsiteY1" fmla="*/ 542925 h 1363209"/>
              <a:gd name="connsiteX2" fmla="*/ 0 w 3487677"/>
              <a:gd name="connsiteY2" fmla="*/ 542925 h 1363209"/>
              <a:gd name="connsiteX3" fmla="*/ 0 w 3487677"/>
              <a:gd name="connsiteY3" fmla="*/ 0 h 1363209"/>
              <a:gd name="connsiteX0" fmla="*/ 3395519 w 3438525"/>
              <a:gd name="connsiteY0" fmla="*/ 1361069 h 1361069"/>
              <a:gd name="connsiteX1" fmla="*/ 3438525 w 3438525"/>
              <a:gd name="connsiteY1" fmla="*/ 542925 h 1361069"/>
              <a:gd name="connsiteX2" fmla="*/ 0 w 3438525"/>
              <a:gd name="connsiteY2" fmla="*/ 542925 h 1361069"/>
              <a:gd name="connsiteX3" fmla="*/ 0 w 3438525"/>
              <a:gd name="connsiteY3" fmla="*/ 0 h 1361069"/>
              <a:gd name="connsiteX0" fmla="*/ 3450809 w 3450809"/>
              <a:gd name="connsiteY0" fmla="*/ 1361069 h 1361069"/>
              <a:gd name="connsiteX1" fmla="*/ 3438525 w 3450809"/>
              <a:gd name="connsiteY1" fmla="*/ 542925 h 1361069"/>
              <a:gd name="connsiteX2" fmla="*/ 0 w 3450809"/>
              <a:gd name="connsiteY2" fmla="*/ 542925 h 1361069"/>
              <a:gd name="connsiteX3" fmla="*/ 0 w 3450809"/>
              <a:gd name="connsiteY3" fmla="*/ 0 h 1361069"/>
              <a:gd name="connsiteX0" fmla="*/ 3413941 w 3438525"/>
              <a:gd name="connsiteY0" fmla="*/ 1361069 h 1361069"/>
              <a:gd name="connsiteX1" fmla="*/ 3438525 w 3438525"/>
              <a:gd name="connsiteY1" fmla="*/ 542925 h 1361069"/>
              <a:gd name="connsiteX2" fmla="*/ 0 w 3438525"/>
              <a:gd name="connsiteY2" fmla="*/ 542925 h 1361069"/>
              <a:gd name="connsiteX3" fmla="*/ 0 w 3438525"/>
              <a:gd name="connsiteY3" fmla="*/ 0 h 1361069"/>
            </a:gdLst>
            <a:ahLst/>
            <a:cxnLst>
              <a:cxn ang="0">
                <a:pos x="connsiteX0" y="connsiteY0"/>
              </a:cxn>
              <a:cxn ang="0">
                <a:pos x="connsiteX1" y="connsiteY1"/>
              </a:cxn>
              <a:cxn ang="0">
                <a:pos x="connsiteX2" y="connsiteY2"/>
              </a:cxn>
              <a:cxn ang="0">
                <a:pos x="connsiteX3" y="connsiteY3"/>
              </a:cxn>
            </a:cxnLst>
            <a:rect l="l" t="t" r="r" b="b"/>
            <a:pathLst>
              <a:path w="3438525" h="1361069">
                <a:moveTo>
                  <a:pt x="3413941" y="1361069"/>
                </a:moveTo>
                <a:lnTo>
                  <a:pt x="3438525" y="542925"/>
                </a:lnTo>
                <a:lnTo>
                  <a:pt x="0" y="542925"/>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sp>
        <p:nvSpPr>
          <p:cNvPr id="3" name="Tekstvak 2"/>
          <p:cNvSpPr txBox="1"/>
          <p:nvPr/>
        </p:nvSpPr>
        <p:spPr>
          <a:xfrm>
            <a:off x="3660909" y="4042173"/>
            <a:ext cx="5476108" cy="369322"/>
          </a:xfrm>
          <a:prstGeom prst="rect">
            <a:avLst/>
          </a:prstGeom>
          <a:solidFill>
            <a:schemeClr val="bg1"/>
          </a:solidFill>
        </p:spPr>
        <p:txBody>
          <a:bodyPr wrap="square" lIns="91430" tIns="45715" rIns="91430" bIns="45715" rtlCol="0">
            <a:spAutoFit/>
          </a:bodyPr>
          <a:lstStyle/>
          <a:p>
            <a:r>
              <a:rPr lang="en-GB" dirty="0" smtClean="0"/>
              <a:t>And live in different demonstration projects already</a:t>
            </a:r>
            <a:endParaRPr lang="en-GB" dirty="0"/>
          </a:p>
        </p:txBody>
      </p:sp>
    </p:spTree>
    <p:extLst>
      <p:ext uri="{BB962C8B-B14F-4D97-AF65-F5344CB8AC3E}">
        <p14:creationId xmlns:p14="http://schemas.microsoft.com/office/powerpoint/2010/main" val="143670741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Afbeelding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8088" y="-1"/>
            <a:ext cx="7325912" cy="4455525"/>
          </a:xfrm>
          <a:prstGeom prst="rect">
            <a:avLst/>
          </a:prstGeom>
        </p:spPr>
      </p:pic>
      <p:sp>
        <p:nvSpPr>
          <p:cNvPr id="2" name="Tijdelijke aanduiding voor voettekst 1"/>
          <p:cNvSpPr>
            <a:spLocks noGrp="1"/>
          </p:cNvSpPr>
          <p:nvPr>
            <p:ph type="ftr" sz="quarter" idx="10"/>
          </p:nvPr>
        </p:nvSpPr>
        <p:spPr/>
        <p:txBody>
          <a:bodyPr/>
          <a:lstStyle/>
          <a:p>
            <a:endParaRPr lang="en-GB" dirty="0" smtClean="0"/>
          </a:p>
        </p:txBody>
      </p:sp>
      <p:pic>
        <p:nvPicPr>
          <p:cNvPr id="14" name="Picture 2" descr="https://www.energiekoplopers.nl/wp-content/uploads/2015/05/Logo_Energie_koplopers_met_pay_of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450" y="911525"/>
            <a:ext cx="2085975" cy="781050"/>
          </a:xfrm>
          <a:prstGeom prst="rect">
            <a:avLst/>
          </a:prstGeom>
          <a:noFill/>
          <a:extLst>
            <a:ext uri="{909E8E84-426E-40DD-AFC4-6F175D3DCCD1}">
              <a14:hiddenFill xmlns:a14="http://schemas.microsoft.com/office/drawing/2010/main">
                <a:solidFill>
                  <a:srgbClr val="FFFFFF"/>
                </a:solidFill>
              </a14:hiddenFill>
            </a:ext>
          </a:extLst>
        </p:spPr>
      </p:pic>
      <p:sp>
        <p:nvSpPr>
          <p:cNvPr id="91" name="Tijdelijke aanduiding voor tekst 2"/>
          <p:cNvSpPr>
            <a:spLocks noGrp="1"/>
          </p:cNvSpPr>
          <p:nvPr>
            <p:ph type="body" sz="quarter" idx="11"/>
          </p:nvPr>
        </p:nvSpPr>
        <p:spPr>
          <a:xfrm>
            <a:off x="2543176" y="1000124"/>
            <a:ext cx="4800600" cy="1057275"/>
          </a:xfrm>
        </p:spPr>
        <p:txBody>
          <a:bodyPr/>
          <a:lstStyle/>
          <a:p>
            <a:r>
              <a:rPr lang="en-GB" b="1" dirty="0" smtClean="0">
                <a:solidFill>
                  <a:schemeClr val="accent4"/>
                </a:solidFill>
              </a:rPr>
              <a:t>Live since 18 August 2015</a:t>
            </a:r>
          </a:p>
          <a:p>
            <a:r>
              <a:rPr lang="en-GB" b="1" dirty="0">
                <a:solidFill>
                  <a:schemeClr val="bg1"/>
                </a:solidFill>
              </a:rPr>
              <a:t>200 smart devices provide flexibility</a:t>
            </a:r>
          </a:p>
          <a:p>
            <a:endParaRPr lang="en-GB" b="1" dirty="0">
              <a:solidFill>
                <a:schemeClr val="bg1"/>
              </a:solidFill>
            </a:endParaRPr>
          </a:p>
        </p:txBody>
      </p:sp>
      <p:sp>
        <p:nvSpPr>
          <p:cNvPr id="6" name="Tijdelijke aanduiding voor tekst 2"/>
          <p:cNvSpPr txBox="1">
            <a:spLocks/>
          </p:cNvSpPr>
          <p:nvPr/>
        </p:nvSpPr>
        <p:spPr>
          <a:xfrm>
            <a:off x="2027282" y="425450"/>
            <a:ext cx="4387850" cy="486075"/>
          </a:xfrm>
          <a:prstGeom prst="rect">
            <a:avLst/>
          </a:prstGeom>
        </p:spPr>
        <p:txBody>
          <a:bodyPr lIns="91407" tIns="45703" rIns="91407" bIns="45703"/>
          <a:lstStyle>
            <a:lvl1pPr marL="0" indent="0" algn="l" defTabSz="457130" rtl="0" eaLnBrk="1" latinLnBrk="0" hangingPunct="1">
              <a:spcBef>
                <a:spcPct val="20000"/>
              </a:spcBef>
              <a:buFont typeface="Arial"/>
              <a:buNone/>
              <a:defRPr sz="2000" kern="1200">
                <a:solidFill>
                  <a:schemeClr val="tx1"/>
                </a:solidFill>
                <a:latin typeface="Calibri" pitchFamily="34" charset="0"/>
                <a:ea typeface="+mn-ea"/>
                <a:cs typeface="+mn-cs"/>
              </a:defRPr>
            </a:lvl1pPr>
            <a:lvl2pPr marL="742841" indent="-285708" algn="l" defTabSz="457130" rtl="0" eaLnBrk="1" latinLnBrk="0" hangingPunct="1">
              <a:spcBef>
                <a:spcPct val="20000"/>
              </a:spcBef>
              <a:buFont typeface="Arial"/>
              <a:buChar char="–"/>
              <a:defRPr sz="2800" kern="1200">
                <a:solidFill>
                  <a:schemeClr val="tx1"/>
                </a:solidFill>
                <a:latin typeface="+mn-lt"/>
                <a:ea typeface="+mn-ea"/>
                <a:cs typeface="+mn-cs"/>
              </a:defRPr>
            </a:lvl2pPr>
            <a:lvl3pPr marL="1142830" indent="-228564" algn="l" defTabSz="457130" rtl="0" eaLnBrk="1" latinLnBrk="0" hangingPunct="1">
              <a:spcBef>
                <a:spcPct val="20000"/>
              </a:spcBef>
              <a:buFont typeface="Arial"/>
              <a:buChar char="•"/>
              <a:defRPr sz="2400" kern="1200">
                <a:solidFill>
                  <a:schemeClr val="tx1"/>
                </a:solidFill>
                <a:latin typeface="+mn-lt"/>
                <a:ea typeface="+mn-ea"/>
                <a:cs typeface="+mn-cs"/>
              </a:defRPr>
            </a:lvl3pPr>
            <a:lvl4pPr marL="1599960" indent="-228564" algn="l" defTabSz="457130" rtl="0" eaLnBrk="1" latinLnBrk="0" hangingPunct="1">
              <a:spcBef>
                <a:spcPct val="20000"/>
              </a:spcBef>
              <a:buFont typeface="Arial"/>
              <a:buChar char="–"/>
              <a:defRPr sz="2000" kern="1200">
                <a:solidFill>
                  <a:schemeClr val="tx1"/>
                </a:solidFill>
                <a:latin typeface="+mn-lt"/>
                <a:ea typeface="+mn-ea"/>
                <a:cs typeface="+mn-cs"/>
              </a:defRPr>
            </a:lvl4pPr>
            <a:lvl5pPr marL="2057093" indent="-228564" algn="l" defTabSz="457130" rtl="0" eaLnBrk="1" latinLnBrk="0" hangingPunct="1">
              <a:spcBef>
                <a:spcPct val="20000"/>
              </a:spcBef>
              <a:buFont typeface="Arial"/>
              <a:buChar char="»"/>
              <a:defRPr sz="2000" kern="1200">
                <a:solidFill>
                  <a:schemeClr val="tx1"/>
                </a:solidFill>
                <a:latin typeface="+mn-lt"/>
                <a:ea typeface="+mn-ea"/>
                <a:cs typeface="+mn-cs"/>
              </a:defRPr>
            </a:lvl5pPr>
            <a:lvl6pPr marL="2514222" indent="-228564" algn="l" defTabSz="457130" rtl="0" eaLnBrk="1" latinLnBrk="0" hangingPunct="1">
              <a:spcBef>
                <a:spcPct val="20000"/>
              </a:spcBef>
              <a:buFont typeface="Arial"/>
              <a:buChar char="•"/>
              <a:defRPr sz="2000" kern="1200">
                <a:solidFill>
                  <a:schemeClr val="tx1"/>
                </a:solidFill>
                <a:latin typeface="+mn-lt"/>
                <a:ea typeface="+mn-ea"/>
                <a:cs typeface="+mn-cs"/>
              </a:defRPr>
            </a:lvl6pPr>
            <a:lvl7pPr marL="2971356" indent="-228564" algn="l" defTabSz="457130" rtl="0" eaLnBrk="1" latinLnBrk="0" hangingPunct="1">
              <a:spcBef>
                <a:spcPct val="20000"/>
              </a:spcBef>
              <a:buFont typeface="Arial"/>
              <a:buChar char="•"/>
              <a:defRPr sz="2000" kern="1200">
                <a:solidFill>
                  <a:schemeClr val="tx1"/>
                </a:solidFill>
                <a:latin typeface="+mn-lt"/>
                <a:ea typeface="+mn-ea"/>
                <a:cs typeface="+mn-cs"/>
              </a:defRPr>
            </a:lvl7pPr>
            <a:lvl8pPr marL="3428487" indent="-228564" algn="l" defTabSz="457130" rtl="0" eaLnBrk="1" latinLnBrk="0" hangingPunct="1">
              <a:spcBef>
                <a:spcPct val="20000"/>
              </a:spcBef>
              <a:buFont typeface="Arial"/>
              <a:buChar char="•"/>
              <a:defRPr sz="2000" kern="1200">
                <a:solidFill>
                  <a:schemeClr val="tx1"/>
                </a:solidFill>
                <a:latin typeface="+mn-lt"/>
                <a:ea typeface="+mn-ea"/>
                <a:cs typeface="+mn-cs"/>
              </a:defRPr>
            </a:lvl8pPr>
            <a:lvl9pPr marL="3885618" indent="-228564" algn="l" defTabSz="457130" rtl="0" eaLnBrk="1" latinLnBrk="0" hangingPunct="1">
              <a:spcBef>
                <a:spcPct val="20000"/>
              </a:spcBef>
              <a:buFont typeface="Arial"/>
              <a:buChar char="•"/>
              <a:defRPr sz="2000" kern="1200">
                <a:solidFill>
                  <a:schemeClr val="tx1"/>
                </a:solidFill>
                <a:latin typeface="+mn-lt"/>
                <a:ea typeface="+mn-ea"/>
                <a:cs typeface="+mn-cs"/>
              </a:defRPr>
            </a:lvl9pPr>
          </a:lstStyle>
          <a:p>
            <a:r>
              <a:rPr lang="en-GB" sz="2800" dirty="0"/>
              <a:t>USEF implemented</a:t>
            </a:r>
          </a:p>
        </p:txBody>
      </p:sp>
      <p:pic>
        <p:nvPicPr>
          <p:cNvPr id="7" name="Picture 2" descr="http://www.startpagina.nl/athene/dochters/gemeente-heerhugowaard/images/pnb-heerhugowaard.jpg"/>
          <p:cNvPicPr>
            <a:picLocks noChangeAspect="1" noChangeArrowheads="1"/>
          </p:cNvPicPr>
          <p:nvPr/>
        </p:nvPicPr>
        <p:blipFill rotWithShape="1">
          <a:blip r:embed="rId5">
            <a:extLst>
              <a:ext uri="{28A0092B-C50C-407E-A947-70E740481C1C}">
                <a14:useLocalDpi xmlns:a14="http://schemas.microsoft.com/office/drawing/2010/main" val="0"/>
              </a:ext>
            </a:extLst>
          </a:blip>
          <a:srcRect l="4095" t="47342" r="9646" b="22633"/>
          <a:stretch/>
        </p:blipFill>
        <p:spPr bwMode="auto">
          <a:xfrm>
            <a:off x="814978" y="1810645"/>
            <a:ext cx="936781" cy="218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060988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p:cNvSpPr>
            <a:spLocks noGrp="1"/>
          </p:cNvSpPr>
          <p:nvPr>
            <p:ph type="ftr" sz="quarter" idx="10"/>
          </p:nvPr>
        </p:nvSpPr>
        <p:spPr/>
        <p:txBody>
          <a:bodyPr/>
          <a:lstStyle/>
          <a:p>
            <a:endParaRPr lang="en-GB" dirty="0" smtClean="0"/>
          </a:p>
        </p:txBody>
      </p:sp>
      <p:sp>
        <p:nvSpPr>
          <p:cNvPr id="3" name="Tijdelijke aanduiding voor tekst 2"/>
          <p:cNvSpPr>
            <a:spLocks noGrp="1"/>
          </p:cNvSpPr>
          <p:nvPr>
            <p:ph type="body" sz="quarter" idx="11"/>
          </p:nvPr>
        </p:nvSpPr>
        <p:spPr>
          <a:xfrm>
            <a:off x="2427006" y="1239140"/>
            <a:ext cx="6477282" cy="453435"/>
          </a:xfrm>
        </p:spPr>
        <p:txBody>
          <a:bodyPr/>
          <a:lstStyle/>
          <a:p>
            <a:r>
              <a:rPr lang="en-US" dirty="0" smtClean="0">
                <a:cs typeface="Arial" panose="020B0604020202020204" pitchFamily="34" charset="0"/>
              </a:rPr>
              <a:t>Devices </a:t>
            </a:r>
            <a:r>
              <a:rPr lang="en-US" dirty="0">
                <a:cs typeface="Arial" panose="020B0604020202020204" pitchFamily="34" charset="0"/>
              </a:rPr>
              <a:t>are controlled automatically by the </a:t>
            </a:r>
            <a:r>
              <a:rPr lang="en-US" dirty="0" smtClean="0">
                <a:cs typeface="Arial" panose="020B0604020202020204" pitchFamily="34" charset="0"/>
              </a:rPr>
              <a:t>Aggregator</a:t>
            </a:r>
            <a:endParaRPr lang="en-GB" dirty="0"/>
          </a:p>
        </p:txBody>
      </p:sp>
      <p:pic>
        <p:nvPicPr>
          <p:cNvPr id="14" name="Picture 2" descr="https://www.energiekoplopers.nl/wp-content/uploads/2015/05/Logo_Energie_koplopers_met_pay_off.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450" y="911525"/>
            <a:ext cx="2085975" cy="781050"/>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69"/>
          <p:cNvCxnSpPr/>
          <p:nvPr/>
        </p:nvCxnSpPr>
        <p:spPr>
          <a:xfrm flipH="1">
            <a:off x="5151108" y="3448282"/>
            <a:ext cx="1258514" cy="0"/>
          </a:xfrm>
          <a:prstGeom prst="line">
            <a:avLst/>
          </a:prstGeom>
          <a:noFill/>
          <a:ln w="12700">
            <a:solidFill>
              <a:schemeClr val="accent4"/>
            </a:solidFill>
          </a:ln>
          <a:effectLst/>
        </p:spPr>
        <p:style>
          <a:lnRef idx="1">
            <a:schemeClr val="accent1"/>
          </a:lnRef>
          <a:fillRef idx="3">
            <a:schemeClr val="accent1"/>
          </a:fillRef>
          <a:effectRef idx="2">
            <a:schemeClr val="accent1"/>
          </a:effectRef>
          <a:fontRef idx="minor">
            <a:schemeClr val="lt1"/>
          </a:fontRef>
        </p:style>
      </p:cxnSp>
      <p:cxnSp>
        <p:nvCxnSpPr>
          <p:cNvPr id="17" name="Straight Connector 68"/>
          <p:cNvCxnSpPr/>
          <p:nvPr/>
        </p:nvCxnSpPr>
        <p:spPr>
          <a:xfrm flipH="1">
            <a:off x="5151108" y="2358065"/>
            <a:ext cx="1258514" cy="0"/>
          </a:xfrm>
          <a:prstGeom prst="line">
            <a:avLst/>
          </a:prstGeom>
          <a:noFill/>
          <a:ln w="12700">
            <a:solidFill>
              <a:schemeClr val="accent4"/>
            </a:solidFill>
          </a:ln>
          <a:effectLst/>
        </p:spPr>
        <p:style>
          <a:lnRef idx="1">
            <a:schemeClr val="accent1"/>
          </a:lnRef>
          <a:fillRef idx="3">
            <a:schemeClr val="accent1"/>
          </a:fillRef>
          <a:effectRef idx="2">
            <a:schemeClr val="accent1"/>
          </a:effectRef>
          <a:fontRef idx="minor">
            <a:schemeClr val="lt1"/>
          </a:fontRef>
        </p:style>
      </p:cxnSp>
      <p:grpSp>
        <p:nvGrpSpPr>
          <p:cNvPr id="18" name="Group 54"/>
          <p:cNvGrpSpPr/>
          <p:nvPr/>
        </p:nvGrpSpPr>
        <p:grpSpPr>
          <a:xfrm>
            <a:off x="6419355" y="2081549"/>
            <a:ext cx="2313492" cy="518801"/>
            <a:chOff x="1113839" y="3350564"/>
            <a:chExt cx="2997586" cy="659971"/>
          </a:xfrm>
        </p:grpSpPr>
        <p:grpSp>
          <p:nvGrpSpPr>
            <p:cNvPr id="74" name="Group 55"/>
            <p:cNvGrpSpPr/>
            <p:nvPr/>
          </p:nvGrpSpPr>
          <p:grpSpPr>
            <a:xfrm>
              <a:off x="2028192" y="3350564"/>
              <a:ext cx="2083233" cy="659971"/>
              <a:chOff x="6893612" y="1995291"/>
              <a:chExt cx="2083233" cy="659971"/>
            </a:xfrm>
          </p:grpSpPr>
          <p:sp>
            <p:nvSpPr>
              <p:cNvPr id="76" name="Rectangle 57"/>
              <p:cNvSpPr/>
              <p:nvPr/>
            </p:nvSpPr>
            <p:spPr>
              <a:xfrm>
                <a:off x="6893612" y="2007262"/>
                <a:ext cx="1980000" cy="648000"/>
              </a:xfrm>
              <a:prstGeom prst="rect">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latin typeface="Calibri" pitchFamily="34" charset="0"/>
                </a:endParaRPr>
              </a:p>
            </p:txBody>
          </p:sp>
          <p:grpSp>
            <p:nvGrpSpPr>
              <p:cNvPr id="77" name="Group 58"/>
              <p:cNvGrpSpPr/>
              <p:nvPr/>
            </p:nvGrpSpPr>
            <p:grpSpPr>
              <a:xfrm>
                <a:off x="6915259" y="1995291"/>
                <a:ext cx="2061586" cy="578610"/>
                <a:chOff x="6874315" y="1408540"/>
                <a:chExt cx="2061586" cy="578610"/>
              </a:xfrm>
            </p:grpSpPr>
            <p:pic>
              <p:nvPicPr>
                <p:cNvPr id="78" name="Afbeelding 22"/>
                <p:cNvPicPr>
                  <a:picLocks noChangeAspect="1"/>
                </p:cNvPicPr>
                <p:nvPr/>
              </p:nvPicPr>
              <p:blipFill rotWithShape="1">
                <a:blip r:embed="rId7">
                  <a:extLst>
                    <a:ext uri="{28A0092B-C50C-407E-A947-70E740481C1C}">
                      <a14:useLocalDpi xmlns:a14="http://schemas.microsoft.com/office/drawing/2010/main" val="0"/>
                    </a:ext>
                  </a:extLst>
                </a:blip>
                <a:srcRect r="49972"/>
                <a:stretch/>
              </p:blipFill>
              <p:spPr>
                <a:xfrm>
                  <a:off x="6874315" y="1533455"/>
                  <a:ext cx="628088" cy="453695"/>
                </a:xfrm>
                <a:prstGeom prst="rect">
                  <a:avLst/>
                </a:prstGeom>
              </p:spPr>
            </p:pic>
            <p:sp>
              <p:nvSpPr>
                <p:cNvPr id="79" name="TextBox 60"/>
                <p:cNvSpPr txBox="1"/>
                <p:nvPr/>
              </p:nvSpPr>
              <p:spPr>
                <a:xfrm>
                  <a:off x="7443522" y="1408540"/>
                  <a:ext cx="1492379" cy="508983"/>
                </a:xfrm>
                <a:prstGeom prst="rect">
                  <a:avLst/>
                </a:prstGeom>
                <a:noFill/>
              </p:spPr>
              <p:txBody>
                <a:bodyPr wrap="square" rtlCol="0">
                  <a:spAutoFit/>
                </a:bodyPr>
                <a:lstStyle/>
                <a:p>
                  <a:r>
                    <a:rPr lang="en-GB" sz="1000" b="1" dirty="0">
                      <a:solidFill>
                        <a:srgbClr val="197AA0"/>
                      </a:solidFill>
                      <a:latin typeface="Calibri" pitchFamily="34" charset="0"/>
                    </a:rPr>
                    <a:t>Balance Responsible Party</a:t>
                  </a:r>
                </a:p>
              </p:txBody>
            </p:sp>
          </p:grpSp>
        </p:grpSp>
        <p:sp>
          <p:nvSpPr>
            <p:cNvPr id="75" name="Rectangle 56"/>
            <p:cNvSpPr/>
            <p:nvPr/>
          </p:nvSpPr>
          <p:spPr>
            <a:xfrm>
              <a:off x="1113839" y="3362535"/>
              <a:ext cx="936000" cy="648000"/>
            </a:xfrm>
            <a:prstGeom prst="rect">
              <a:avLst/>
            </a:prstGeom>
            <a:solidFill>
              <a:schemeClr val="accent2"/>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200" dirty="0">
                  <a:latin typeface="Calibri" pitchFamily="34" charset="0"/>
                </a:rPr>
                <a:t>Flex for imbalance correction</a:t>
              </a:r>
            </a:p>
          </p:txBody>
        </p:sp>
      </p:grpSp>
      <p:grpSp>
        <p:nvGrpSpPr>
          <p:cNvPr id="19" name="Group 61"/>
          <p:cNvGrpSpPr/>
          <p:nvPr/>
        </p:nvGrpSpPr>
        <p:grpSpPr>
          <a:xfrm>
            <a:off x="6427072" y="3171768"/>
            <a:ext cx="2263643" cy="553999"/>
            <a:chOff x="5903021" y="969942"/>
            <a:chExt cx="2932997" cy="704746"/>
          </a:xfrm>
        </p:grpSpPr>
        <p:grpSp>
          <p:nvGrpSpPr>
            <p:cNvPr id="68" name="Group 62"/>
            <p:cNvGrpSpPr/>
            <p:nvPr/>
          </p:nvGrpSpPr>
          <p:grpSpPr>
            <a:xfrm>
              <a:off x="6839020" y="969942"/>
              <a:ext cx="1996998" cy="704746"/>
              <a:chOff x="6839020" y="969942"/>
              <a:chExt cx="1996998" cy="704746"/>
            </a:xfrm>
          </p:grpSpPr>
          <p:sp>
            <p:nvSpPr>
              <p:cNvPr id="70" name="Rectangle 64"/>
              <p:cNvSpPr/>
              <p:nvPr/>
            </p:nvSpPr>
            <p:spPr>
              <a:xfrm>
                <a:off x="6839020" y="997706"/>
                <a:ext cx="1980000" cy="648000"/>
              </a:xfrm>
              <a:prstGeom prst="rect">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nvGrpSpPr>
              <p:cNvPr id="71" name="Group 65"/>
              <p:cNvGrpSpPr/>
              <p:nvPr/>
            </p:nvGrpSpPr>
            <p:grpSpPr>
              <a:xfrm>
                <a:off x="6878899" y="969942"/>
                <a:ext cx="1957119" cy="704746"/>
                <a:chOff x="6824307" y="2136419"/>
                <a:chExt cx="1957119" cy="704746"/>
              </a:xfrm>
            </p:grpSpPr>
            <p:pic>
              <p:nvPicPr>
                <p:cNvPr id="72" name="Afbeelding 71"/>
                <p:cNvPicPr>
                  <a:picLocks noChangeAspect="1"/>
                </p:cNvPicPr>
                <p:nvPr/>
              </p:nvPicPr>
              <p:blipFill rotWithShape="1">
                <a:blip r:embed="rId8">
                  <a:extLst>
                    <a:ext uri="{28A0092B-C50C-407E-A947-70E740481C1C}">
                      <a14:useLocalDpi xmlns:a14="http://schemas.microsoft.com/office/drawing/2010/main" val="0"/>
                    </a:ext>
                  </a:extLst>
                </a:blip>
                <a:srcRect r="39899"/>
                <a:stretch/>
              </p:blipFill>
              <p:spPr>
                <a:xfrm>
                  <a:off x="6824307" y="2272739"/>
                  <a:ext cx="728104" cy="430887"/>
                </a:xfrm>
                <a:prstGeom prst="rect">
                  <a:avLst/>
                </a:prstGeom>
              </p:spPr>
            </p:pic>
            <p:sp>
              <p:nvSpPr>
                <p:cNvPr id="73" name="TextBox 67"/>
                <p:cNvSpPr txBox="1"/>
                <p:nvPr/>
              </p:nvSpPr>
              <p:spPr>
                <a:xfrm>
                  <a:off x="7457170" y="2136419"/>
                  <a:ext cx="1324256" cy="704746"/>
                </a:xfrm>
                <a:prstGeom prst="rect">
                  <a:avLst/>
                </a:prstGeom>
                <a:noFill/>
              </p:spPr>
              <p:txBody>
                <a:bodyPr wrap="square" rtlCol="0">
                  <a:spAutoFit/>
                </a:bodyPr>
                <a:lstStyle/>
                <a:p>
                  <a:r>
                    <a:rPr lang="en-GB" sz="1000" b="1" dirty="0">
                      <a:latin typeface="Calibri" pitchFamily="34" charset="0"/>
                    </a:rPr>
                    <a:t>Distribution System Operator</a:t>
                  </a:r>
                </a:p>
              </p:txBody>
            </p:sp>
          </p:grpSp>
        </p:grpSp>
        <p:sp>
          <p:nvSpPr>
            <p:cNvPr id="69" name="Rectangle 63"/>
            <p:cNvSpPr/>
            <p:nvPr/>
          </p:nvSpPr>
          <p:spPr>
            <a:xfrm>
              <a:off x="5903021" y="997704"/>
              <a:ext cx="975879" cy="647999"/>
            </a:xfrm>
            <a:prstGeom prst="rect">
              <a:avLst/>
            </a:prstGeom>
            <a:solidFill>
              <a:schemeClr val="accent2"/>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200" dirty="0">
                  <a:latin typeface="Calibri" pitchFamily="34" charset="0"/>
                </a:rPr>
                <a:t>Flex to prevent congestion</a:t>
              </a:r>
            </a:p>
          </p:txBody>
        </p:sp>
      </p:grpSp>
      <p:cxnSp>
        <p:nvCxnSpPr>
          <p:cNvPr id="20" name="Straight Connector 75"/>
          <p:cNvCxnSpPr/>
          <p:nvPr/>
        </p:nvCxnSpPr>
        <p:spPr>
          <a:xfrm flipH="1">
            <a:off x="3410357" y="2895955"/>
            <a:ext cx="833528" cy="0"/>
          </a:xfrm>
          <a:prstGeom prst="line">
            <a:avLst/>
          </a:prstGeom>
          <a:noFill/>
          <a:ln w="12700">
            <a:solidFill>
              <a:schemeClr val="accent4"/>
            </a:solidFill>
          </a:ln>
          <a:effectLst/>
        </p:spPr>
        <p:style>
          <a:lnRef idx="1">
            <a:schemeClr val="accent1"/>
          </a:lnRef>
          <a:fillRef idx="3">
            <a:schemeClr val="accent1"/>
          </a:fillRef>
          <a:effectRef idx="2">
            <a:schemeClr val="accent1"/>
          </a:effectRef>
          <a:fontRef idx="minor">
            <a:schemeClr val="lt1"/>
          </a:fontRef>
        </p:style>
      </p:cxnSp>
      <p:grpSp>
        <p:nvGrpSpPr>
          <p:cNvPr id="23" name="Group 82"/>
          <p:cNvGrpSpPr/>
          <p:nvPr/>
        </p:nvGrpSpPr>
        <p:grpSpPr>
          <a:xfrm rot="5400000">
            <a:off x="3169215" y="2798967"/>
            <a:ext cx="198096" cy="194490"/>
            <a:chOff x="730687" y="3210324"/>
            <a:chExt cx="252000" cy="252000"/>
          </a:xfrm>
          <a:solidFill>
            <a:schemeClr val="bg1"/>
          </a:solidFill>
        </p:grpSpPr>
        <p:sp>
          <p:nvSpPr>
            <p:cNvPr id="62" name="Rechthoek 11"/>
            <p:cNvSpPr>
              <a:spLocks/>
            </p:cNvSpPr>
            <p:nvPr/>
          </p:nvSpPr>
          <p:spPr>
            <a:xfrm>
              <a:off x="730687" y="3210324"/>
              <a:ext cx="252000" cy="252000"/>
            </a:xfrm>
            <a:prstGeom prst="rect">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63" name="Isosceles Triangle 1026"/>
            <p:cNvSpPr/>
            <p:nvPr/>
          </p:nvSpPr>
          <p:spPr>
            <a:xfrm>
              <a:off x="782180" y="3297802"/>
              <a:ext cx="149015" cy="770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grp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Calibri" pitchFamily="34" charset="0"/>
              </a:endParaRPr>
            </a:p>
          </p:txBody>
        </p:sp>
      </p:grpSp>
      <p:grpSp>
        <p:nvGrpSpPr>
          <p:cNvPr id="24" name="Group 85"/>
          <p:cNvGrpSpPr/>
          <p:nvPr/>
        </p:nvGrpSpPr>
        <p:grpSpPr>
          <a:xfrm>
            <a:off x="2167358" y="2273369"/>
            <a:ext cx="1222508" cy="1245177"/>
            <a:chOff x="789278" y="2166444"/>
            <a:chExt cx="2571636" cy="2571636"/>
          </a:xfrm>
        </p:grpSpPr>
        <p:sp>
          <p:nvSpPr>
            <p:cNvPr id="56" name="Oval 86"/>
            <p:cNvSpPr/>
            <p:nvPr/>
          </p:nvSpPr>
          <p:spPr>
            <a:xfrm>
              <a:off x="789278" y="2166444"/>
              <a:ext cx="2571636" cy="2571636"/>
            </a:xfrm>
            <a:prstGeom prst="ellipse">
              <a:avLst/>
            </a:prstGeom>
            <a:solidFill>
              <a:schemeClr val="bg1"/>
            </a:solidFill>
            <a:ln w="571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57" name="Freeform 87"/>
            <p:cNvSpPr>
              <a:spLocks noEditPoints="1"/>
            </p:cNvSpPr>
            <p:nvPr/>
          </p:nvSpPr>
          <p:spPr bwMode="auto">
            <a:xfrm>
              <a:off x="2067325" y="2936035"/>
              <a:ext cx="904037" cy="859777"/>
            </a:xfrm>
            <a:custGeom>
              <a:avLst/>
              <a:gdLst>
                <a:gd name="T0" fmla="*/ 734 w 1277"/>
                <a:gd name="T1" fmla="*/ 57 h 1214"/>
                <a:gd name="T2" fmla="*/ 751 w 1277"/>
                <a:gd name="T3" fmla="*/ 60 h 1214"/>
                <a:gd name="T4" fmla="*/ 785 w 1277"/>
                <a:gd name="T5" fmla="*/ 73 h 1214"/>
                <a:gd name="T6" fmla="*/ 800 w 1277"/>
                <a:gd name="T7" fmla="*/ 76 h 1214"/>
                <a:gd name="T8" fmla="*/ 826 w 1277"/>
                <a:gd name="T9" fmla="*/ 76 h 1214"/>
                <a:gd name="T10" fmla="*/ 847 w 1277"/>
                <a:gd name="T11" fmla="*/ 68 h 1214"/>
                <a:gd name="T12" fmla="*/ 858 w 1277"/>
                <a:gd name="T13" fmla="*/ 60 h 1214"/>
                <a:gd name="T14" fmla="*/ 870 w 1277"/>
                <a:gd name="T15" fmla="*/ 50 h 1214"/>
                <a:gd name="T16" fmla="*/ 870 w 1277"/>
                <a:gd name="T17" fmla="*/ 50 h 1214"/>
                <a:gd name="T18" fmla="*/ 873 w 1277"/>
                <a:gd name="T19" fmla="*/ 48 h 1214"/>
                <a:gd name="T20" fmla="*/ 882 w 1277"/>
                <a:gd name="T21" fmla="*/ 39 h 1214"/>
                <a:gd name="T22" fmla="*/ 908 w 1277"/>
                <a:gd name="T23" fmla="*/ 18 h 1214"/>
                <a:gd name="T24" fmla="*/ 956 w 1277"/>
                <a:gd name="T25" fmla="*/ 1 h 1214"/>
                <a:gd name="T26" fmla="*/ 971 w 1277"/>
                <a:gd name="T27" fmla="*/ 5 h 1214"/>
                <a:gd name="T28" fmla="*/ 1003 w 1277"/>
                <a:gd name="T29" fmla="*/ 26 h 1214"/>
                <a:gd name="T30" fmla="*/ 1020 w 1277"/>
                <a:gd name="T31" fmla="*/ 51 h 1214"/>
                <a:gd name="T32" fmla="*/ 1019 w 1277"/>
                <a:gd name="T33" fmla="*/ 57 h 1214"/>
                <a:gd name="T34" fmla="*/ 989 w 1277"/>
                <a:gd name="T35" fmla="*/ 45 h 1214"/>
                <a:gd name="T36" fmla="*/ 961 w 1277"/>
                <a:gd name="T37" fmla="*/ 35 h 1214"/>
                <a:gd name="T38" fmla="*/ 951 w 1277"/>
                <a:gd name="T39" fmla="*/ 32 h 1214"/>
                <a:gd name="T40" fmla="*/ 914 w 1277"/>
                <a:gd name="T41" fmla="*/ 29 h 1214"/>
                <a:gd name="T42" fmla="*/ 892 w 1277"/>
                <a:gd name="T43" fmla="*/ 48 h 1214"/>
                <a:gd name="T44" fmla="*/ 887 w 1277"/>
                <a:gd name="T45" fmla="*/ 58 h 1214"/>
                <a:gd name="T46" fmla="*/ 886 w 1277"/>
                <a:gd name="T47" fmla="*/ 60 h 1214"/>
                <a:gd name="T48" fmla="*/ 886 w 1277"/>
                <a:gd name="T49" fmla="*/ 61 h 1214"/>
                <a:gd name="T50" fmla="*/ 885 w 1277"/>
                <a:gd name="T51" fmla="*/ 62 h 1214"/>
                <a:gd name="T52" fmla="*/ 867 w 1277"/>
                <a:gd name="T53" fmla="*/ 91 h 1214"/>
                <a:gd name="T54" fmla="*/ 835 w 1277"/>
                <a:gd name="T55" fmla="*/ 112 h 1214"/>
                <a:gd name="T56" fmla="*/ 784 w 1277"/>
                <a:gd name="T57" fmla="*/ 108 h 1214"/>
                <a:gd name="T58" fmla="*/ 752 w 1277"/>
                <a:gd name="T59" fmla="*/ 86 h 1214"/>
                <a:gd name="T60" fmla="*/ 1277 w 1277"/>
                <a:gd name="T61" fmla="*/ 910 h 1214"/>
                <a:gd name="T62" fmla="*/ 0 w 1277"/>
                <a:gd name="T63" fmla="*/ 1214 h 1214"/>
                <a:gd name="T64" fmla="*/ 87 w 1277"/>
                <a:gd name="T65" fmla="*/ 910 h 1214"/>
                <a:gd name="T66" fmla="*/ 332 w 1277"/>
                <a:gd name="T67" fmla="*/ 396 h 1214"/>
                <a:gd name="T68" fmla="*/ 577 w 1277"/>
                <a:gd name="T69" fmla="*/ 396 h 1214"/>
                <a:gd name="T70" fmla="*/ 822 w 1277"/>
                <a:gd name="T71" fmla="*/ 396 h 1214"/>
                <a:gd name="T72" fmla="*/ 907 w 1277"/>
                <a:gd name="T73" fmla="*/ 734 h 1214"/>
                <a:gd name="T74" fmla="*/ 1093 w 1277"/>
                <a:gd name="T75" fmla="*/ 136 h 1214"/>
                <a:gd name="T76" fmla="*/ 1227 w 1277"/>
                <a:gd name="T77" fmla="*/ 734 h 1214"/>
                <a:gd name="T78" fmla="*/ 1277 w 1277"/>
                <a:gd name="T79" fmla="*/ 910 h 1214"/>
                <a:gd name="T80" fmla="*/ 208 w 1277"/>
                <a:gd name="T81" fmla="*/ 778 h 1214"/>
                <a:gd name="T82" fmla="*/ 400 w 1277"/>
                <a:gd name="T83" fmla="*/ 956 h 1214"/>
                <a:gd name="T84" fmla="*/ 732 w 1277"/>
                <a:gd name="T85" fmla="*/ 778 h 1214"/>
                <a:gd name="T86" fmla="*/ 540 w 1277"/>
                <a:gd name="T87" fmla="*/ 956 h 1214"/>
                <a:gd name="T88" fmla="*/ 732 w 1277"/>
                <a:gd name="T89" fmla="*/ 778 h 1214"/>
                <a:gd name="T90" fmla="*/ 876 w 1277"/>
                <a:gd name="T91" fmla="*/ 778 h 1214"/>
                <a:gd name="T92" fmla="*/ 1069 w 1277"/>
                <a:gd name="T93" fmla="*/ 956 h 1214"/>
                <a:gd name="T94" fmla="*/ 1069 w 1277"/>
                <a:gd name="T95" fmla="*/ 778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7" h="1214">
                  <a:moveTo>
                    <a:pt x="741" y="71"/>
                  </a:moveTo>
                  <a:cubicBezTo>
                    <a:pt x="736" y="63"/>
                    <a:pt x="734" y="57"/>
                    <a:pt x="734" y="57"/>
                  </a:cubicBezTo>
                  <a:cubicBezTo>
                    <a:pt x="737" y="55"/>
                    <a:pt x="737" y="55"/>
                    <a:pt x="737" y="55"/>
                  </a:cubicBezTo>
                  <a:cubicBezTo>
                    <a:pt x="737" y="55"/>
                    <a:pt x="742" y="57"/>
                    <a:pt x="751" y="60"/>
                  </a:cubicBezTo>
                  <a:cubicBezTo>
                    <a:pt x="755" y="62"/>
                    <a:pt x="760" y="64"/>
                    <a:pt x="766" y="66"/>
                  </a:cubicBezTo>
                  <a:cubicBezTo>
                    <a:pt x="772" y="69"/>
                    <a:pt x="778" y="71"/>
                    <a:pt x="785" y="73"/>
                  </a:cubicBezTo>
                  <a:cubicBezTo>
                    <a:pt x="788" y="74"/>
                    <a:pt x="791" y="75"/>
                    <a:pt x="795" y="75"/>
                  </a:cubicBezTo>
                  <a:cubicBezTo>
                    <a:pt x="797" y="75"/>
                    <a:pt x="798" y="76"/>
                    <a:pt x="800" y="76"/>
                  </a:cubicBezTo>
                  <a:cubicBezTo>
                    <a:pt x="802" y="76"/>
                    <a:pt x="803" y="76"/>
                    <a:pt x="805" y="77"/>
                  </a:cubicBezTo>
                  <a:cubicBezTo>
                    <a:pt x="812" y="77"/>
                    <a:pt x="819" y="77"/>
                    <a:pt x="826" y="76"/>
                  </a:cubicBezTo>
                  <a:cubicBezTo>
                    <a:pt x="829" y="75"/>
                    <a:pt x="833" y="75"/>
                    <a:pt x="836" y="73"/>
                  </a:cubicBezTo>
                  <a:cubicBezTo>
                    <a:pt x="839" y="71"/>
                    <a:pt x="844" y="70"/>
                    <a:pt x="847" y="68"/>
                  </a:cubicBezTo>
                  <a:cubicBezTo>
                    <a:pt x="848" y="67"/>
                    <a:pt x="850" y="66"/>
                    <a:pt x="852" y="64"/>
                  </a:cubicBezTo>
                  <a:cubicBezTo>
                    <a:pt x="854" y="63"/>
                    <a:pt x="856" y="63"/>
                    <a:pt x="858" y="60"/>
                  </a:cubicBezTo>
                  <a:cubicBezTo>
                    <a:pt x="870" y="50"/>
                    <a:pt x="870" y="50"/>
                    <a:pt x="870" y="50"/>
                  </a:cubicBezTo>
                  <a:cubicBezTo>
                    <a:pt x="870" y="50"/>
                    <a:pt x="869" y="51"/>
                    <a:pt x="870" y="50"/>
                  </a:cubicBezTo>
                  <a:cubicBezTo>
                    <a:pt x="870" y="50"/>
                    <a:pt x="870" y="50"/>
                    <a:pt x="870" y="50"/>
                  </a:cubicBezTo>
                  <a:cubicBezTo>
                    <a:pt x="870" y="50"/>
                    <a:pt x="870" y="50"/>
                    <a:pt x="870" y="50"/>
                  </a:cubicBezTo>
                  <a:cubicBezTo>
                    <a:pt x="871" y="49"/>
                    <a:pt x="871" y="49"/>
                    <a:pt x="871" y="49"/>
                  </a:cubicBezTo>
                  <a:cubicBezTo>
                    <a:pt x="873" y="48"/>
                    <a:pt x="873" y="48"/>
                    <a:pt x="873" y="48"/>
                  </a:cubicBezTo>
                  <a:cubicBezTo>
                    <a:pt x="876" y="45"/>
                    <a:pt x="876" y="45"/>
                    <a:pt x="876" y="45"/>
                  </a:cubicBezTo>
                  <a:cubicBezTo>
                    <a:pt x="882" y="39"/>
                    <a:pt x="882" y="39"/>
                    <a:pt x="882" y="39"/>
                  </a:cubicBezTo>
                  <a:cubicBezTo>
                    <a:pt x="886" y="35"/>
                    <a:pt x="891" y="32"/>
                    <a:pt x="895" y="28"/>
                  </a:cubicBezTo>
                  <a:cubicBezTo>
                    <a:pt x="899" y="24"/>
                    <a:pt x="904" y="22"/>
                    <a:pt x="908" y="18"/>
                  </a:cubicBezTo>
                  <a:cubicBezTo>
                    <a:pt x="912" y="14"/>
                    <a:pt x="917" y="12"/>
                    <a:pt x="922" y="8"/>
                  </a:cubicBezTo>
                  <a:cubicBezTo>
                    <a:pt x="933" y="4"/>
                    <a:pt x="945" y="0"/>
                    <a:pt x="956" y="1"/>
                  </a:cubicBezTo>
                  <a:cubicBezTo>
                    <a:pt x="959" y="2"/>
                    <a:pt x="961" y="2"/>
                    <a:pt x="964" y="3"/>
                  </a:cubicBezTo>
                  <a:cubicBezTo>
                    <a:pt x="966" y="3"/>
                    <a:pt x="969" y="4"/>
                    <a:pt x="971" y="5"/>
                  </a:cubicBezTo>
                  <a:cubicBezTo>
                    <a:pt x="976" y="7"/>
                    <a:pt x="980" y="9"/>
                    <a:pt x="984" y="11"/>
                  </a:cubicBezTo>
                  <a:cubicBezTo>
                    <a:pt x="992" y="16"/>
                    <a:pt x="998" y="21"/>
                    <a:pt x="1003" y="26"/>
                  </a:cubicBezTo>
                  <a:cubicBezTo>
                    <a:pt x="1008" y="31"/>
                    <a:pt x="1012" y="36"/>
                    <a:pt x="1014" y="40"/>
                  </a:cubicBezTo>
                  <a:cubicBezTo>
                    <a:pt x="1017" y="44"/>
                    <a:pt x="1019" y="48"/>
                    <a:pt x="1020" y="51"/>
                  </a:cubicBezTo>
                  <a:cubicBezTo>
                    <a:pt x="1021" y="53"/>
                    <a:pt x="1021" y="55"/>
                    <a:pt x="1021" y="55"/>
                  </a:cubicBezTo>
                  <a:cubicBezTo>
                    <a:pt x="1019" y="57"/>
                    <a:pt x="1019" y="57"/>
                    <a:pt x="1019" y="57"/>
                  </a:cubicBezTo>
                  <a:cubicBezTo>
                    <a:pt x="1019" y="57"/>
                    <a:pt x="1013" y="55"/>
                    <a:pt x="1004" y="52"/>
                  </a:cubicBezTo>
                  <a:cubicBezTo>
                    <a:pt x="1000" y="50"/>
                    <a:pt x="995" y="48"/>
                    <a:pt x="989" y="45"/>
                  </a:cubicBezTo>
                  <a:cubicBezTo>
                    <a:pt x="984" y="43"/>
                    <a:pt x="977" y="41"/>
                    <a:pt x="971" y="38"/>
                  </a:cubicBezTo>
                  <a:cubicBezTo>
                    <a:pt x="968" y="37"/>
                    <a:pt x="964" y="36"/>
                    <a:pt x="961" y="35"/>
                  </a:cubicBezTo>
                  <a:cubicBezTo>
                    <a:pt x="959" y="35"/>
                    <a:pt x="957" y="34"/>
                    <a:pt x="956" y="33"/>
                  </a:cubicBezTo>
                  <a:cubicBezTo>
                    <a:pt x="954" y="33"/>
                    <a:pt x="952" y="33"/>
                    <a:pt x="951" y="32"/>
                  </a:cubicBezTo>
                  <a:cubicBezTo>
                    <a:pt x="944" y="30"/>
                    <a:pt x="936" y="28"/>
                    <a:pt x="927" y="27"/>
                  </a:cubicBezTo>
                  <a:cubicBezTo>
                    <a:pt x="923" y="27"/>
                    <a:pt x="918" y="27"/>
                    <a:pt x="914" y="29"/>
                  </a:cubicBezTo>
                  <a:cubicBezTo>
                    <a:pt x="910" y="31"/>
                    <a:pt x="905" y="33"/>
                    <a:pt x="902" y="36"/>
                  </a:cubicBezTo>
                  <a:cubicBezTo>
                    <a:pt x="898" y="40"/>
                    <a:pt x="895" y="43"/>
                    <a:pt x="892" y="48"/>
                  </a:cubicBezTo>
                  <a:cubicBezTo>
                    <a:pt x="889" y="54"/>
                    <a:pt x="889" y="54"/>
                    <a:pt x="889" y="54"/>
                  </a:cubicBezTo>
                  <a:cubicBezTo>
                    <a:pt x="887" y="58"/>
                    <a:pt x="887" y="58"/>
                    <a:pt x="887" y="58"/>
                  </a:cubicBezTo>
                  <a:cubicBezTo>
                    <a:pt x="886" y="60"/>
                    <a:pt x="886" y="60"/>
                    <a:pt x="886" y="60"/>
                  </a:cubicBezTo>
                  <a:cubicBezTo>
                    <a:pt x="886" y="60"/>
                    <a:pt x="886" y="60"/>
                    <a:pt x="886" y="60"/>
                  </a:cubicBezTo>
                  <a:cubicBezTo>
                    <a:pt x="886" y="61"/>
                    <a:pt x="886" y="61"/>
                    <a:pt x="886" y="61"/>
                  </a:cubicBezTo>
                  <a:cubicBezTo>
                    <a:pt x="886" y="61"/>
                    <a:pt x="886" y="61"/>
                    <a:pt x="886" y="61"/>
                  </a:cubicBezTo>
                  <a:cubicBezTo>
                    <a:pt x="886" y="61"/>
                    <a:pt x="886" y="61"/>
                    <a:pt x="886" y="61"/>
                  </a:cubicBezTo>
                  <a:cubicBezTo>
                    <a:pt x="886" y="61"/>
                    <a:pt x="885" y="62"/>
                    <a:pt x="885" y="62"/>
                  </a:cubicBezTo>
                  <a:cubicBezTo>
                    <a:pt x="879" y="77"/>
                    <a:pt x="879" y="77"/>
                    <a:pt x="879" y="77"/>
                  </a:cubicBezTo>
                  <a:cubicBezTo>
                    <a:pt x="876" y="81"/>
                    <a:pt x="871" y="87"/>
                    <a:pt x="867" y="91"/>
                  </a:cubicBezTo>
                  <a:cubicBezTo>
                    <a:pt x="863" y="97"/>
                    <a:pt x="858" y="100"/>
                    <a:pt x="853" y="104"/>
                  </a:cubicBezTo>
                  <a:cubicBezTo>
                    <a:pt x="847" y="107"/>
                    <a:pt x="841" y="109"/>
                    <a:pt x="835" y="112"/>
                  </a:cubicBezTo>
                  <a:cubicBezTo>
                    <a:pt x="823" y="116"/>
                    <a:pt x="810" y="116"/>
                    <a:pt x="799" y="113"/>
                  </a:cubicBezTo>
                  <a:cubicBezTo>
                    <a:pt x="793" y="112"/>
                    <a:pt x="788" y="111"/>
                    <a:pt x="784" y="108"/>
                  </a:cubicBezTo>
                  <a:cubicBezTo>
                    <a:pt x="779" y="106"/>
                    <a:pt x="775" y="104"/>
                    <a:pt x="771" y="101"/>
                  </a:cubicBezTo>
                  <a:cubicBezTo>
                    <a:pt x="763" y="96"/>
                    <a:pt x="757" y="91"/>
                    <a:pt x="752" y="86"/>
                  </a:cubicBezTo>
                  <a:cubicBezTo>
                    <a:pt x="748" y="81"/>
                    <a:pt x="744" y="76"/>
                    <a:pt x="741" y="71"/>
                  </a:cubicBezTo>
                  <a:close/>
                  <a:moveTo>
                    <a:pt x="1277" y="910"/>
                  </a:moveTo>
                  <a:cubicBezTo>
                    <a:pt x="1277" y="1214"/>
                    <a:pt x="1277" y="1214"/>
                    <a:pt x="1277" y="1214"/>
                  </a:cubicBezTo>
                  <a:cubicBezTo>
                    <a:pt x="0" y="1214"/>
                    <a:pt x="0" y="1214"/>
                    <a:pt x="0" y="1214"/>
                  </a:cubicBezTo>
                  <a:cubicBezTo>
                    <a:pt x="0" y="910"/>
                    <a:pt x="0" y="910"/>
                    <a:pt x="0" y="910"/>
                  </a:cubicBezTo>
                  <a:cubicBezTo>
                    <a:pt x="87" y="910"/>
                    <a:pt x="87" y="910"/>
                    <a:pt x="87" y="910"/>
                  </a:cubicBezTo>
                  <a:cubicBezTo>
                    <a:pt x="87" y="568"/>
                    <a:pt x="87" y="568"/>
                    <a:pt x="87" y="568"/>
                  </a:cubicBezTo>
                  <a:cubicBezTo>
                    <a:pt x="332" y="396"/>
                    <a:pt x="332" y="396"/>
                    <a:pt x="332" y="396"/>
                  </a:cubicBezTo>
                  <a:cubicBezTo>
                    <a:pt x="332" y="568"/>
                    <a:pt x="332" y="568"/>
                    <a:pt x="332" y="568"/>
                  </a:cubicBezTo>
                  <a:cubicBezTo>
                    <a:pt x="577" y="396"/>
                    <a:pt x="577" y="396"/>
                    <a:pt x="577" y="396"/>
                  </a:cubicBezTo>
                  <a:cubicBezTo>
                    <a:pt x="577" y="568"/>
                    <a:pt x="577" y="568"/>
                    <a:pt x="577" y="568"/>
                  </a:cubicBezTo>
                  <a:cubicBezTo>
                    <a:pt x="822" y="396"/>
                    <a:pt x="822" y="396"/>
                    <a:pt x="822" y="396"/>
                  </a:cubicBezTo>
                  <a:cubicBezTo>
                    <a:pt x="822" y="734"/>
                    <a:pt x="822" y="734"/>
                    <a:pt x="822" y="734"/>
                  </a:cubicBezTo>
                  <a:cubicBezTo>
                    <a:pt x="907" y="734"/>
                    <a:pt x="907" y="734"/>
                    <a:pt x="907" y="734"/>
                  </a:cubicBezTo>
                  <a:cubicBezTo>
                    <a:pt x="953" y="136"/>
                    <a:pt x="953" y="136"/>
                    <a:pt x="953" y="136"/>
                  </a:cubicBezTo>
                  <a:cubicBezTo>
                    <a:pt x="1093" y="136"/>
                    <a:pt x="1093" y="136"/>
                    <a:pt x="1093" y="136"/>
                  </a:cubicBezTo>
                  <a:cubicBezTo>
                    <a:pt x="1133" y="734"/>
                    <a:pt x="1133" y="734"/>
                    <a:pt x="1133" y="734"/>
                  </a:cubicBezTo>
                  <a:cubicBezTo>
                    <a:pt x="1227" y="734"/>
                    <a:pt x="1227" y="734"/>
                    <a:pt x="1227" y="734"/>
                  </a:cubicBezTo>
                  <a:cubicBezTo>
                    <a:pt x="1227" y="910"/>
                    <a:pt x="1227" y="910"/>
                    <a:pt x="1227" y="910"/>
                  </a:cubicBezTo>
                  <a:lnTo>
                    <a:pt x="1277" y="910"/>
                  </a:lnTo>
                  <a:close/>
                  <a:moveTo>
                    <a:pt x="400" y="778"/>
                  </a:moveTo>
                  <a:cubicBezTo>
                    <a:pt x="208" y="778"/>
                    <a:pt x="208" y="778"/>
                    <a:pt x="208" y="778"/>
                  </a:cubicBezTo>
                  <a:cubicBezTo>
                    <a:pt x="208" y="956"/>
                    <a:pt x="208" y="956"/>
                    <a:pt x="208" y="956"/>
                  </a:cubicBezTo>
                  <a:cubicBezTo>
                    <a:pt x="400" y="956"/>
                    <a:pt x="400" y="956"/>
                    <a:pt x="400" y="956"/>
                  </a:cubicBezTo>
                  <a:lnTo>
                    <a:pt x="400" y="778"/>
                  </a:lnTo>
                  <a:close/>
                  <a:moveTo>
                    <a:pt x="732" y="778"/>
                  </a:moveTo>
                  <a:cubicBezTo>
                    <a:pt x="540" y="778"/>
                    <a:pt x="540" y="778"/>
                    <a:pt x="540" y="778"/>
                  </a:cubicBezTo>
                  <a:cubicBezTo>
                    <a:pt x="540" y="956"/>
                    <a:pt x="540" y="956"/>
                    <a:pt x="540" y="956"/>
                  </a:cubicBezTo>
                  <a:cubicBezTo>
                    <a:pt x="732" y="956"/>
                    <a:pt x="732" y="956"/>
                    <a:pt x="732" y="956"/>
                  </a:cubicBezTo>
                  <a:lnTo>
                    <a:pt x="732" y="778"/>
                  </a:lnTo>
                  <a:close/>
                  <a:moveTo>
                    <a:pt x="1069" y="778"/>
                  </a:moveTo>
                  <a:cubicBezTo>
                    <a:pt x="876" y="778"/>
                    <a:pt x="876" y="778"/>
                    <a:pt x="876" y="778"/>
                  </a:cubicBezTo>
                  <a:cubicBezTo>
                    <a:pt x="876" y="956"/>
                    <a:pt x="876" y="956"/>
                    <a:pt x="876" y="956"/>
                  </a:cubicBezTo>
                  <a:cubicBezTo>
                    <a:pt x="1069" y="956"/>
                    <a:pt x="1069" y="956"/>
                    <a:pt x="1069" y="956"/>
                  </a:cubicBezTo>
                  <a:lnTo>
                    <a:pt x="1069" y="778"/>
                  </a:lnTo>
                  <a:close/>
                  <a:moveTo>
                    <a:pt x="1069" y="778"/>
                  </a:moveTo>
                  <a:cubicBezTo>
                    <a:pt x="1069" y="778"/>
                    <a:pt x="1069" y="778"/>
                    <a:pt x="1069" y="778"/>
                  </a:cubicBezTo>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8" name="Freeform 17"/>
            <p:cNvSpPr>
              <a:spLocks/>
            </p:cNvSpPr>
            <p:nvPr/>
          </p:nvSpPr>
          <p:spPr bwMode="auto">
            <a:xfrm flipH="1">
              <a:off x="1208950" y="3238057"/>
              <a:ext cx="632152" cy="579205"/>
            </a:xfrm>
            <a:custGeom>
              <a:avLst/>
              <a:gdLst>
                <a:gd name="T0" fmla="*/ 166 w 167"/>
                <a:gd name="T1" fmla="*/ 58 h 153"/>
                <a:gd name="T2" fmla="*/ 147 w 167"/>
                <a:gd name="T3" fmla="*/ 44 h 153"/>
                <a:gd name="T4" fmla="*/ 147 w 167"/>
                <a:gd name="T5" fmla="*/ 3 h 153"/>
                <a:gd name="T6" fmla="*/ 144 w 167"/>
                <a:gd name="T7" fmla="*/ 0 h 153"/>
                <a:gd name="T8" fmla="*/ 125 w 167"/>
                <a:gd name="T9" fmla="*/ 0 h 153"/>
                <a:gd name="T10" fmla="*/ 123 w 167"/>
                <a:gd name="T11" fmla="*/ 3 h 153"/>
                <a:gd name="T12" fmla="*/ 123 w 167"/>
                <a:gd name="T13" fmla="*/ 27 h 153"/>
                <a:gd name="T14" fmla="*/ 85 w 167"/>
                <a:gd name="T15" fmla="*/ 1 h 153"/>
                <a:gd name="T16" fmla="*/ 82 w 167"/>
                <a:gd name="T17" fmla="*/ 1 h 153"/>
                <a:gd name="T18" fmla="*/ 1 w 167"/>
                <a:gd name="T19" fmla="*/ 58 h 153"/>
                <a:gd name="T20" fmla="*/ 0 w 167"/>
                <a:gd name="T21" fmla="*/ 59 h 153"/>
                <a:gd name="T22" fmla="*/ 1 w 167"/>
                <a:gd name="T23" fmla="*/ 61 h 153"/>
                <a:gd name="T24" fmla="*/ 12 w 167"/>
                <a:gd name="T25" fmla="*/ 77 h 153"/>
                <a:gd name="T26" fmla="*/ 14 w 167"/>
                <a:gd name="T27" fmla="*/ 78 h 153"/>
                <a:gd name="T28" fmla="*/ 15 w 167"/>
                <a:gd name="T29" fmla="*/ 77 h 153"/>
                <a:gd name="T30" fmla="*/ 20 w 167"/>
                <a:gd name="T31" fmla="*/ 74 h 153"/>
                <a:gd name="T32" fmla="*/ 20 w 167"/>
                <a:gd name="T33" fmla="*/ 151 h 153"/>
                <a:gd name="T34" fmla="*/ 23 w 167"/>
                <a:gd name="T35" fmla="*/ 153 h 153"/>
                <a:gd name="T36" fmla="*/ 65 w 167"/>
                <a:gd name="T37" fmla="*/ 153 h 153"/>
                <a:gd name="T38" fmla="*/ 68 w 167"/>
                <a:gd name="T39" fmla="*/ 151 h 153"/>
                <a:gd name="T40" fmla="*/ 68 w 167"/>
                <a:gd name="T41" fmla="*/ 93 h 153"/>
                <a:gd name="T42" fmla="*/ 100 w 167"/>
                <a:gd name="T43" fmla="*/ 93 h 153"/>
                <a:gd name="T44" fmla="*/ 100 w 167"/>
                <a:gd name="T45" fmla="*/ 151 h 153"/>
                <a:gd name="T46" fmla="*/ 102 w 167"/>
                <a:gd name="T47" fmla="*/ 153 h 153"/>
                <a:gd name="T48" fmla="*/ 144 w 167"/>
                <a:gd name="T49" fmla="*/ 153 h 153"/>
                <a:gd name="T50" fmla="*/ 147 w 167"/>
                <a:gd name="T51" fmla="*/ 151 h 153"/>
                <a:gd name="T52" fmla="*/ 147 w 167"/>
                <a:gd name="T53" fmla="*/ 74 h 153"/>
                <a:gd name="T54" fmla="*/ 152 w 167"/>
                <a:gd name="T55" fmla="*/ 77 h 153"/>
                <a:gd name="T56" fmla="*/ 155 w 167"/>
                <a:gd name="T57" fmla="*/ 77 h 153"/>
                <a:gd name="T58" fmla="*/ 166 w 167"/>
                <a:gd name="T59" fmla="*/ 61 h 153"/>
                <a:gd name="T60" fmla="*/ 167 w 167"/>
                <a:gd name="T61" fmla="*/ 59 h 153"/>
                <a:gd name="T62" fmla="*/ 166 w 167"/>
                <a:gd name="T63" fmla="*/ 5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53">
                  <a:moveTo>
                    <a:pt x="166" y="58"/>
                  </a:moveTo>
                  <a:cubicBezTo>
                    <a:pt x="147" y="44"/>
                    <a:pt x="147" y="44"/>
                    <a:pt x="147" y="44"/>
                  </a:cubicBezTo>
                  <a:cubicBezTo>
                    <a:pt x="147" y="3"/>
                    <a:pt x="147" y="3"/>
                    <a:pt x="147" y="3"/>
                  </a:cubicBezTo>
                  <a:cubicBezTo>
                    <a:pt x="147" y="1"/>
                    <a:pt x="146" y="0"/>
                    <a:pt x="144" y="0"/>
                  </a:cubicBezTo>
                  <a:cubicBezTo>
                    <a:pt x="125" y="0"/>
                    <a:pt x="125" y="0"/>
                    <a:pt x="125" y="0"/>
                  </a:cubicBezTo>
                  <a:cubicBezTo>
                    <a:pt x="124" y="0"/>
                    <a:pt x="123" y="1"/>
                    <a:pt x="123" y="3"/>
                  </a:cubicBezTo>
                  <a:cubicBezTo>
                    <a:pt x="123" y="27"/>
                    <a:pt x="123" y="27"/>
                    <a:pt x="123" y="27"/>
                  </a:cubicBezTo>
                  <a:cubicBezTo>
                    <a:pt x="85" y="1"/>
                    <a:pt x="85" y="1"/>
                    <a:pt x="85" y="1"/>
                  </a:cubicBezTo>
                  <a:cubicBezTo>
                    <a:pt x="84" y="0"/>
                    <a:pt x="83" y="0"/>
                    <a:pt x="82" y="1"/>
                  </a:cubicBezTo>
                  <a:cubicBezTo>
                    <a:pt x="1" y="58"/>
                    <a:pt x="1" y="58"/>
                    <a:pt x="1" y="58"/>
                  </a:cubicBezTo>
                  <a:cubicBezTo>
                    <a:pt x="1" y="58"/>
                    <a:pt x="1" y="59"/>
                    <a:pt x="0" y="59"/>
                  </a:cubicBezTo>
                  <a:cubicBezTo>
                    <a:pt x="0" y="60"/>
                    <a:pt x="0" y="60"/>
                    <a:pt x="1" y="61"/>
                  </a:cubicBezTo>
                  <a:cubicBezTo>
                    <a:pt x="12" y="77"/>
                    <a:pt x="12" y="77"/>
                    <a:pt x="12" y="77"/>
                  </a:cubicBezTo>
                  <a:cubicBezTo>
                    <a:pt x="12" y="77"/>
                    <a:pt x="13" y="78"/>
                    <a:pt x="14" y="78"/>
                  </a:cubicBezTo>
                  <a:cubicBezTo>
                    <a:pt x="14" y="78"/>
                    <a:pt x="15" y="78"/>
                    <a:pt x="15" y="77"/>
                  </a:cubicBezTo>
                  <a:cubicBezTo>
                    <a:pt x="20" y="74"/>
                    <a:pt x="20" y="74"/>
                    <a:pt x="20" y="74"/>
                  </a:cubicBezTo>
                  <a:cubicBezTo>
                    <a:pt x="20" y="151"/>
                    <a:pt x="20" y="151"/>
                    <a:pt x="20" y="151"/>
                  </a:cubicBezTo>
                  <a:cubicBezTo>
                    <a:pt x="20" y="152"/>
                    <a:pt x="21" y="153"/>
                    <a:pt x="23" y="153"/>
                  </a:cubicBezTo>
                  <a:cubicBezTo>
                    <a:pt x="65" y="153"/>
                    <a:pt x="65" y="153"/>
                    <a:pt x="65" y="153"/>
                  </a:cubicBezTo>
                  <a:cubicBezTo>
                    <a:pt x="66" y="153"/>
                    <a:pt x="68" y="152"/>
                    <a:pt x="68" y="151"/>
                  </a:cubicBezTo>
                  <a:cubicBezTo>
                    <a:pt x="68" y="93"/>
                    <a:pt x="68" y="93"/>
                    <a:pt x="68" y="93"/>
                  </a:cubicBezTo>
                  <a:cubicBezTo>
                    <a:pt x="100" y="93"/>
                    <a:pt x="100" y="93"/>
                    <a:pt x="100" y="93"/>
                  </a:cubicBezTo>
                  <a:cubicBezTo>
                    <a:pt x="100" y="151"/>
                    <a:pt x="100" y="151"/>
                    <a:pt x="100" y="151"/>
                  </a:cubicBezTo>
                  <a:cubicBezTo>
                    <a:pt x="100" y="152"/>
                    <a:pt x="101" y="153"/>
                    <a:pt x="102" y="153"/>
                  </a:cubicBezTo>
                  <a:cubicBezTo>
                    <a:pt x="144" y="153"/>
                    <a:pt x="144" y="153"/>
                    <a:pt x="144" y="153"/>
                  </a:cubicBezTo>
                  <a:cubicBezTo>
                    <a:pt x="146" y="153"/>
                    <a:pt x="147" y="152"/>
                    <a:pt x="147" y="151"/>
                  </a:cubicBezTo>
                  <a:cubicBezTo>
                    <a:pt x="147" y="74"/>
                    <a:pt x="147" y="74"/>
                    <a:pt x="147" y="74"/>
                  </a:cubicBezTo>
                  <a:cubicBezTo>
                    <a:pt x="152" y="77"/>
                    <a:pt x="152" y="77"/>
                    <a:pt x="152" y="77"/>
                  </a:cubicBezTo>
                  <a:cubicBezTo>
                    <a:pt x="153" y="78"/>
                    <a:pt x="155" y="78"/>
                    <a:pt x="155" y="77"/>
                  </a:cubicBezTo>
                  <a:cubicBezTo>
                    <a:pt x="166" y="61"/>
                    <a:pt x="166" y="61"/>
                    <a:pt x="166" y="61"/>
                  </a:cubicBezTo>
                  <a:cubicBezTo>
                    <a:pt x="167" y="60"/>
                    <a:pt x="167" y="60"/>
                    <a:pt x="167" y="59"/>
                  </a:cubicBezTo>
                  <a:cubicBezTo>
                    <a:pt x="167" y="59"/>
                    <a:pt x="166" y="58"/>
                    <a:pt x="166" y="58"/>
                  </a:cubicBezTo>
                  <a:close/>
                </a:path>
              </a:pathLst>
            </a:custGeom>
            <a:solidFill>
              <a:srgbClr val="197AA0"/>
            </a:solidFill>
            <a:ln w="12700">
              <a:noFill/>
            </a:ln>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nvGrpSpPr>
            <p:cNvPr id="59" name="Group 89"/>
            <p:cNvGrpSpPr/>
            <p:nvPr/>
          </p:nvGrpSpPr>
          <p:grpSpPr>
            <a:xfrm>
              <a:off x="1670677" y="2611814"/>
              <a:ext cx="717184" cy="1781970"/>
              <a:chOff x="1586608" y="206374"/>
              <a:chExt cx="828675" cy="2058988"/>
            </a:xfrm>
            <a:solidFill>
              <a:schemeClr val="accent2"/>
            </a:solidFill>
          </p:grpSpPr>
          <p:sp>
            <p:nvSpPr>
              <p:cNvPr id="60" name="Freeform 3735"/>
              <p:cNvSpPr>
                <a:spLocks/>
              </p:cNvSpPr>
              <p:nvPr/>
            </p:nvSpPr>
            <p:spPr bwMode="auto">
              <a:xfrm>
                <a:off x="1586608" y="577849"/>
                <a:ext cx="828675" cy="1687513"/>
              </a:xfrm>
              <a:custGeom>
                <a:avLst/>
                <a:gdLst>
                  <a:gd name="T0" fmla="*/ 52 w 221"/>
                  <a:gd name="T1" fmla="*/ 425 h 450"/>
                  <a:gd name="T2" fmla="*/ 77 w 221"/>
                  <a:gd name="T3" fmla="*/ 450 h 450"/>
                  <a:gd name="T4" fmla="*/ 102 w 221"/>
                  <a:gd name="T5" fmla="*/ 425 h 450"/>
                  <a:gd name="T6" fmla="*/ 102 w 221"/>
                  <a:gd name="T7" fmla="*/ 214 h 450"/>
                  <a:gd name="T8" fmla="*/ 119 w 221"/>
                  <a:gd name="T9" fmla="*/ 214 h 450"/>
                  <a:gd name="T10" fmla="*/ 119 w 221"/>
                  <a:gd name="T11" fmla="*/ 425 h 450"/>
                  <a:gd name="T12" fmla="*/ 144 w 221"/>
                  <a:gd name="T13" fmla="*/ 450 h 450"/>
                  <a:gd name="T14" fmla="*/ 169 w 221"/>
                  <a:gd name="T15" fmla="*/ 425 h 450"/>
                  <a:gd name="T16" fmla="*/ 169 w 221"/>
                  <a:gd name="T17" fmla="*/ 62 h 450"/>
                  <a:gd name="T18" fmla="*/ 186 w 221"/>
                  <a:gd name="T19" fmla="*/ 62 h 450"/>
                  <a:gd name="T20" fmla="*/ 186 w 221"/>
                  <a:gd name="T21" fmla="*/ 196 h 450"/>
                  <a:gd name="T22" fmla="*/ 221 w 221"/>
                  <a:gd name="T23" fmla="*/ 196 h 450"/>
                  <a:gd name="T24" fmla="*/ 221 w 221"/>
                  <a:gd name="T25" fmla="*/ 59 h 450"/>
                  <a:gd name="T26" fmla="*/ 163 w 221"/>
                  <a:gd name="T27" fmla="*/ 0 h 450"/>
                  <a:gd name="T28" fmla="*/ 57 w 221"/>
                  <a:gd name="T29" fmla="*/ 0 h 450"/>
                  <a:gd name="T30" fmla="*/ 0 w 221"/>
                  <a:gd name="T31" fmla="*/ 58 h 450"/>
                  <a:gd name="T32" fmla="*/ 0 w 221"/>
                  <a:gd name="T33" fmla="*/ 196 h 450"/>
                  <a:gd name="T34" fmla="*/ 35 w 221"/>
                  <a:gd name="T35" fmla="*/ 196 h 450"/>
                  <a:gd name="T36" fmla="*/ 35 w 221"/>
                  <a:gd name="T37" fmla="*/ 62 h 450"/>
                  <a:gd name="T38" fmla="*/ 52 w 221"/>
                  <a:gd name="T39" fmla="*/ 62 h 450"/>
                  <a:gd name="T40" fmla="*/ 52 w 221"/>
                  <a:gd name="T41" fmla="*/ 42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1" h="450">
                    <a:moveTo>
                      <a:pt x="52" y="425"/>
                    </a:moveTo>
                    <a:cubicBezTo>
                      <a:pt x="52" y="439"/>
                      <a:pt x="63" y="450"/>
                      <a:pt x="77" y="450"/>
                    </a:cubicBezTo>
                    <a:cubicBezTo>
                      <a:pt x="91" y="450"/>
                      <a:pt x="102" y="439"/>
                      <a:pt x="102" y="425"/>
                    </a:cubicBezTo>
                    <a:cubicBezTo>
                      <a:pt x="102" y="214"/>
                      <a:pt x="102" y="214"/>
                      <a:pt x="102" y="214"/>
                    </a:cubicBezTo>
                    <a:cubicBezTo>
                      <a:pt x="119" y="214"/>
                      <a:pt x="119" y="214"/>
                      <a:pt x="119" y="214"/>
                    </a:cubicBezTo>
                    <a:cubicBezTo>
                      <a:pt x="119" y="425"/>
                      <a:pt x="119" y="425"/>
                      <a:pt x="119" y="425"/>
                    </a:cubicBezTo>
                    <a:cubicBezTo>
                      <a:pt x="119" y="439"/>
                      <a:pt x="130" y="450"/>
                      <a:pt x="144" y="450"/>
                    </a:cubicBezTo>
                    <a:cubicBezTo>
                      <a:pt x="158" y="450"/>
                      <a:pt x="169" y="439"/>
                      <a:pt x="169" y="425"/>
                    </a:cubicBezTo>
                    <a:cubicBezTo>
                      <a:pt x="169" y="62"/>
                      <a:pt x="169" y="62"/>
                      <a:pt x="169" y="62"/>
                    </a:cubicBezTo>
                    <a:cubicBezTo>
                      <a:pt x="186" y="62"/>
                      <a:pt x="186" y="62"/>
                      <a:pt x="186" y="62"/>
                    </a:cubicBezTo>
                    <a:cubicBezTo>
                      <a:pt x="186" y="196"/>
                      <a:pt x="186" y="196"/>
                      <a:pt x="186" y="196"/>
                    </a:cubicBezTo>
                    <a:cubicBezTo>
                      <a:pt x="186" y="222"/>
                      <a:pt x="221" y="222"/>
                      <a:pt x="221" y="196"/>
                    </a:cubicBezTo>
                    <a:cubicBezTo>
                      <a:pt x="221" y="59"/>
                      <a:pt x="221" y="59"/>
                      <a:pt x="221" y="59"/>
                    </a:cubicBezTo>
                    <a:cubicBezTo>
                      <a:pt x="221" y="29"/>
                      <a:pt x="198" y="0"/>
                      <a:pt x="163" y="0"/>
                    </a:cubicBezTo>
                    <a:cubicBezTo>
                      <a:pt x="57" y="0"/>
                      <a:pt x="57" y="0"/>
                      <a:pt x="57" y="0"/>
                    </a:cubicBezTo>
                    <a:cubicBezTo>
                      <a:pt x="25" y="0"/>
                      <a:pt x="0" y="26"/>
                      <a:pt x="0" y="58"/>
                    </a:cubicBezTo>
                    <a:cubicBezTo>
                      <a:pt x="0" y="196"/>
                      <a:pt x="0" y="196"/>
                      <a:pt x="0" y="196"/>
                    </a:cubicBezTo>
                    <a:cubicBezTo>
                      <a:pt x="0" y="222"/>
                      <a:pt x="35" y="222"/>
                      <a:pt x="35" y="196"/>
                    </a:cubicBezTo>
                    <a:cubicBezTo>
                      <a:pt x="35" y="62"/>
                      <a:pt x="35" y="62"/>
                      <a:pt x="35" y="62"/>
                    </a:cubicBezTo>
                    <a:cubicBezTo>
                      <a:pt x="52" y="62"/>
                      <a:pt x="52" y="62"/>
                      <a:pt x="52" y="62"/>
                    </a:cubicBezTo>
                    <a:lnTo>
                      <a:pt x="52" y="425"/>
                    </a:lnTo>
                    <a:close/>
                  </a:path>
                </a:pathLst>
              </a:cu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sp>
            <p:nvSpPr>
              <p:cNvPr id="61" name="Oval 3736"/>
              <p:cNvSpPr>
                <a:spLocks noChangeArrowheads="1"/>
              </p:cNvSpPr>
              <p:nvPr/>
            </p:nvSpPr>
            <p:spPr bwMode="auto">
              <a:xfrm>
                <a:off x="1834258" y="206374"/>
                <a:ext cx="333375" cy="336550"/>
              </a:xfrm>
              <a:prstGeom prst="ellipse">
                <a:avLst/>
              </a:prstGeom>
              <a:grpFill/>
              <a:ln w="12700">
                <a:noFill/>
              </a:ln>
              <a:effectLs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grpSp>
      <p:grpSp>
        <p:nvGrpSpPr>
          <p:cNvPr id="25" name="Group 95"/>
          <p:cNvGrpSpPr/>
          <p:nvPr/>
        </p:nvGrpSpPr>
        <p:grpSpPr>
          <a:xfrm>
            <a:off x="4155877" y="2299640"/>
            <a:ext cx="1420216" cy="1192632"/>
            <a:chOff x="1953764" y="1312170"/>
            <a:chExt cx="1389974" cy="1145986"/>
          </a:xfrm>
        </p:grpSpPr>
        <p:sp>
          <p:nvSpPr>
            <p:cNvPr id="50" name="Oval 96"/>
            <p:cNvSpPr/>
            <p:nvPr/>
          </p:nvSpPr>
          <p:spPr>
            <a:xfrm>
              <a:off x="2068934" y="1312170"/>
              <a:ext cx="1145986" cy="1145986"/>
            </a:xfrm>
            <a:prstGeom prst="ellipse">
              <a:avLst/>
            </a:prstGeom>
            <a:solidFill>
              <a:schemeClr val="bg1"/>
            </a:solidFill>
            <a:ln w="571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Calibri" pitchFamily="34" charset="0"/>
              </a:endParaRPr>
            </a:p>
          </p:txBody>
        </p:sp>
        <p:grpSp>
          <p:nvGrpSpPr>
            <p:cNvPr id="51" name="Group 59"/>
            <p:cNvGrpSpPr>
              <a:grpSpLocks noChangeAspect="1"/>
            </p:cNvGrpSpPr>
            <p:nvPr/>
          </p:nvGrpSpPr>
          <p:grpSpPr bwMode="auto">
            <a:xfrm>
              <a:off x="2241603" y="1860293"/>
              <a:ext cx="797539" cy="380011"/>
              <a:chOff x="2552" y="2004"/>
              <a:chExt cx="659" cy="314"/>
            </a:xfrm>
            <a:solidFill>
              <a:schemeClr val="accent2"/>
            </a:solidFill>
          </p:grpSpPr>
          <p:sp>
            <p:nvSpPr>
              <p:cNvPr id="53" name="Freeform 60"/>
              <p:cNvSpPr>
                <a:spLocks noEditPoints="1"/>
              </p:cNvSpPr>
              <p:nvPr/>
            </p:nvSpPr>
            <p:spPr bwMode="auto">
              <a:xfrm>
                <a:off x="2668" y="2004"/>
                <a:ext cx="428" cy="314"/>
              </a:xfrm>
              <a:custGeom>
                <a:avLst/>
                <a:gdLst>
                  <a:gd name="T0" fmla="*/ 181 w 181"/>
                  <a:gd name="T1" fmla="*/ 25 h 133"/>
                  <a:gd name="T2" fmla="*/ 117 w 181"/>
                  <a:gd name="T3" fmla="*/ 4 h 133"/>
                  <a:gd name="T4" fmla="*/ 59 w 181"/>
                  <a:gd name="T5" fmla="*/ 0 h 133"/>
                  <a:gd name="T6" fmla="*/ 0 w 181"/>
                  <a:gd name="T7" fmla="*/ 22 h 133"/>
                  <a:gd name="T8" fmla="*/ 12 w 181"/>
                  <a:gd name="T9" fmla="*/ 91 h 133"/>
                  <a:gd name="T10" fmla="*/ 20 w 181"/>
                  <a:gd name="T11" fmla="*/ 109 h 133"/>
                  <a:gd name="T12" fmla="*/ 32 w 181"/>
                  <a:gd name="T13" fmla="*/ 113 h 133"/>
                  <a:gd name="T14" fmla="*/ 48 w 181"/>
                  <a:gd name="T15" fmla="*/ 119 h 133"/>
                  <a:gd name="T16" fmla="*/ 61 w 181"/>
                  <a:gd name="T17" fmla="*/ 130 h 133"/>
                  <a:gd name="T18" fmla="*/ 79 w 181"/>
                  <a:gd name="T19" fmla="*/ 130 h 133"/>
                  <a:gd name="T20" fmla="*/ 91 w 181"/>
                  <a:gd name="T21" fmla="*/ 133 h 133"/>
                  <a:gd name="T22" fmla="*/ 100 w 181"/>
                  <a:gd name="T23" fmla="*/ 127 h 133"/>
                  <a:gd name="T24" fmla="*/ 116 w 181"/>
                  <a:gd name="T25" fmla="*/ 128 h 133"/>
                  <a:gd name="T26" fmla="*/ 122 w 181"/>
                  <a:gd name="T27" fmla="*/ 122 h 133"/>
                  <a:gd name="T28" fmla="*/ 142 w 181"/>
                  <a:gd name="T29" fmla="*/ 117 h 133"/>
                  <a:gd name="T30" fmla="*/ 144 w 181"/>
                  <a:gd name="T31" fmla="*/ 115 h 133"/>
                  <a:gd name="T32" fmla="*/ 155 w 181"/>
                  <a:gd name="T33" fmla="*/ 116 h 133"/>
                  <a:gd name="T34" fmla="*/ 164 w 181"/>
                  <a:gd name="T35" fmla="*/ 101 h 133"/>
                  <a:gd name="T36" fmla="*/ 158 w 181"/>
                  <a:gd name="T37" fmla="*/ 108 h 133"/>
                  <a:gd name="T38" fmla="*/ 153 w 181"/>
                  <a:gd name="T39" fmla="*/ 112 h 133"/>
                  <a:gd name="T40" fmla="*/ 142 w 181"/>
                  <a:gd name="T41" fmla="*/ 108 h 133"/>
                  <a:gd name="T42" fmla="*/ 118 w 181"/>
                  <a:gd name="T43" fmla="*/ 81 h 133"/>
                  <a:gd name="T44" fmla="*/ 138 w 181"/>
                  <a:gd name="T45" fmla="*/ 110 h 133"/>
                  <a:gd name="T46" fmla="*/ 133 w 181"/>
                  <a:gd name="T47" fmla="*/ 118 h 133"/>
                  <a:gd name="T48" fmla="*/ 122 w 181"/>
                  <a:gd name="T49" fmla="*/ 115 h 133"/>
                  <a:gd name="T50" fmla="*/ 98 w 181"/>
                  <a:gd name="T51" fmla="*/ 88 h 133"/>
                  <a:gd name="T52" fmla="*/ 117 w 181"/>
                  <a:gd name="T53" fmla="*/ 117 h 133"/>
                  <a:gd name="T54" fmla="*/ 114 w 181"/>
                  <a:gd name="T55" fmla="*/ 123 h 133"/>
                  <a:gd name="T56" fmla="*/ 109 w 181"/>
                  <a:gd name="T57" fmla="*/ 125 h 133"/>
                  <a:gd name="T58" fmla="*/ 97 w 181"/>
                  <a:gd name="T59" fmla="*/ 118 h 133"/>
                  <a:gd name="T60" fmla="*/ 75 w 181"/>
                  <a:gd name="T61" fmla="*/ 95 h 133"/>
                  <a:gd name="T62" fmla="*/ 94 w 181"/>
                  <a:gd name="T63" fmla="*/ 127 h 133"/>
                  <a:gd name="T64" fmla="*/ 91 w 181"/>
                  <a:gd name="T65" fmla="*/ 128 h 133"/>
                  <a:gd name="T66" fmla="*/ 29 w 181"/>
                  <a:gd name="T67" fmla="*/ 88 h 133"/>
                  <a:gd name="T68" fmla="*/ 6 w 181"/>
                  <a:gd name="T69" fmla="*/ 86 h 133"/>
                  <a:gd name="T70" fmla="*/ 24 w 181"/>
                  <a:gd name="T71" fmla="*/ 28 h 133"/>
                  <a:gd name="T72" fmla="*/ 72 w 181"/>
                  <a:gd name="T73" fmla="*/ 8 h 133"/>
                  <a:gd name="T74" fmla="*/ 61 w 181"/>
                  <a:gd name="T75" fmla="*/ 40 h 133"/>
                  <a:gd name="T76" fmla="*/ 102 w 181"/>
                  <a:gd name="T77" fmla="*/ 32 h 133"/>
                  <a:gd name="T78" fmla="*/ 157 w 181"/>
                  <a:gd name="T79" fmla="*/ 94 h 133"/>
                  <a:gd name="T80" fmla="*/ 158 w 181"/>
                  <a:gd name="T81" fmla="*/ 10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33">
                    <a:moveTo>
                      <a:pt x="181" y="91"/>
                    </a:moveTo>
                    <a:cubicBezTo>
                      <a:pt x="181" y="25"/>
                      <a:pt x="181" y="25"/>
                      <a:pt x="181" y="25"/>
                    </a:cubicBezTo>
                    <a:cubicBezTo>
                      <a:pt x="159" y="25"/>
                      <a:pt x="159" y="25"/>
                      <a:pt x="159" y="25"/>
                    </a:cubicBezTo>
                    <a:cubicBezTo>
                      <a:pt x="117" y="4"/>
                      <a:pt x="117" y="4"/>
                      <a:pt x="117" y="4"/>
                    </a:cubicBezTo>
                    <a:cubicBezTo>
                      <a:pt x="81" y="4"/>
                      <a:pt x="81" y="4"/>
                      <a:pt x="81" y="4"/>
                    </a:cubicBezTo>
                    <a:cubicBezTo>
                      <a:pt x="59" y="0"/>
                      <a:pt x="59" y="0"/>
                      <a:pt x="59" y="0"/>
                    </a:cubicBezTo>
                    <a:cubicBezTo>
                      <a:pt x="23" y="23"/>
                      <a:pt x="23" y="23"/>
                      <a:pt x="23" y="23"/>
                    </a:cubicBezTo>
                    <a:cubicBezTo>
                      <a:pt x="0" y="22"/>
                      <a:pt x="0" y="22"/>
                      <a:pt x="0" y="22"/>
                    </a:cubicBezTo>
                    <a:cubicBezTo>
                      <a:pt x="1" y="90"/>
                      <a:pt x="1" y="90"/>
                      <a:pt x="1" y="90"/>
                    </a:cubicBezTo>
                    <a:cubicBezTo>
                      <a:pt x="12" y="91"/>
                      <a:pt x="12" y="91"/>
                      <a:pt x="12" y="91"/>
                    </a:cubicBezTo>
                    <a:cubicBezTo>
                      <a:pt x="12" y="94"/>
                      <a:pt x="11" y="100"/>
                      <a:pt x="12" y="102"/>
                    </a:cubicBezTo>
                    <a:cubicBezTo>
                      <a:pt x="13" y="104"/>
                      <a:pt x="18" y="109"/>
                      <a:pt x="20" y="109"/>
                    </a:cubicBezTo>
                    <a:cubicBezTo>
                      <a:pt x="23" y="109"/>
                      <a:pt x="31" y="104"/>
                      <a:pt x="31" y="104"/>
                    </a:cubicBezTo>
                    <a:cubicBezTo>
                      <a:pt x="31" y="104"/>
                      <a:pt x="32" y="111"/>
                      <a:pt x="32" y="113"/>
                    </a:cubicBezTo>
                    <a:cubicBezTo>
                      <a:pt x="31" y="115"/>
                      <a:pt x="35" y="120"/>
                      <a:pt x="38" y="120"/>
                    </a:cubicBezTo>
                    <a:cubicBezTo>
                      <a:pt x="41" y="120"/>
                      <a:pt x="48" y="119"/>
                      <a:pt x="48" y="119"/>
                    </a:cubicBezTo>
                    <a:cubicBezTo>
                      <a:pt x="48" y="119"/>
                      <a:pt x="49" y="125"/>
                      <a:pt x="52" y="127"/>
                    </a:cubicBezTo>
                    <a:cubicBezTo>
                      <a:pt x="54" y="129"/>
                      <a:pt x="60" y="130"/>
                      <a:pt x="61" y="130"/>
                    </a:cubicBezTo>
                    <a:cubicBezTo>
                      <a:pt x="63" y="129"/>
                      <a:pt x="68" y="127"/>
                      <a:pt x="72" y="125"/>
                    </a:cubicBezTo>
                    <a:cubicBezTo>
                      <a:pt x="76" y="128"/>
                      <a:pt x="79" y="130"/>
                      <a:pt x="79" y="130"/>
                    </a:cubicBezTo>
                    <a:cubicBezTo>
                      <a:pt x="80" y="131"/>
                      <a:pt x="86" y="133"/>
                      <a:pt x="91" y="133"/>
                    </a:cubicBezTo>
                    <a:cubicBezTo>
                      <a:pt x="91" y="133"/>
                      <a:pt x="91" y="133"/>
                      <a:pt x="91" y="133"/>
                    </a:cubicBezTo>
                    <a:cubicBezTo>
                      <a:pt x="94" y="133"/>
                      <a:pt x="97" y="132"/>
                      <a:pt x="98" y="130"/>
                    </a:cubicBezTo>
                    <a:cubicBezTo>
                      <a:pt x="99" y="129"/>
                      <a:pt x="99" y="128"/>
                      <a:pt x="100" y="127"/>
                    </a:cubicBezTo>
                    <a:cubicBezTo>
                      <a:pt x="102" y="129"/>
                      <a:pt x="106" y="130"/>
                      <a:pt x="109" y="130"/>
                    </a:cubicBezTo>
                    <a:cubicBezTo>
                      <a:pt x="112" y="130"/>
                      <a:pt x="114" y="129"/>
                      <a:pt x="116" y="128"/>
                    </a:cubicBezTo>
                    <a:cubicBezTo>
                      <a:pt x="118" y="127"/>
                      <a:pt x="121" y="125"/>
                      <a:pt x="122" y="122"/>
                    </a:cubicBezTo>
                    <a:cubicBezTo>
                      <a:pt x="122" y="122"/>
                      <a:pt x="122" y="122"/>
                      <a:pt x="122" y="122"/>
                    </a:cubicBezTo>
                    <a:cubicBezTo>
                      <a:pt x="125" y="123"/>
                      <a:pt x="130" y="125"/>
                      <a:pt x="135" y="122"/>
                    </a:cubicBezTo>
                    <a:cubicBezTo>
                      <a:pt x="137" y="122"/>
                      <a:pt x="141" y="120"/>
                      <a:pt x="142" y="117"/>
                    </a:cubicBezTo>
                    <a:cubicBezTo>
                      <a:pt x="143" y="117"/>
                      <a:pt x="143" y="115"/>
                      <a:pt x="143" y="114"/>
                    </a:cubicBezTo>
                    <a:cubicBezTo>
                      <a:pt x="144" y="115"/>
                      <a:pt x="144" y="115"/>
                      <a:pt x="144" y="115"/>
                    </a:cubicBezTo>
                    <a:cubicBezTo>
                      <a:pt x="145" y="116"/>
                      <a:pt x="145" y="116"/>
                      <a:pt x="145" y="116"/>
                    </a:cubicBezTo>
                    <a:cubicBezTo>
                      <a:pt x="145" y="116"/>
                      <a:pt x="152" y="117"/>
                      <a:pt x="155" y="116"/>
                    </a:cubicBezTo>
                    <a:cubicBezTo>
                      <a:pt x="159" y="116"/>
                      <a:pt x="162" y="112"/>
                      <a:pt x="163" y="110"/>
                    </a:cubicBezTo>
                    <a:cubicBezTo>
                      <a:pt x="163" y="109"/>
                      <a:pt x="164" y="106"/>
                      <a:pt x="164" y="101"/>
                    </a:cubicBezTo>
                    <a:lnTo>
                      <a:pt x="181" y="91"/>
                    </a:lnTo>
                    <a:close/>
                    <a:moveTo>
                      <a:pt x="158" y="108"/>
                    </a:moveTo>
                    <a:cubicBezTo>
                      <a:pt x="158" y="109"/>
                      <a:pt x="156" y="111"/>
                      <a:pt x="154" y="112"/>
                    </a:cubicBezTo>
                    <a:cubicBezTo>
                      <a:pt x="154" y="112"/>
                      <a:pt x="153" y="112"/>
                      <a:pt x="153" y="112"/>
                    </a:cubicBezTo>
                    <a:cubicBezTo>
                      <a:pt x="151" y="112"/>
                      <a:pt x="148" y="111"/>
                      <a:pt x="147" y="111"/>
                    </a:cubicBezTo>
                    <a:cubicBezTo>
                      <a:pt x="142" y="108"/>
                      <a:pt x="142" y="108"/>
                      <a:pt x="142" y="108"/>
                    </a:cubicBezTo>
                    <a:cubicBezTo>
                      <a:pt x="122" y="78"/>
                      <a:pt x="122" y="78"/>
                      <a:pt x="122" y="78"/>
                    </a:cubicBezTo>
                    <a:cubicBezTo>
                      <a:pt x="118" y="81"/>
                      <a:pt x="118" y="81"/>
                      <a:pt x="118" y="81"/>
                    </a:cubicBezTo>
                    <a:cubicBezTo>
                      <a:pt x="138" y="111"/>
                      <a:pt x="138" y="111"/>
                      <a:pt x="138" y="111"/>
                    </a:cubicBezTo>
                    <a:cubicBezTo>
                      <a:pt x="138" y="110"/>
                      <a:pt x="138" y="110"/>
                      <a:pt x="138" y="110"/>
                    </a:cubicBezTo>
                    <a:cubicBezTo>
                      <a:pt x="138" y="112"/>
                      <a:pt x="138" y="114"/>
                      <a:pt x="138" y="115"/>
                    </a:cubicBezTo>
                    <a:cubicBezTo>
                      <a:pt x="138" y="116"/>
                      <a:pt x="135" y="117"/>
                      <a:pt x="133" y="118"/>
                    </a:cubicBezTo>
                    <a:cubicBezTo>
                      <a:pt x="132" y="118"/>
                      <a:pt x="131" y="119"/>
                      <a:pt x="130" y="119"/>
                    </a:cubicBezTo>
                    <a:cubicBezTo>
                      <a:pt x="126" y="119"/>
                      <a:pt x="123" y="116"/>
                      <a:pt x="122" y="115"/>
                    </a:cubicBezTo>
                    <a:cubicBezTo>
                      <a:pt x="102" y="85"/>
                      <a:pt x="102" y="85"/>
                      <a:pt x="102" y="85"/>
                    </a:cubicBezTo>
                    <a:cubicBezTo>
                      <a:pt x="98" y="88"/>
                      <a:pt x="98" y="88"/>
                      <a:pt x="98" y="88"/>
                    </a:cubicBezTo>
                    <a:cubicBezTo>
                      <a:pt x="117" y="117"/>
                      <a:pt x="117" y="117"/>
                      <a:pt x="117" y="117"/>
                    </a:cubicBezTo>
                    <a:cubicBezTo>
                      <a:pt x="117" y="117"/>
                      <a:pt x="117" y="117"/>
                      <a:pt x="117" y="117"/>
                    </a:cubicBezTo>
                    <a:cubicBezTo>
                      <a:pt x="118" y="118"/>
                      <a:pt x="118" y="119"/>
                      <a:pt x="117" y="120"/>
                    </a:cubicBezTo>
                    <a:cubicBezTo>
                      <a:pt x="117" y="122"/>
                      <a:pt x="115" y="123"/>
                      <a:pt x="114" y="123"/>
                    </a:cubicBezTo>
                    <a:cubicBezTo>
                      <a:pt x="114" y="124"/>
                      <a:pt x="114" y="124"/>
                      <a:pt x="114" y="124"/>
                    </a:cubicBezTo>
                    <a:cubicBezTo>
                      <a:pt x="112" y="125"/>
                      <a:pt x="111" y="125"/>
                      <a:pt x="109" y="125"/>
                    </a:cubicBezTo>
                    <a:cubicBezTo>
                      <a:pt x="104" y="125"/>
                      <a:pt x="98" y="120"/>
                      <a:pt x="98" y="120"/>
                    </a:cubicBezTo>
                    <a:cubicBezTo>
                      <a:pt x="97" y="118"/>
                      <a:pt x="97" y="118"/>
                      <a:pt x="97" y="118"/>
                    </a:cubicBezTo>
                    <a:cubicBezTo>
                      <a:pt x="79" y="92"/>
                      <a:pt x="79" y="92"/>
                      <a:pt x="79" y="92"/>
                    </a:cubicBezTo>
                    <a:cubicBezTo>
                      <a:pt x="75" y="95"/>
                      <a:pt x="75" y="95"/>
                      <a:pt x="75" y="95"/>
                    </a:cubicBezTo>
                    <a:cubicBezTo>
                      <a:pt x="95" y="124"/>
                      <a:pt x="95" y="124"/>
                      <a:pt x="95" y="124"/>
                    </a:cubicBezTo>
                    <a:cubicBezTo>
                      <a:pt x="95" y="125"/>
                      <a:pt x="95" y="127"/>
                      <a:pt x="94" y="127"/>
                    </a:cubicBezTo>
                    <a:cubicBezTo>
                      <a:pt x="94" y="128"/>
                      <a:pt x="92" y="128"/>
                      <a:pt x="91" y="128"/>
                    </a:cubicBezTo>
                    <a:cubicBezTo>
                      <a:pt x="91" y="128"/>
                      <a:pt x="91" y="128"/>
                      <a:pt x="91" y="128"/>
                    </a:cubicBezTo>
                    <a:cubicBezTo>
                      <a:pt x="87" y="128"/>
                      <a:pt x="82" y="126"/>
                      <a:pt x="81" y="126"/>
                    </a:cubicBezTo>
                    <a:cubicBezTo>
                      <a:pt x="80" y="125"/>
                      <a:pt x="49" y="103"/>
                      <a:pt x="29" y="88"/>
                    </a:cubicBezTo>
                    <a:cubicBezTo>
                      <a:pt x="29" y="88"/>
                      <a:pt x="29" y="88"/>
                      <a:pt x="29" y="88"/>
                    </a:cubicBezTo>
                    <a:cubicBezTo>
                      <a:pt x="6" y="86"/>
                      <a:pt x="6" y="86"/>
                      <a:pt x="6" y="86"/>
                    </a:cubicBezTo>
                    <a:cubicBezTo>
                      <a:pt x="5" y="27"/>
                      <a:pt x="5" y="27"/>
                      <a:pt x="5" y="27"/>
                    </a:cubicBezTo>
                    <a:cubicBezTo>
                      <a:pt x="24" y="28"/>
                      <a:pt x="24" y="28"/>
                      <a:pt x="24" y="28"/>
                    </a:cubicBezTo>
                    <a:cubicBezTo>
                      <a:pt x="60" y="6"/>
                      <a:pt x="60" y="6"/>
                      <a:pt x="60" y="6"/>
                    </a:cubicBezTo>
                    <a:cubicBezTo>
                      <a:pt x="72" y="8"/>
                      <a:pt x="72" y="8"/>
                      <a:pt x="72" y="8"/>
                    </a:cubicBezTo>
                    <a:cubicBezTo>
                      <a:pt x="41" y="33"/>
                      <a:pt x="41" y="33"/>
                      <a:pt x="41" y="33"/>
                    </a:cubicBezTo>
                    <a:cubicBezTo>
                      <a:pt x="41" y="33"/>
                      <a:pt x="43" y="46"/>
                      <a:pt x="61" y="40"/>
                    </a:cubicBezTo>
                    <a:cubicBezTo>
                      <a:pt x="80" y="32"/>
                      <a:pt x="80" y="32"/>
                      <a:pt x="80" y="32"/>
                    </a:cubicBezTo>
                    <a:cubicBezTo>
                      <a:pt x="102" y="32"/>
                      <a:pt x="102" y="32"/>
                      <a:pt x="102" y="32"/>
                    </a:cubicBezTo>
                    <a:cubicBezTo>
                      <a:pt x="114" y="39"/>
                      <a:pt x="114" y="39"/>
                      <a:pt x="114" y="39"/>
                    </a:cubicBezTo>
                    <a:cubicBezTo>
                      <a:pt x="157" y="94"/>
                      <a:pt x="157" y="94"/>
                      <a:pt x="157" y="94"/>
                    </a:cubicBezTo>
                    <a:cubicBezTo>
                      <a:pt x="159" y="100"/>
                      <a:pt x="159" y="100"/>
                      <a:pt x="159" y="100"/>
                    </a:cubicBezTo>
                    <a:cubicBezTo>
                      <a:pt x="159" y="103"/>
                      <a:pt x="159" y="107"/>
                      <a:pt x="15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4" name="Freeform 61"/>
              <p:cNvSpPr>
                <a:spLocks noEditPoints="1"/>
              </p:cNvSpPr>
              <p:nvPr/>
            </p:nvSpPr>
            <p:spPr bwMode="auto">
              <a:xfrm>
                <a:off x="2552" y="2046"/>
                <a:ext cx="92" cy="185"/>
              </a:xfrm>
              <a:custGeom>
                <a:avLst/>
                <a:gdLst>
                  <a:gd name="T0" fmla="*/ 0 w 39"/>
                  <a:gd name="T1" fmla="*/ 78 h 78"/>
                  <a:gd name="T2" fmla="*/ 39 w 39"/>
                  <a:gd name="T3" fmla="*/ 78 h 78"/>
                  <a:gd name="T4" fmla="*/ 39 w 39"/>
                  <a:gd name="T5" fmla="*/ 0 h 78"/>
                  <a:gd name="T6" fmla="*/ 0 w 39"/>
                  <a:gd name="T7" fmla="*/ 0 h 78"/>
                  <a:gd name="T8" fmla="*/ 0 w 39"/>
                  <a:gd name="T9" fmla="*/ 78 h 78"/>
                  <a:gd name="T10" fmla="*/ 19 w 39"/>
                  <a:gd name="T11" fmla="*/ 52 h 78"/>
                  <a:gd name="T12" fmla="*/ 27 w 39"/>
                  <a:gd name="T13" fmla="*/ 58 h 78"/>
                  <a:gd name="T14" fmla="*/ 19 w 39"/>
                  <a:gd name="T15" fmla="*/ 65 h 78"/>
                  <a:gd name="T16" fmla="*/ 12 w 39"/>
                  <a:gd name="T17" fmla="*/ 58 h 78"/>
                  <a:gd name="T18" fmla="*/ 19 w 39"/>
                  <a:gd name="T19"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78">
                    <a:moveTo>
                      <a:pt x="0" y="78"/>
                    </a:moveTo>
                    <a:cubicBezTo>
                      <a:pt x="39" y="78"/>
                      <a:pt x="39" y="78"/>
                      <a:pt x="39" y="78"/>
                    </a:cubicBezTo>
                    <a:cubicBezTo>
                      <a:pt x="39" y="0"/>
                      <a:pt x="39" y="0"/>
                      <a:pt x="39" y="0"/>
                    </a:cubicBezTo>
                    <a:cubicBezTo>
                      <a:pt x="0" y="0"/>
                      <a:pt x="0" y="0"/>
                      <a:pt x="0" y="0"/>
                    </a:cubicBezTo>
                    <a:lnTo>
                      <a:pt x="0" y="78"/>
                    </a:lnTo>
                    <a:close/>
                    <a:moveTo>
                      <a:pt x="19" y="52"/>
                    </a:moveTo>
                    <a:cubicBezTo>
                      <a:pt x="24" y="52"/>
                      <a:pt x="27" y="55"/>
                      <a:pt x="27" y="58"/>
                    </a:cubicBezTo>
                    <a:cubicBezTo>
                      <a:pt x="27" y="62"/>
                      <a:pt x="24" y="65"/>
                      <a:pt x="19" y="65"/>
                    </a:cubicBezTo>
                    <a:cubicBezTo>
                      <a:pt x="15" y="65"/>
                      <a:pt x="12" y="62"/>
                      <a:pt x="12" y="58"/>
                    </a:cubicBezTo>
                    <a:cubicBezTo>
                      <a:pt x="12" y="55"/>
                      <a:pt x="15"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5" name="Freeform 62"/>
              <p:cNvSpPr>
                <a:spLocks noEditPoints="1"/>
              </p:cNvSpPr>
              <p:nvPr/>
            </p:nvSpPr>
            <p:spPr bwMode="auto">
              <a:xfrm>
                <a:off x="3119" y="2046"/>
                <a:ext cx="92" cy="185"/>
              </a:xfrm>
              <a:custGeom>
                <a:avLst/>
                <a:gdLst>
                  <a:gd name="T0" fmla="*/ 39 w 39"/>
                  <a:gd name="T1" fmla="*/ 0 h 78"/>
                  <a:gd name="T2" fmla="*/ 0 w 39"/>
                  <a:gd name="T3" fmla="*/ 0 h 78"/>
                  <a:gd name="T4" fmla="*/ 0 w 39"/>
                  <a:gd name="T5" fmla="*/ 78 h 78"/>
                  <a:gd name="T6" fmla="*/ 39 w 39"/>
                  <a:gd name="T7" fmla="*/ 78 h 78"/>
                  <a:gd name="T8" fmla="*/ 39 w 39"/>
                  <a:gd name="T9" fmla="*/ 0 h 78"/>
                  <a:gd name="T10" fmla="*/ 27 w 39"/>
                  <a:gd name="T11" fmla="*/ 58 h 78"/>
                  <a:gd name="T12" fmla="*/ 19 w 39"/>
                  <a:gd name="T13" fmla="*/ 65 h 78"/>
                  <a:gd name="T14" fmla="*/ 12 w 39"/>
                  <a:gd name="T15" fmla="*/ 58 h 78"/>
                  <a:gd name="T16" fmla="*/ 19 w 39"/>
                  <a:gd name="T17" fmla="*/ 52 h 78"/>
                  <a:gd name="T18" fmla="*/ 27 w 39"/>
                  <a:gd name="T19"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78">
                    <a:moveTo>
                      <a:pt x="39" y="0"/>
                    </a:moveTo>
                    <a:cubicBezTo>
                      <a:pt x="0" y="0"/>
                      <a:pt x="0" y="0"/>
                      <a:pt x="0" y="0"/>
                    </a:cubicBezTo>
                    <a:cubicBezTo>
                      <a:pt x="0" y="78"/>
                      <a:pt x="0" y="78"/>
                      <a:pt x="0" y="78"/>
                    </a:cubicBezTo>
                    <a:cubicBezTo>
                      <a:pt x="39" y="78"/>
                      <a:pt x="39" y="78"/>
                      <a:pt x="39" y="78"/>
                    </a:cubicBezTo>
                    <a:lnTo>
                      <a:pt x="39" y="0"/>
                    </a:lnTo>
                    <a:close/>
                    <a:moveTo>
                      <a:pt x="27" y="58"/>
                    </a:moveTo>
                    <a:cubicBezTo>
                      <a:pt x="27" y="62"/>
                      <a:pt x="23" y="65"/>
                      <a:pt x="19" y="65"/>
                    </a:cubicBezTo>
                    <a:cubicBezTo>
                      <a:pt x="15" y="65"/>
                      <a:pt x="12" y="62"/>
                      <a:pt x="12" y="58"/>
                    </a:cubicBezTo>
                    <a:cubicBezTo>
                      <a:pt x="12" y="55"/>
                      <a:pt x="15" y="52"/>
                      <a:pt x="19" y="52"/>
                    </a:cubicBezTo>
                    <a:cubicBezTo>
                      <a:pt x="23" y="52"/>
                      <a:pt x="27" y="55"/>
                      <a:pt x="2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sp>
          <p:nvSpPr>
            <p:cNvPr id="52" name="TextBox 98"/>
            <p:cNvSpPr txBox="1"/>
            <p:nvPr/>
          </p:nvSpPr>
          <p:spPr>
            <a:xfrm>
              <a:off x="1953764" y="1488477"/>
              <a:ext cx="1389974" cy="295739"/>
            </a:xfrm>
            <a:prstGeom prst="rect">
              <a:avLst/>
            </a:prstGeom>
            <a:noFill/>
          </p:spPr>
          <p:txBody>
            <a:bodyPr wrap="square" rtlCol="0" anchor="ctr">
              <a:spAutoFit/>
            </a:bodyPr>
            <a:lstStyle/>
            <a:p>
              <a:pPr algn="ctr"/>
              <a:r>
                <a:rPr lang="en-GB" sz="1400" b="1" dirty="0">
                  <a:latin typeface="Calibri" pitchFamily="34" charset="0"/>
                </a:rPr>
                <a:t>Aggregator</a:t>
              </a:r>
            </a:p>
          </p:txBody>
        </p:sp>
      </p:grpSp>
      <p:sp>
        <p:nvSpPr>
          <p:cNvPr id="26" name="Freeform 48"/>
          <p:cNvSpPr>
            <a:spLocks/>
          </p:cNvSpPr>
          <p:nvPr/>
        </p:nvSpPr>
        <p:spPr bwMode="auto">
          <a:xfrm>
            <a:off x="3816656" y="2975284"/>
            <a:ext cx="186367" cy="220084"/>
          </a:xfrm>
          <a:custGeom>
            <a:avLst/>
            <a:gdLst>
              <a:gd name="T0" fmla="*/ 140 w 175"/>
              <a:gd name="T1" fmla="*/ 63 h 203"/>
              <a:gd name="T2" fmla="*/ 108 w 175"/>
              <a:gd name="T3" fmla="*/ 46 h 203"/>
              <a:gd name="T4" fmla="*/ 77 w 175"/>
              <a:gd name="T5" fmla="*/ 65 h 203"/>
              <a:gd name="T6" fmla="*/ 121 w 175"/>
              <a:gd name="T7" fmla="*/ 65 h 203"/>
              <a:gd name="T8" fmla="*/ 121 w 175"/>
              <a:gd name="T9" fmla="*/ 94 h 203"/>
              <a:gd name="T10" fmla="*/ 71 w 175"/>
              <a:gd name="T11" fmla="*/ 94 h 203"/>
              <a:gd name="T12" fmla="*/ 71 w 175"/>
              <a:gd name="T13" fmla="*/ 101 h 203"/>
              <a:gd name="T14" fmla="*/ 71 w 175"/>
              <a:gd name="T15" fmla="*/ 108 h 203"/>
              <a:gd name="T16" fmla="*/ 121 w 175"/>
              <a:gd name="T17" fmla="*/ 108 h 203"/>
              <a:gd name="T18" fmla="*/ 121 w 175"/>
              <a:gd name="T19" fmla="*/ 136 h 203"/>
              <a:gd name="T20" fmla="*/ 77 w 175"/>
              <a:gd name="T21" fmla="*/ 136 h 203"/>
              <a:gd name="T22" fmla="*/ 109 w 175"/>
              <a:gd name="T23" fmla="*/ 157 h 203"/>
              <a:gd name="T24" fmla="*/ 142 w 175"/>
              <a:gd name="T25" fmla="*/ 138 h 203"/>
              <a:gd name="T26" fmla="*/ 175 w 175"/>
              <a:gd name="T27" fmla="*/ 170 h 203"/>
              <a:gd name="T28" fmla="*/ 107 w 175"/>
              <a:gd name="T29" fmla="*/ 203 h 203"/>
              <a:gd name="T30" fmla="*/ 22 w 175"/>
              <a:gd name="T31" fmla="*/ 137 h 203"/>
              <a:gd name="T32" fmla="*/ 0 w 175"/>
              <a:gd name="T33" fmla="*/ 137 h 203"/>
              <a:gd name="T34" fmla="*/ 0 w 175"/>
              <a:gd name="T35" fmla="*/ 108 h 203"/>
              <a:gd name="T36" fmla="*/ 19 w 175"/>
              <a:gd name="T37" fmla="*/ 108 h 203"/>
              <a:gd name="T38" fmla="*/ 19 w 175"/>
              <a:gd name="T39" fmla="*/ 102 h 203"/>
              <a:gd name="T40" fmla="*/ 19 w 175"/>
              <a:gd name="T41" fmla="*/ 94 h 203"/>
              <a:gd name="T42" fmla="*/ 0 w 175"/>
              <a:gd name="T43" fmla="*/ 94 h 203"/>
              <a:gd name="T44" fmla="*/ 0 w 175"/>
              <a:gd name="T45" fmla="*/ 65 h 203"/>
              <a:gd name="T46" fmla="*/ 23 w 175"/>
              <a:gd name="T47" fmla="*/ 65 h 203"/>
              <a:gd name="T48" fmla="*/ 108 w 175"/>
              <a:gd name="T49" fmla="*/ 0 h 203"/>
              <a:gd name="T50" fmla="*/ 175 w 175"/>
              <a:gd name="T51" fmla="*/ 31 h 203"/>
              <a:gd name="T52" fmla="*/ 140 w 175"/>
              <a:gd name="T53" fmla="*/ 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203">
                <a:moveTo>
                  <a:pt x="140" y="63"/>
                </a:moveTo>
                <a:cubicBezTo>
                  <a:pt x="132" y="53"/>
                  <a:pt x="122" y="46"/>
                  <a:pt x="108" y="46"/>
                </a:cubicBezTo>
                <a:cubicBezTo>
                  <a:pt x="94" y="46"/>
                  <a:pt x="83" y="53"/>
                  <a:pt x="77" y="65"/>
                </a:cubicBezTo>
                <a:cubicBezTo>
                  <a:pt x="121" y="65"/>
                  <a:pt x="121" y="65"/>
                  <a:pt x="121" y="65"/>
                </a:cubicBezTo>
                <a:cubicBezTo>
                  <a:pt x="121" y="94"/>
                  <a:pt x="121" y="94"/>
                  <a:pt x="121" y="94"/>
                </a:cubicBezTo>
                <a:cubicBezTo>
                  <a:pt x="71" y="94"/>
                  <a:pt x="71" y="94"/>
                  <a:pt x="71" y="94"/>
                </a:cubicBezTo>
                <a:cubicBezTo>
                  <a:pt x="71" y="96"/>
                  <a:pt x="71" y="99"/>
                  <a:pt x="71" y="101"/>
                </a:cubicBezTo>
                <a:cubicBezTo>
                  <a:pt x="71" y="103"/>
                  <a:pt x="71" y="106"/>
                  <a:pt x="71" y="108"/>
                </a:cubicBezTo>
                <a:cubicBezTo>
                  <a:pt x="121" y="108"/>
                  <a:pt x="121" y="108"/>
                  <a:pt x="121" y="108"/>
                </a:cubicBezTo>
                <a:cubicBezTo>
                  <a:pt x="121" y="136"/>
                  <a:pt x="121" y="136"/>
                  <a:pt x="121" y="136"/>
                </a:cubicBezTo>
                <a:cubicBezTo>
                  <a:pt x="77" y="136"/>
                  <a:pt x="77" y="136"/>
                  <a:pt x="77" y="136"/>
                </a:cubicBezTo>
                <a:cubicBezTo>
                  <a:pt x="82" y="149"/>
                  <a:pt x="94" y="157"/>
                  <a:pt x="109" y="157"/>
                </a:cubicBezTo>
                <a:cubicBezTo>
                  <a:pt x="123" y="157"/>
                  <a:pt x="133" y="150"/>
                  <a:pt x="142" y="138"/>
                </a:cubicBezTo>
                <a:cubicBezTo>
                  <a:pt x="175" y="170"/>
                  <a:pt x="175" y="170"/>
                  <a:pt x="175" y="170"/>
                </a:cubicBezTo>
                <a:cubicBezTo>
                  <a:pt x="159" y="191"/>
                  <a:pt x="138" y="203"/>
                  <a:pt x="107" y="203"/>
                </a:cubicBezTo>
                <a:cubicBezTo>
                  <a:pt x="62" y="203"/>
                  <a:pt x="32" y="176"/>
                  <a:pt x="22" y="137"/>
                </a:cubicBezTo>
                <a:cubicBezTo>
                  <a:pt x="0" y="137"/>
                  <a:pt x="0" y="137"/>
                  <a:pt x="0" y="137"/>
                </a:cubicBezTo>
                <a:cubicBezTo>
                  <a:pt x="0" y="108"/>
                  <a:pt x="0" y="108"/>
                  <a:pt x="0" y="108"/>
                </a:cubicBezTo>
                <a:cubicBezTo>
                  <a:pt x="19" y="108"/>
                  <a:pt x="19" y="108"/>
                  <a:pt x="19" y="108"/>
                </a:cubicBezTo>
                <a:cubicBezTo>
                  <a:pt x="19" y="102"/>
                  <a:pt x="19" y="102"/>
                  <a:pt x="19" y="102"/>
                </a:cubicBezTo>
                <a:cubicBezTo>
                  <a:pt x="19" y="99"/>
                  <a:pt x="19" y="96"/>
                  <a:pt x="19" y="94"/>
                </a:cubicBezTo>
                <a:cubicBezTo>
                  <a:pt x="0" y="94"/>
                  <a:pt x="0" y="94"/>
                  <a:pt x="0" y="94"/>
                </a:cubicBezTo>
                <a:cubicBezTo>
                  <a:pt x="0" y="65"/>
                  <a:pt x="0" y="65"/>
                  <a:pt x="0" y="65"/>
                </a:cubicBezTo>
                <a:cubicBezTo>
                  <a:pt x="23" y="65"/>
                  <a:pt x="23" y="65"/>
                  <a:pt x="23" y="65"/>
                </a:cubicBezTo>
                <a:cubicBezTo>
                  <a:pt x="33" y="28"/>
                  <a:pt x="63" y="0"/>
                  <a:pt x="108" y="0"/>
                </a:cubicBezTo>
                <a:cubicBezTo>
                  <a:pt x="138" y="0"/>
                  <a:pt x="160" y="12"/>
                  <a:pt x="175" y="31"/>
                </a:cubicBezTo>
                <a:lnTo>
                  <a:pt x="140" y="63"/>
                </a:lnTo>
                <a:close/>
              </a:path>
            </a:pathLst>
          </a:custGeom>
          <a:solidFill>
            <a:schemeClr val="accent4"/>
          </a:solidFill>
          <a:ln>
            <a:solidFill>
              <a:schemeClr val="accent4"/>
            </a:solidFill>
          </a:ln>
          <a:extLst/>
        </p:spPr>
        <p:txBody>
          <a:bodyPr vert="horz" wrap="square" lIns="91407" tIns="45703" rIns="91407" bIns="45703" numCol="1" anchor="t" anchorCtr="0" compatLnSpc="1">
            <a:prstTxWarp prst="textNoShape">
              <a:avLst/>
            </a:prstTxWarp>
          </a:bodyPr>
          <a:lstStyle/>
          <a:p>
            <a:endParaRPr lang="en-GB" sz="1600" dirty="0">
              <a:solidFill>
                <a:schemeClr val="accent4"/>
              </a:solidFill>
              <a:latin typeface="Calibri" pitchFamily="34" charset="0"/>
            </a:endParaRPr>
          </a:p>
        </p:txBody>
      </p:sp>
      <p:sp>
        <p:nvSpPr>
          <p:cNvPr id="27" name="Freeform 48"/>
          <p:cNvSpPr>
            <a:spLocks/>
          </p:cNvSpPr>
          <p:nvPr/>
        </p:nvSpPr>
        <p:spPr bwMode="auto">
          <a:xfrm>
            <a:off x="5780365" y="2444373"/>
            <a:ext cx="186367" cy="220084"/>
          </a:xfrm>
          <a:custGeom>
            <a:avLst/>
            <a:gdLst>
              <a:gd name="T0" fmla="*/ 140 w 175"/>
              <a:gd name="T1" fmla="*/ 63 h 203"/>
              <a:gd name="T2" fmla="*/ 108 w 175"/>
              <a:gd name="T3" fmla="*/ 46 h 203"/>
              <a:gd name="T4" fmla="*/ 77 w 175"/>
              <a:gd name="T5" fmla="*/ 65 h 203"/>
              <a:gd name="T6" fmla="*/ 121 w 175"/>
              <a:gd name="T7" fmla="*/ 65 h 203"/>
              <a:gd name="T8" fmla="*/ 121 w 175"/>
              <a:gd name="T9" fmla="*/ 94 h 203"/>
              <a:gd name="T10" fmla="*/ 71 w 175"/>
              <a:gd name="T11" fmla="*/ 94 h 203"/>
              <a:gd name="T12" fmla="*/ 71 w 175"/>
              <a:gd name="T13" fmla="*/ 101 h 203"/>
              <a:gd name="T14" fmla="*/ 71 w 175"/>
              <a:gd name="T15" fmla="*/ 108 h 203"/>
              <a:gd name="T16" fmla="*/ 121 w 175"/>
              <a:gd name="T17" fmla="*/ 108 h 203"/>
              <a:gd name="T18" fmla="*/ 121 w 175"/>
              <a:gd name="T19" fmla="*/ 136 h 203"/>
              <a:gd name="T20" fmla="*/ 77 w 175"/>
              <a:gd name="T21" fmla="*/ 136 h 203"/>
              <a:gd name="T22" fmla="*/ 109 w 175"/>
              <a:gd name="T23" fmla="*/ 157 h 203"/>
              <a:gd name="T24" fmla="*/ 142 w 175"/>
              <a:gd name="T25" fmla="*/ 138 h 203"/>
              <a:gd name="T26" fmla="*/ 175 w 175"/>
              <a:gd name="T27" fmla="*/ 170 h 203"/>
              <a:gd name="T28" fmla="*/ 107 w 175"/>
              <a:gd name="T29" fmla="*/ 203 h 203"/>
              <a:gd name="T30" fmla="*/ 22 w 175"/>
              <a:gd name="T31" fmla="*/ 137 h 203"/>
              <a:gd name="T32" fmla="*/ 0 w 175"/>
              <a:gd name="T33" fmla="*/ 137 h 203"/>
              <a:gd name="T34" fmla="*/ 0 w 175"/>
              <a:gd name="T35" fmla="*/ 108 h 203"/>
              <a:gd name="T36" fmla="*/ 19 w 175"/>
              <a:gd name="T37" fmla="*/ 108 h 203"/>
              <a:gd name="T38" fmla="*/ 19 w 175"/>
              <a:gd name="T39" fmla="*/ 102 h 203"/>
              <a:gd name="T40" fmla="*/ 19 w 175"/>
              <a:gd name="T41" fmla="*/ 94 h 203"/>
              <a:gd name="T42" fmla="*/ 0 w 175"/>
              <a:gd name="T43" fmla="*/ 94 h 203"/>
              <a:gd name="T44" fmla="*/ 0 w 175"/>
              <a:gd name="T45" fmla="*/ 65 h 203"/>
              <a:gd name="T46" fmla="*/ 23 w 175"/>
              <a:gd name="T47" fmla="*/ 65 h 203"/>
              <a:gd name="T48" fmla="*/ 108 w 175"/>
              <a:gd name="T49" fmla="*/ 0 h 203"/>
              <a:gd name="T50" fmla="*/ 175 w 175"/>
              <a:gd name="T51" fmla="*/ 31 h 203"/>
              <a:gd name="T52" fmla="*/ 140 w 175"/>
              <a:gd name="T53" fmla="*/ 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203">
                <a:moveTo>
                  <a:pt x="140" y="63"/>
                </a:moveTo>
                <a:cubicBezTo>
                  <a:pt x="132" y="53"/>
                  <a:pt x="122" y="46"/>
                  <a:pt x="108" y="46"/>
                </a:cubicBezTo>
                <a:cubicBezTo>
                  <a:pt x="94" y="46"/>
                  <a:pt x="83" y="53"/>
                  <a:pt x="77" y="65"/>
                </a:cubicBezTo>
                <a:cubicBezTo>
                  <a:pt x="121" y="65"/>
                  <a:pt x="121" y="65"/>
                  <a:pt x="121" y="65"/>
                </a:cubicBezTo>
                <a:cubicBezTo>
                  <a:pt x="121" y="94"/>
                  <a:pt x="121" y="94"/>
                  <a:pt x="121" y="94"/>
                </a:cubicBezTo>
                <a:cubicBezTo>
                  <a:pt x="71" y="94"/>
                  <a:pt x="71" y="94"/>
                  <a:pt x="71" y="94"/>
                </a:cubicBezTo>
                <a:cubicBezTo>
                  <a:pt x="71" y="96"/>
                  <a:pt x="71" y="99"/>
                  <a:pt x="71" y="101"/>
                </a:cubicBezTo>
                <a:cubicBezTo>
                  <a:pt x="71" y="103"/>
                  <a:pt x="71" y="106"/>
                  <a:pt x="71" y="108"/>
                </a:cubicBezTo>
                <a:cubicBezTo>
                  <a:pt x="121" y="108"/>
                  <a:pt x="121" y="108"/>
                  <a:pt x="121" y="108"/>
                </a:cubicBezTo>
                <a:cubicBezTo>
                  <a:pt x="121" y="136"/>
                  <a:pt x="121" y="136"/>
                  <a:pt x="121" y="136"/>
                </a:cubicBezTo>
                <a:cubicBezTo>
                  <a:pt x="77" y="136"/>
                  <a:pt x="77" y="136"/>
                  <a:pt x="77" y="136"/>
                </a:cubicBezTo>
                <a:cubicBezTo>
                  <a:pt x="82" y="149"/>
                  <a:pt x="94" y="157"/>
                  <a:pt x="109" y="157"/>
                </a:cubicBezTo>
                <a:cubicBezTo>
                  <a:pt x="123" y="157"/>
                  <a:pt x="133" y="150"/>
                  <a:pt x="142" y="138"/>
                </a:cubicBezTo>
                <a:cubicBezTo>
                  <a:pt x="175" y="170"/>
                  <a:pt x="175" y="170"/>
                  <a:pt x="175" y="170"/>
                </a:cubicBezTo>
                <a:cubicBezTo>
                  <a:pt x="159" y="191"/>
                  <a:pt x="138" y="203"/>
                  <a:pt x="107" y="203"/>
                </a:cubicBezTo>
                <a:cubicBezTo>
                  <a:pt x="62" y="203"/>
                  <a:pt x="32" y="176"/>
                  <a:pt x="22" y="137"/>
                </a:cubicBezTo>
                <a:cubicBezTo>
                  <a:pt x="0" y="137"/>
                  <a:pt x="0" y="137"/>
                  <a:pt x="0" y="137"/>
                </a:cubicBezTo>
                <a:cubicBezTo>
                  <a:pt x="0" y="108"/>
                  <a:pt x="0" y="108"/>
                  <a:pt x="0" y="108"/>
                </a:cubicBezTo>
                <a:cubicBezTo>
                  <a:pt x="19" y="108"/>
                  <a:pt x="19" y="108"/>
                  <a:pt x="19" y="108"/>
                </a:cubicBezTo>
                <a:cubicBezTo>
                  <a:pt x="19" y="102"/>
                  <a:pt x="19" y="102"/>
                  <a:pt x="19" y="102"/>
                </a:cubicBezTo>
                <a:cubicBezTo>
                  <a:pt x="19" y="99"/>
                  <a:pt x="19" y="96"/>
                  <a:pt x="19" y="94"/>
                </a:cubicBezTo>
                <a:cubicBezTo>
                  <a:pt x="0" y="94"/>
                  <a:pt x="0" y="94"/>
                  <a:pt x="0" y="94"/>
                </a:cubicBezTo>
                <a:cubicBezTo>
                  <a:pt x="0" y="65"/>
                  <a:pt x="0" y="65"/>
                  <a:pt x="0" y="65"/>
                </a:cubicBezTo>
                <a:cubicBezTo>
                  <a:pt x="23" y="65"/>
                  <a:pt x="23" y="65"/>
                  <a:pt x="23" y="65"/>
                </a:cubicBezTo>
                <a:cubicBezTo>
                  <a:pt x="33" y="28"/>
                  <a:pt x="63" y="0"/>
                  <a:pt x="108" y="0"/>
                </a:cubicBezTo>
                <a:cubicBezTo>
                  <a:pt x="138" y="0"/>
                  <a:pt x="160" y="12"/>
                  <a:pt x="175" y="31"/>
                </a:cubicBezTo>
                <a:lnTo>
                  <a:pt x="140" y="63"/>
                </a:lnTo>
                <a:close/>
              </a:path>
            </a:pathLst>
          </a:custGeom>
          <a:solidFill>
            <a:schemeClr val="accent4"/>
          </a:solidFill>
          <a:ln>
            <a:solidFill>
              <a:schemeClr val="accent4"/>
            </a:solidFill>
          </a:ln>
          <a:extLst/>
        </p:spPr>
        <p:txBody>
          <a:bodyPr vert="horz" wrap="square" lIns="91407" tIns="45703" rIns="91407" bIns="45703" numCol="1" anchor="t" anchorCtr="0" compatLnSpc="1">
            <a:prstTxWarp prst="textNoShape">
              <a:avLst/>
            </a:prstTxWarp>
          </a:bodyPr>
          <a:lstStyle/>
          <a:p>
            <a:endParaRPr lang="en-GB" dirty="0">
              <a:solidFill>
                <a:schemeClr val="accent4"/>
              </a:solidFill>
              <a:latin typeface="Calibri" pitchFamily="34" charset="0"/>
            </a:endParaRPr>
          </a:p>
        </p:txBody>
      </p:sp>
      <p:sp>
        <p:nvSpPr>
          <p:cNvPr id="28" name="Freeform 48"/>
          <p:cNvSpPr>
            <a:spLocks/>
          </p:cNvSpPr>
          <p:nvPr/>
        </p:nvSpPr>
        <p:spPr bwMode="auto">
          <a:xfrm>
            <a:off x="5829669" y="3527355"/>
            <a:ext cx="186367" cy="220084"/>
          </a:xfrm>
          <a:custGeom>
            <a:avLst/>
            <a:gdLst>
              <a:gd name="T0" fmla="*/ 140 w 175"/>
              <a:gd name="T1" fmla="*/ 63 h 203"/>
              <a:gd name="T2" fmla="*/ 108 w 175"/>
              <a:gd name="T3" fmla="*/ 46 h 203"/>
              <a:gd name="T4" fmla="*/ 77 w 175"/>
              <a:gd name="T5" fmla="*/ 65 h 203"/>
              <a:gd name="T6" fmla="*/ 121 w 175"/>
              <a:gd name="T7" fmla="*/ 65 h 203"/>
              <a:gd name="T8" fmla="*/ 121 w 175"/>
              <a:gd name="T9" fmla="*/ 94 h 203"/>
              <a:gd name="T10" fmla="*/ 71 w 175"/>
              <a:gd name="T11" fmla="*/ 94 h 203"/>
              <a:gd name="T12" fmla="*/ 71 w 175"/>
              <a:gd name="T13" fmla="*/ 101 h 203"/>
              <a:gd name="T14" fmla="*/ 71 w 175"/>
              <a:gd name="T15" fmla="*/ 108 h 203"/>
              <a:gd name="T16" fmla="*/ 121 w 175"/>
              <a:gd name="T17" fmla="*/ 108 h 203"/>
              <a:gd name="T18" fmla="*/ 121 w 175"/>
              <a:gd name="T19" fmla="*/ 136 h 203"/>
              <a:gd name="T20" fmla="*/ 77 w 175"/>
              <a:gd name="T21" fmla="*/ 136 h 203"/>
              <a:gd name="T22" fmla="*/ 109 w 175"/>
              <a:gd name="T23" fmla="*/ 157 h 203"/>
              <a:gd name="T24" fmla="*/ 142 w 175"/>
              <a:gd name="T25" fmla="*/ 138 h 203"/>
              <a:gd name="T26" fmla="*/ 175 w 175"/>
              <a:gd name="T27" fmla="*/ 170 h 203"/>
              <a:gd name="T28" fmla="*/ 107 w 175"/>
              <a:gd name="T29" fmla="*/ 203 h 203"/>
              <a:gd name="T30" fmla="*/ 22 w 175"/>
              <a:gd name="T31" fmla="*/ 137 h 203"/>
              <a:gd name="T32" fmla="*/ 0 w 175"/>
              <a:gd name="T33" fmla="*/ 137 h 203"/>
              <a:gd name="T34" fmla="*/ 0 w 175"/>
              <a:gd name="T35" fmla="*/ 108 h 203"/>
              <a:gd name="T36" fmla="*/ 19 w 175"/>
              <a:gd name="T37" fmla="*/ 108 h 203"/>
              <a:gd name="T38" fmla="*/ 19 w 175"/>
              <a:gd name="T39" fmla="*/ 102 h 203"/>
              <a:gd name="T40" fmla="*/ 19 w 175"/>
              <a:gd name="T41" fmla="*/ 94 h 203"/>
              <a:gd name="T42" fmla="*/ 0 w 175"/>
              <a:gd name="T43" fmla="*/ 94 h 203"/>
              <a:gd name="T44" fmla="*/ 0 w 175"/>
              <a:gd name="T45" fmla="*/ 65 h 203"/>
              <a:gd name="T46" fmla="*/ 23 w 175"/>
              <a:gd name="T47" fmla="*/ 65 h 203"/>
              <a:gd name="T48" fmla="*/ 108 w 175"/>
              <a:gd name="T49" fmla="*/ 0 h 203"/>
              <a:gd name="T50" fmla="*/ 175 w 175"/>
              <a:gd name="T51" fmla="*/ 31 h 203"/>
              <a:gd name="T52" fmla="*/ 140 w 175"/>
              <a:gd name="T53" fmla="*/ 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203">
                <a:moveTo>
                  <a:pt x="140" y="63"/>
                </a:moveTo>
                <a:cubicBezTo>
                  <a:pt x="132" y="53"/>
                  <a:pt x="122" y="46"/>
                  <a:pt x="108" y="46"/>
                </a:cubicBezTo>
                <a:cubicBezTo>
                  <a:pt x="94" y="46"/>
                  <a:pt x="83" y="53"/>
                  <a:pt x="77" y="65"/>
                </a:cubicBezTo>
                <a:cubicBezTo>
                  <a:pt x="121" y="65"/>
                  <a:pt x="121" y="65"/>
                  <a:pt x="121" y="65"/>
                </a:cubicBezTo>
                <a:cubicBezTo>
                  <a:pt x="121" y="94"/>
                  <a:pt x="121" y="94"/>
                  <a:pt x="121" y="94"/>
                </a:cubicBezTo>
                <a:cubicBezTo>
                  <a:pt x="71" y="94"/>
                  <a:pt x="71" y="94"/>
                  <a:pt x="71" y="94"/>
                </a:cubicBezTo>
                <a:cubicBezTo>
                  <a:pt x="71" y="96"/>
                  <a:pt x="71" y="99"/>
                  <a:pt x="71" y="101"/>
                </a:cubicBezTo>
                <a:cubicBezTo>
                  <a:pt x="71" y="103"/>
                  <a:pt x="71" y="106"/>
                  <a:pt x="71" y="108"/>
                </a:cubicBezTo>
                <a:cubicBezTo>
                  <a:pt x="121" y="108"/>
                  <a:pt x="121" y="108"/>
                  <a:pt x="121" y="108"/>
                </a:cubicBezTo>
                <a:cubicBezTo>
                  <a:pt x="121" y="136"/>
                  <a:pt x="121" y="136"/>
                  <a:pt x="121" y="136"/>
                </a:cubicBezTo>
                <a:cubicBezTo>
                  <a:pt x="77" y="136"/>
                  <a:pt x="77" y="136"/>
                  <a:pt x="77" y="136"/>
                </a:cubicBezTo>
                <a:cubicBezTo>
                  <a:pt x="82" y="149"/>
                  <a:pt x="94" y="157"/>
                  <a:pt x="109" y="157"/>
                </a:cubicBezTo>
                <a:cubicBezTo>
                  <a:pt x="123" y="157"/>
                  <a:pt x="133" y="150"/>
                  <a:pt x="142" y="138"/>
                </a:cubicBezTo>
                <a:cubicBezTo>
                  <a:pt x="175" y="170"/>
                  <a:pt x="175" y="170"/>
                  <a:pt x="175" y="170"/>
                </a:cubicBezTo>
                <a:cubicBezTo>
                  <a:pt x="159" y="191"/>
                  <a:pt x="138" y="203"/>
                  <a:pt x="107" y="203"/>
                </a:cubicBezTo>
                <a:cubicBezTo>
                  <a:pt x="62" y="203"/>
                  <a:pt x="32" y="176"/>
                  <a:pt x="22" y="137"/>
                </a:cubicBezTo>
                <a:cubicBezTo>
                  <a:pt x="0" y="137"/>
                  <a:pt x="0" y="137"/>
                  <a:pt x="0" y="137"/>
                </a:cubicBezTo>
                <a:cubicBezTo>
                  <a:pt x="0" y="108"/>
                  <a:pt x="0" y="108"/>
                  <a:pt x="0" y="108"/>
                </a:cubicBezTo>
                <a:cubicBezTo>
                  <a:pt x="19" y="108"/>
                  <a:pt x="19" y="108"/>
                  <a:pt x="19" y="108"/>
                </a:cubicBezTo>
                <a:cubicBezTo>
                  <a:pt x="19" y="102"/>
                  <a:pt x="19" y="102"/>
                  <a:pt x="19" y="102"/>
                </a:cubicBezTo>
                <a:cubicBezTo>
                  <a:pt x="19" y="99"/>
                  <a:pt x="19" y="96"/>
                  <a:pt x="19" y="94"/>
                </a:cubicBezTo>
                <a:cubicBezTo>
                  <a:pt x="0" y="94"/>
                  <a:pt x="0" y="94"/>
                  <a:pt x="0" y="94"/>
                </a:cubicBezTo>
                <a:cubicBezTo>
                  <a:pt x="0" y="65"/>
                  <a:pt x="0" y="65"/>
                  <a:pt x="0" y="65"/>
                </a:cubicBezTo>
                <a:cubicBezTo>
                  <a:pt x="23" y="65"/>
                  <a:pt x="23" y="65"/>
                  <a:pt x="23" y="65"/>
                </a:cubicBezTo>
                <a:cubicBezTo>
                  <a:pt x="33" y="28"/>
                  <a:pt x="63" y="0"/>
                  <a:pt x="108" y="0"/>
                </a:cubicBezTo>
                <a:cubicBezTo>
                  <a:pt x="138" y="0"/>
                  <a:pt x="160" y="12"/>
                  <a:pt x="175" y="31"/>
                </a:cubicBezTo>
                <a:lnTo>
                  <a:pt x="140" y="63"/>
                </a:lnTo>
                <a:close/>
              </a:path>
            </a:pathLst>
          </a:custGeom>
          <a:solidFill>
            <a:schemeClr val="accent4"/>
          </a:solidFill>
          <a:ln>
            <a:solidFill>
              <a:schemeClr val="bg1"/>
            </a:solidFill>
          </a:ln>
          <a:extLst/>
        </p:spPr>
        <p:txBody>
          <a:bodyPr vert="horz" wrap="square" lIns="91407" tIns="45703" rIns="91407" bIns="45703" numCol="1" anchor="t" anchorCtr="0" compatLnSpc="1">
            <a:prstTxWarp prst="textNoShape">
              <a:avLst/>
            </a:prstTxWarp>
          </a:bodyPr>
          <a:lstStyle/>
          <a:p>
            <a:endParaRPr lang="en-GB" b="1" dirty="0">
              <a:latin typeface="Calibri" pitchFamily="34" charset="0"/>
            </a:endParaRPr>
          </a:p>
        </p:txBody>
      </p:sp>
      <p:sp>
        <p:nvSpPr>
          <p:cNvPr id="46" name="Freeform 24"/>
          <p:cNvSpPr>
            <a:spLocks/>
          </p:cNvSpPr>
          <p:nvPr/>
        </p:nvSpPr>
        <p:spPr bwMode="auto">
          <a:xfrm>
            <a:off x="3798388" y="2531501"/>
            <a:ext cx="43722" cy="95323"/>
          </a:xfrm>
          <a:custGeom>
            <a:avLst/>
            <a:gdLst>
              <a:gd name="T0" fmla="*/ 1 w 20"/>
              <a:gd name="T1" fmla="*/ 0 h 43"/>
              <a:gd name="T2" fmla="*/ 0 w 20"/>
              <a:gd name="T3" fmla="*/ 10 h 43"/>
              <a:gd name="T4" fmla="*/ 10 w 20"/>
              <a:gd name="T5" fmla="*/ 43 h 43"/>
              <a:gd name="T6" fmla="*/ 20 w 20"/>
              <a:gd name="T7" fmla="*/ 21 h 43"/>
              <a:gd name="T8" fmla="*/ 1 w 20"/>
              <a:gd name="T9" fmla="*/ 0 h 43"/>
            </a:gdLst>
            <a:ahLst/>
            <a:cxnLst>
              <a:cxn ang="0">
                <a:pos x="T0" y="T1"/>
              </a:cxn>
              <a:cxn ang="0">
                <a:pos x="T2" y="T3"/>
              </a:cxn>
              <a:cxn ang="0">
                <a:pos x="T4" y="T5"/>
              </a:cxn>
              <a:cxn ang="0">
                <a:pos x="T6" y="T7"/>
              </a:cxn>
              <a:cxn ang="0">
                <a:pos x="T8" y="T9"/>
              </a:cxn>
            </a:cxnLst>
            <a:rect l="0" t="0" r="r" b="b"/>
            <a:pathLst>
              <a:path w="20" h="43">
                <a:moveTo>
                  <a:pt x="1" y="0"/>
                </a:moveTo>
                <a:cubicBezTo>
                  <a:pt x="0" y="4"/>
                  <a:pt x="0" y="7"/>
                  <a:pt x="0" y="10"/>
                </a:cubicBezTo>
                <a:cubicBezTo>
                  <a:pt x="0" y="24"/>
                  <a:pt x="4" y="34"/>
                  <a:pt x="10" y="43"/>
                </a:cubicBezTo>
                <a:cubicBezTo>
                  <a:pt x="16" y="37"/>
                  <a:pt x="20" y="29"/>
                  <a:pt x="20" y="21"/>
                </a:cubicBezTo>
                <a:cubicBezTo>
                  <a:pt x="20" y="13"/>
                  <a:pt x="12" y="7"/>
                  <a:pt x="1" y="0"/>
                </a:cubicBezTo>
                <a:close/>
              </a:path>
            </a:pathLst>
          </a:custGeom>
          <a:solidFill>
            <a:schemeClr val="bg1"/>
          </a:solidFill>
          <a:ln w="9525">
            <a:solidFill>
              <a:schemeClr val="accent4"/>
            </a:solidFill>
            <a:round/>
            <a:headEnd/>
            <a:tailEnd/>
          </a:ln>
          <a:extLst/>
        </p:spPr>
        <p:txBody>
          <a:bodyPr vert="horz" wrap="square" lIns="91420" tIns="45709" rIns="91420" bIns="45709" numCol="1" anchor="t" anchorCtr="0" compatLnSpc="1">
            <a:prstTxWarp prst="textNoShape">
              <a:avLst/>
            </a:prstTxWarp>
          </a:bodyPr>
          <a:lstStyle/>
          <a:p>
            <a:endParaRPr lang="en-GB" dirty="0">
              <a:solidFill>
                <a:schemeClr val="accent4"/>
              </a:solidFill>
              <a:latin typeface="Calibri" pitchFamily="34" charset="0"/>
            </a:endParaRPr>
          </a:p>
        </p:txBody>
      </p:sp>
      <p:sp>
        <p:nvSpPr>
          <p:cNvPr id="48" name="Freeform 26"/>
          <p:cNvSpPr>
            <a:spLocks/>
          </p:cNvSpPr>
          <p:nvPr/>
        </p:nvSpPr>
        <p:spPr bwMode="auto">
          <a:xfrm>
            <a:off x="3865959" y="2651481"/>
            <a:ext cx="67932" cy="30916"/>
          </a:xfrm>
          <a:custGeom>
            <a:avLst/>
            <a:gdLst>
              <a:gd name="T0" fmla="*/ 29 w 31"/>
              <a:gd name="T1" fmla="*/ 11 h 14"/>
              <a:gd name="T2" fmla="*/ 7 w 31"/>
              <a:gd name="T3" fmla="*/ 0 h 14"/>
              <a:gd name="T4" fmla="*/ 0 w 31"/>
              <a:gd name="T5" fmla="*/ 6 h 14"/>
              <a:gd name="T6" fmla="*/ 28 w 31"/>
              <a:gd name="T7" fmla="*/ 14 h 14"/>
              <a:gd name="T8" fmla="*/ 28 w 31"/>
              <a:gd name="T9" fmla="*/ 14 h 14"/>
              <a:gd name="T10" fmla="*/ 30 w 31"/>
              <a:gd name="T11" fmla="*/ 13 h 14"/>
              <a:gd name="T12" fmla="*/ 29 w 31"/>
              <a:gd name="T13" fmla="*/ 11 h 14"/>
            </a:gdLst>
            <a:ahLst/>
            <a:cxnLst>
              <a:cxn ang="0">
                <a:pos x="T0" y="T1"/>
              </a:cxn>
              <a:cxn ang="0">
                <a:pos x="T2" y="T3"/>
              </a:cxn>
              <a:cxn ang="0">
                <a:pos x="T4" y="T5"/>
              </a:cxn>
              <a:cxn ang="0">
                <a:pos x="T6" y="T7"/>
              </a:cxn>
              <a:cxn ang="0">
                <a:pos x="T8" y="T9"/>
              </a:cxn>
              <a:cxn ang="0">
                <a:pos x="T10" y="T11"/>
              </a:cxn>
              <a:cxn ang="0">
                <a:pos x="T12" y="T13"/>
              </a:cxn>
            </a:cxnLst>
            <a:rect l="0" t="0" r="r" b="b"/>
            <a:pathLst>
              <a:path w="31" h="14">
                <a:moveTo>
                  <a:pt x="29" y="11"/>
                </a:moveTo>
                <a:cubicBezTo>
                  <a:pt x="22" y="9"/>
                  <a:pt x="14" y="5"/>
                  <a:pt x="7" y="0"/>
                </a:cubicBezTo>
                <a:cubicBezTo>
                  <a:pt x="5" y="2"/>
                  <a:pt x="3" y="4"/>
                  <a:pt x="0" y="6"/>
                </a:cubicBezTo>
                <a:cubicBezTo>
                  <a:pt x="11" y="11"/>
                  <a:pt x="21" y="14"/>
                  <a:pt x="28" y="14"/>
                </a:cubicBezTo>
                <a:cubicBezTo>
                  <a:pt x="28" y="14"/>
                  <a:pt x="28" y="14"/>
                  <a:pt x="28" y="14"/>
                </a:cubicBezTo>
                <a:cubicBezTo>
                  <a:pt x="29" y="14"/>
                  <a:pt x="30" y="14"/>
                  <a:pt x="30" y="13"/>
                </a:cubicBezTo>
                <a:cubicBezTo>
                  <a:pt x="31" y="12"/>
                  <a:pt x="30" y="11"/>
                  <a:pt x="29" y="11"/>
                </a:cubicBezTo>
                <a:close/>
              </a:path>
            </a:pathLst>
          </a:custGeom>
          <a:solidFill>
            <a:schemeClr val="bg1"/>
          </a:solidFill>
          <a:ln w="9525">
            <a:solidFill>
              <a:schemeClr val="accent4"/>
            </a:solidFill>
            <a:round/>
            <a:headEnd/>
            <a:tailEnd/>
          </a:ln>
          <a:extLst/>
        </p:spPr>
        <p:txBody>
          <a:bodyPr vert="horz" wrap="square" lIns="91420" tIns="45709" rIns="91420" bIns="45709" numCol="1" anchor="t" anchorCtr="0" compatLnSpc="1">
            <a:prstTxWarp prst="textNoShape">
              <a:avLst/>
            </a:prstTxWarp>
          </a:bodyPr>
          <a:lstStyle/>
          <a:p>
            <a:endParaRPr lang="en-GB" dirty="0">
              <a:solidFill>
                <a:schemeClr val="accent4"/>
              </a:solidFill>
              <a:latin typeface="Calibri" pitchFamily="34" charset="0"/>
            </a:endParaRPr>
          </a:p>
        </p:txBody>
      </p:sp>
      <p:sp>
        <p:nvSpPr>
          <p:cNvPr id="49" name="Freeform 27"/>
          <p:cNvSpPr>
            <a:spLocks/>
          </p:cNvSpPr>
          <p:nvPr/>
        </p:nvSpPr>
        <p:spPr bwMode="auto">
          <a:xfrm>
            <a:off x="3719617" y="2415568"/>
            <a:ext cx="183562" cy="266831"/>
          </a:xfrm>
          <a:custGeom>
            <a:avLst/>
            <a:gdLst>
              <a:gd name="T0" fmla="*/ 40 w 84"/>
              <a:gd name="T1" fmla="*/ 14 h 120"/>
              <a:gd name="T2" fmla="*/ 51 w 84"/>
              <a:gd name="T3" fmla="*/ 4 h 120"/>
              <a:gd name="T4" fmla="*/ 51 w 84"/>
              <a:gd name="T5" fmla="*/ 2 h 120"/>
              <a:gd name="T6" fmla="*/ 50 w 84"/>
              <a:gd name="T7" fmla="*/ 0 h 120"/>
              <a:gd name="T8" fmla="*/ 2 w 84"/>
              <a:gd name="T9" fmla="*/ 0 h 120"/>
              <a:gd name="T10" fmla="*/ 0 w 84"/>
              <a:gd name="T11" fmla="*/ 2 h 120"/>
              <a:gd name="T12" fmla="*/ 0 w 84"/>
              <a:gd name="T13" fmla="*/ 47 h 120"/>
              <a:gd name="T14" fmla="*/ 1 w 84"/>
              <a:gd name="T15" fmla="*/ 49 h 120"/>
              <a:gd name="T16" fmla="*/ 3 w 84"/>
              <a:gd name="T17" fmla="*/ 49 h 120"/>
              <a:gd name="T18" fmla="*/ 18 w 84"/>
              <a:gd name="T19" fmla="*/ 35 h 120"/>
              <a:gd name="T20" fmla="*/ 64 w 84"/>
              <a:gd name="T21" fmla="*/ 73 h 120"/>
              <a:gd name="T22" fmla="*/ 23 w 84"/>
              <a:gd name="T23" fmla="*/ 117 h 120"/>
              <a:gd name="T24" fmla="*/ 22 w 84"/>
              <a:gd name="T25" fmla="*/ 119 h 120"/>
              <a:gd name="T26" fmla="*/ 24 w 84"/>
              <a:gd name="T27" fmla="*/ 120 h 120"/>
              <a:gd name="T28" fmla="*/ 24 w 84"/>
              <a:gd name="T29" fmla="*/ 120 h 120"/>
              <a:gd name="T30" fmla="*/ 84 w 84"/>
              <a:gd name="T31" fmla="*/ 62 h 120"/>
              <a:gd name="T32" fmla="*/ 40 w 84"/>
              <a:gd name="T33" fmla="*/ 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20">
                <a:moveTo>
                  <a:pt x="40" y="14"/>
                </a:moveTo>
                <a:cubicBezTo>
                  <a:pt x="51" y="4"/>
                  <a:pt x="51" y="4"/>
                  <a:pt x="51" y="4"/>
                </a:cubicBezTo>
                <a:cubicBezTo>
                  <a:pt x="52" y="3"/>
                  <a:pt x="52" y="2"/>
                  <a:pt x="51" y="2"/>
                </a:cubicBezTo>
                <a:cubicBezTo>
                  <a:pt x="51" y="1"/>
                  <a:pt x="50" y="0"/>
                  <a:pt x="50" y="0"/>
                </a:cubicBezTo>
                <a:cubicBezTo>
                  <a:pt x="2" y="0"/>
                  <a:pt x="2" y="0"/>
                  <a:pt x="2" y="0"/>
                </a:cubicBezTo>
                <a:cubicBezTo>
                  <a:pt x="0" y="0"/>
                  <a:pt x="0" y="1"/>
                  <a:pt x="0" y="2"/>
                </a:cubicBezTo>
                <a:cubicBezTo>
                  <a:pt x="0" y="47"/>
                  <a:pt x="0" y="47"/>
                  <a:pt x="0" y="47"/>
                </a:cubicBezTo>
                <a:cubicBezTo>
                  <a:pt x="0" y="48"/>
                  <a:pt x="0" y="49"/>
                  <a:pt x="1" y="49"/>
                </a:cubicBezTo>
                <a:cubicBezTo>
                  <a:pt x="2" y="49"/>
                  <a:pt x="2" y="49"/>
                  <a:pt x="3" y="49"/>
                </a:cubicBezTo>
                <a:cubicBezTo>
                  <a:pt x="18" y="35"/>
                  <a:pt x="18" y="35"/>
                  <a:pt x="18" y="35"/>
                </a:cubicBezTo>
                <a:cubicBezTo>
                  <a:pt x="41" y="44"/>
                  <a:pt x="64" y="55"/>
                  <a:pt x="64" y="73"/>
                </a:cubicBezTo>
                <a:cubicBezTo>
                  <a:pt x="64" y="95"/>
                  <a:pt x="42" y="112"/>
                  <a:pt x="23" y="117"/>
                </a:cubicBezTo>
                <a:cubicBezTo>
                  <a:pt x="22" y="117"/>
                  <a:pt x="22" y="118"/>
                  <a:pt x="22" y="119"/>
                </a:cubicBezTo>
                <a:cubicBezTo>
                  <a:pt x="22" y="120"/>
                  <a:pt x="23" y="120"/>
                  <a:pt x="24" y="120"/>
                </a:cubicBezTo>
                <a:cubicBezTo>
                  <a:pt x="24" y="120"/>
                  <a:pt x="24" y="120"/>
                  <a:pt x="24" y="120"/>
                </a:cubicBezTo>
                <a:cubicBezTo>
                  <a:pt x="42" y="119"/>
                  <a:pt x="84" y="106"/>
                  <a:pt x="84" y="62"/>
                </a:cubicBezTo>
                <a:cubicBezTo>
                  <a:pt x="84" y="38"/>
                  <a:pt x="62" y="22"/>
                  <a:pt x="40" y="14"/>
                </a:cubicBezTo>
                <a:close/>
              </a:path>
            </a:pathLst>
          </a:custGeom>
          <a:solidFill>
            <a:schemeClr val="accent4"/>
          </a:solidFill>
          <a:ln w="9525">
            <a:solidFill>
              <a:schemeClr val="accent4"/>
            </a:solidFill>
            <a:round/>
            <a:headEnd/>
            <a:tailEnd/>
          </a:ln>
          <a:extLst/>
        </p:spPr>
        <p:txBody>
          <a:bodyPr vert="horz" wrap="square" lIns="91420" tIns="45709" rIns="91420" bIns="45709" numCol="1" anchor="t" anchorCtr="0" compatLnSpc="1">
            <a:prstTxWarp prst="textNoShape">
              <a:avLst/>
            </a:prstTxWarp>
          </a:bodyPr>
          <a:lstStyle/>
          <a:p>
            <a:endParaRPr lang="en-GB" dirty="0">
              <a:solidFill>
                <a:schemeClr val="accent4"/>
              </a:solidFill>
              <a:latin typeface="Calibri" pitchFamily="34" charset="0"/>
            </a:endParaRPr>
          </a:p>
        </p:txBody>
      </p:sp>
      <p:sp>
        <p:nvSpPr>
          <p:cNvPr id="45" name="TextBox 72"/>
          <p:cNvSpPr txBox="1"/>
          <p:nvPr/>
        </p:nvSpPr>
        <p:spPr>
          <a:xfrm>
            <a:off x="3665704" y="2655472"/>
            <a:ext cx="454315" cy="307754"/>
          </a:xfrm>
          <a:prstGeom prst="rect">
            <a:avLst/>
          </a:prstGeom>
          <a:noFill/>
          <a:ln>
            <a:noFill/>
          </a:ln>
        </p:spPr>
        <p:txBody>
          <a:bodyPr wrap="none" lIns="91420" tIns="45709" rIns="91420" bIns="45709" rtlCol="0">
            <a:spAutoFit/>
          </a:bodyPr>
          <a:lstStyle/>
          <a:p>
            <a:r>
              <a:rPr lang="en-GB" sz="1400" b="1" dirty="0">
                <a:solidFill>
                  <a:schemeClr val="accent4"/>
                </a:solidFill>
                <a:latin typeface="Calibri" pitchFamily="34" charset="0"/>
              </a:rPr>
              <a:t>flex</a:t>
            </a:r>
          </a:p>
        </p:txBody>
      </p:sp>
      <p:grpSp>
        <p:nvGrpSpPr>
          <p:cNvPr id="38" name="Group 23"/>
          <p:cNvGrpSpPr>
            <a:grpSpLocks noChangeAspect="1"/>
          </p:cNvGrpSpPr>
          <p:nvPr/>
        </p:nvGrpSpPr>
        <p:grpSpPr bwMode="auto">
          <a:xfrm>
            <a:off x="5721825" y="1876220"/>
            <a:ext cx="262334" cy="266831"/>
            <a:chOff x="6010" y="210"/>
            <a:chExt cx="726" cy="725"/>
          </a:xfrm>
          <a:solidFill>
            <a:schemeClr val="accent4"/>
          </a:solidFill>
        </p:grpSpPr>
        <p:sp>
          <p:nvSpPr>
            <p:cNvPr id="40" name="Freeform 24"/>
            <p:cNvSpPr>
              <a:spLocks/>
            </p:cNvSpPr>
            <p:nvPr/>
          </p:nvSpPr>
          <p:spPr bwMode="auto">
            <a:xfrm>
              <a:off x="6228" y="525"/>
              <a:ext cx="121" cy="259"/>
            </a:xfrm>
            <a:custGeom>
              <a:avLst/>
              <a:gdLst>
                <a:gd name="T0" fmla="*/ 1 w 20"/>
                <a:gd name="T1" fmla="*/ 0 h 43"/>
                <a:gd name="T2" fmla="*/ 0 w 20"/>
                <a:gd name="T3" fmla="*/ 10 h 43"/>
                <a:gd name="T4" fmla="*/ 10 w 20"/>
                <a:gd name="T5" fmla="*/ 43 h 43"/>
                <a:gd name="T6" fmla="*/ 20 w 20"/>
                <a:gd name="T7" fmla="*/ 21 h 43"/>
                <a:gd name="T8" fmla="*/ 1 w 20"/>
                <a:gd name="T9" fmla="*/ 0 h 43"/>
              </a:gdLst>
              <a:ahLst/>
              <a:cxnLst>
                <a:cxn ang="0">
                  <a:pos x="T0" y="T1"/>
                </a:cxn>
                <a:cxn ang="0">
                  <a:pos x="T2" y="T3"/>
                </a:cxn>
                <a:cxn ang="0">
                  <a:pos x="T4" y="T5"/>
                </a:cxn>
                <a:cxn ang="0">
                  <a:pos x="T6" y="T7"/>
                </a:cxn>
                <a:cxn ang="0">
                  <a:pos x="T8" y="T9"/>
                </a:cxn>
              </a:cxnLst>
              <a:rect l="0" t="0" r="r" b="b"/>
              <a:pathLst>
                <a:path w="20" h="43">
                  <a:moveTo>
                    <a:pt x="1" y="0"/>
                  </a:moveTo>
                  <a:cubicBezTo>
                    <a:pt x="0" y="4"/>
                    <a:pt x="0" y="7"/>
                    <a:pt x="0" y="10"/>
                  </a:cubicBezTo>
                  <a:cubicBezTo>
                    <a:pt x="0" y="24"/>
                    <a:pt x="4" y="34"/>
                    <a:pt x="10" y="43"/>
                  </a:cubicBezTo>
                  <a:cubicBezTo>
                    <a:pt x="16" y="37"/>
                    <a:pt x="20" y="29"/>
                    <a:pt x="20" y="21"/>
                  </a:cubicBezTo>
                  <a:cubicBezTo>
                    <a:pt x="20" y="13"/>
                    <a:pt x="12" y="7"/>
                    <a:pt x="1" y="0"/>
                  </a:cubicBezTo>
                  <a:close/>
                </a:path>
              </a:pathLst>
            </a:custGeom>
            <a:grpFill/>
            <a:ln w="9525">
              <a:solidFill>
                <a:schemeClr val="accent4"/>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4"/>
                </a:solidFill>
                <a:latin typeface="Calibri" pitchFamily="34" charset="0"/>
              </a:endParaRPr>
            </a:p>
          </p:txBody>
        </p:sp>
        <p:sp>
          <p:nvSpPr>
            <p:cNvPr id="41" name="Freeform 25"/>
            <p:cNvSpPr>
              <a:spLocks/>
            </p:cNvSpPr>
            <p:nvPr/>
          </p:nvSpPr>
          <p:spPr bwMode="auto">
            <a:xfrm>
              <a:off x="6415" y="210"/>
              <a:ext cx="321" cy="296"/>
            </a:xfrm>
            <a:custGeom>
              <a:avLst/>
              <a:gdLst>
                <a:gd name="T0" fmla="*/ 51 w 53"/>
                <a:gd name="T1" fmla="*/ 0 h 49"/>
                <a:gd name="T2" fmla="*/ 3 w 53"/>
                <a:gd name="T3" fmla="*/ 0 h 49"/>
                <a:gd name="T4" fmla="*/ 1 w 53"/>
                <a:gd name="T5" fmla="*/ 2 h 49"/>
                <a:gd name="T6" fmla="*/ 1 w 53"/>
                <a:gd name="T7" fmla="*/ 4 h 49"/>
                <a:gd name="T8" fmla="*/ 12 w 53"/>
                <a:gd name="T9" fmla="*/ 14 h 49"/>
                <a:gd name="T10" fmla="*/ 0 w 53"/>
                <a:gd name="T11" fmla="*/ 19 h 49"/>
                <a:gd name="T12" fmla="*/ 20 w 53"/>
                <a:gd name="T13" fmla="*/ 41 h 49"/>
                <a:gd name="T14" fmla="*/ 34 w 53"/>
                <a:gd name="T15" fmla="*/ 35 h 49"/>
                <a:gd name="T16" fmla="*/ 49 w 53"/>
                <a:gd name="T17" fmla="*/ 49 h 49"/>
                <a:gd name="T18" fmla="*/ 52 w 53"/>
                <a:gd name="T19" fmla="*/ 49 h 49"/>
                <a:gd name="T20" fmla="*/ 53 w 53"/>
                <a:gd name="T21" fmla="*/ 47 h 49"/>
                <a:gd name="T22" fmla="*/ 53 w 53"/>
                <a:gd name="T23" fmla="*/ 2 h 49"/>
                <a:gd name="T24" fmla="*/ 51 w 53"/>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49">
                  <a:moveTo>
                    <a:pt x="51" y="0"/>
                  </a:moveTo>
                  <a:cubicBezTo>
                    <a:pt x="3" y="0"/>
                    <a:pt x="3" y="0"/>
                    <a:pt x="3" y="0"/>
                  </a:cubicBezTo>
                  <a:cubicBezTo>
                    <a:pt x="2" y="0"/>
                    <a:pt x="1" y="1"/>
                    <a:pt x="1" y="2"/>
                  </a:cubicBezTo>
                  <a:cubicBezTo>
                    <a:pt x="1" y="2"/>
                    <a:pt x="1" y="3"/>
                    <a:pt x="1" y="4"/>
                  </a:cubicBezTo>
                  <a:cubicBezTo>
                    <a:pt x="12" y="14"/>
                    <a:pt x="12" y="14"/>
                    <a:pt x="12" y="14"/>
                  </a:cubicBezTo>
                  <a:cubicBezTo>
                    <a:pt x="8" y="15"/>
                    <a:pt x="4" y="17"/>
                    <a:pt x="0" y="19"/>
                  </a:cubicBezTo>
                  <a:cubicBezTo>
                    <a:pt x="9" y="25"/>
                    <a:pt x="15" y="33"/>
                    <a:pt x="20" y="41"/>
                  </a:cubicBezTo>
                  <a:cubicBezTo>
                    <a:pt x="24" y="39"/>
                    <a:pt x="29" y="37"/>
                    <a:pt x="34" y="35"/>
                  </a:cubicBezTo>
                  <a:cubicBezTo>
                    <a:pt x="49" y="49"/>
                    <a:pt x="49" y="49"/>
                    <a:pt x="49" y="49"/>
                  </a:cubicBezTo>
                  <a:cubicBezTo>
                    <a:pt x="50" y="49"/>
                    <a:pt x="51" y="49"/>
                    <a:pt x="52" y="49"/>
                  </a:cubicBezTo>
                  <a:cubicBezTo>
                    <a:pt x="52" y="49"/>
                    <a:pt x="53" y="48"/>
                    <a:pt x="53" y="47"/>
                  </a:cubicBezTo>
                  <a:cubicBezTo>
                    <a:pt x="53" y="2"/>
                    <a:pt x="53" y="2"/>
                    <a:pt x="53" y="2"/>
                  </a:cubicBezTo>
                  <a:cubicBezTo>
                    <a:pt x="53" y="1"/>
                    <a:pt x="52" y="0"/>
                    <a:pt x="51" y="0"/>
                  </a:cubicBezTo>
                  <a:close/>
                </a:path>
              </a:pathLst>
            </a:custGeom>
            <a:grpFill/>
            <a:ln w="9525">
              <a:solidFill>
                <a:schemeClr val="accent4"/>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4"/>
                </a:solidFill>
                <a:latin typeface="Calibri" pitchFamily="34" charset="0"/>
              </a:endParaRPr>
            </a:p>
          </p:txBody>
        </p:sp>
        <p:sp>
          <p:nvSpPr>
            <p:cNvPr id="42" name="Freeform 26"/>
            <p:cNvSpPr>
              <a:spLocks/>
            </p:cNvSpPr>
            <p:nvPr/>
          </p:nvSpPr>
          <p:spPr bwMode="auto">
            <a:xfrm>
              <a:off x="6415" y="851"/>
              <a:ext cx="188" cy="84"/>
            </a:xfrm>
            <a:custGeom>
              <a:avLst/>
              <a:gdLst>
                <a:gd name="T0" fmla="*/ 29 w 31"/>
                <a:gd name="T1" fmla="*/ 11 h 14"/>
                <a:gd name="T2" fmla="*/ 7 w 31"/>
                <a:gd name="T3" fmla="*/ 0 h 14"/>
                <a:gd name="T4" fmla="*/ 0 w 31"/>
                <a:gd name="T5" fmla="*/ 6 h 14"/>
                <a:gd name="T6" fmla="*/ 28 w 31"/>
                <a:gd name="T7" fmla="*/ 14 h 14"/>
                <a:gd name="T8" fmla="*/ 28 w 31"/>
                <a:gd name="T9" fmla="*/ 14 h 14"/>
                <a:gd name="T10" fmla="*/ 30 w 31"/>
                <a:gd name="T11" fmla="*/ 13 h 14"/>
                <a:gd name="T12" fmla="*/ 29 w 31"/>
                <a:gd name="T13" fmla="*/ 11 h 14"/>
              </a:gdLst>
              <a:ahLst/>
              <a:cxnLst>
                <a:cxn ang="0">
                  <a:pos x="T0" y="T1"/>
                </a:cxn>
                <a:cxn ang="0">
                  <a:pos x="T2" y="T3"/>
                </a:cxn>
                <a:cxn ang="0">
                  <a:pos x="T4" y="T5"/>
                </a:cxn>
                <a:cxn ang="0">
                  <a:pos x="T6" y="T7"/>
                </a:cxn>
                <a:cxn ang="0">
                  <a:pos x="T8" y="T9"/>
                </a:cxn>
                <a:cxn ang="0">
                  <a:pos x="T10" y="T11"/>
                </a:cxn>
                <a:cxn ang="0">
                  <a:pos x="T12" y="T13"/>
                </a:cxn>
              </a:cxnLst>
              <a:rect l="0" t="0" r="r" b="b"/>
              <a:pathLst>
                <a:path w="31" h="14">
                  <a:moveTo>
                    <a:pt x="29" y="11"/>
                  </a:moveTo>
                  <a:cubicBezTo>
                    <a:pt x="22" y="9"/>
                    <a:pt x="14" y="5"/>
                    <a:pt x="7" y="0"/>
                  </a:cubicBezTo>
                  <a:cubicBezTo>
                    <a:pt x="5" y="2"/>
                    <a:pt x="3" y="4"/>
                    <a:pt x="0" y="6"/>
                  </a:cubicBezTo>
                  <a:cubicBezTo>
                    <a:pt x="11" y="11"/>
                    <a:pt x="21" y="14"/>
                    <a:pt x="28" y="14"/>
                  </a:cubicBezTo>
                  <a:cubicBezTo>
                    <a:pt x="28" y="14"/>
                    <a:pt x="28" y="14"/>
                    <a:pt x="28" y="14"/>
                  </a:cubicBezTo>
                  <a:cubicBezTo>
                    <a:pt x="29" y="14"/>
                    <a:pt x="30" y="14"/>
                    <a:pt x="30" y="13"/>
                  </a:cubicBezTo>
                  <a:cubicBezTo>
                    <a:pt x="31" y="12"/>
                    <a:pt x="30" y="11"/>
                    <a:pt x="29" y="11"/>
                  </a:cubicBezTo>
                  <a:close/>
                </a:path>
              </a:pathLst>
            </a:custGeom>
            <a:grpFill/>
            <a:ln w="9525">
              <a:solidFill>
                <a:schemeClr val="accent4"/>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4"/>
                </a:solidFill>
                <a:latin typeface="Calibri" pitchFamily="34" charset="0"/>
              </a:endParaRPr>
            </a:p>
          </p:txBody>
        </p:sp>
        <p:sp>
          <p:nvSpPr>
            <p:cNvPr id="43" name="Freeform 27"/>
            <p:cNvSpPr>
              <a:spLocks/>
            </p:cNvSpPr>
            <p:nvPr/>
          </p:nvSpPr>
          <p:spPr bwMode="auto">
            <a:xfrm>
              <a:off x="6010" y="210"/>
              <a:ext cx="508" cy="725"/>
            </a:xfrm>
            <a:custGeom>
              <a:avLst/>
              <a:gdLst>
                <a:gd name="T0" fmla="*/ 40 w 84"/>
                <a:gd name="T1" fmla="*/ 14 h 120"/>
                <a:gd name="T2" fmla="*/ 51 w 84"/>
                <a:gd name="T3" fmla="*/ 4 h 120"/>
                <a:gd name="T4" fmla="*/ 51 w 84"/>
                <a:gd name="T5" fmla="*/ 2 h 120"/>
                <a:gd name="T6" fmla="*/ 50 w 84"/>
                <a:gd name="T7" fmla="*/ 0 h 120"/>
                <a:gd name="T8" fmla="*/ 2 w 84"/>
                <a:gd name="T9" fmla="*/ 0 h 120"/>
                <a:gd name="T10" fmla="*/ 0 w 84"/>
                <a:gd name="T11" fmla="*/ 2 h 120"/>
                <a:gd name="T12" fmla="*/ 0 w 84"/>
                <a:gd name="T13" fmla="*/ 47 h 120"/>
                <a:gd name="T14" fmla="*/ 1 w 84"/>
                <a:gd name="T15" fmla="*/ 49 h 120"/>
                <a:gd name="T16" fmla="*/ 3 w 84"/>
                <a:gd name="T17" fmla="*/ 49 h 120"/>
                <a:gd name="T18" fmla="*/ 18 w 84"/>
                <a:gd name="T19" fmla="*/ 35 h 120"/>
                <a:gd name="T20" fmla="*/ 64 w 84"/>
                <a:gd name="T21" fmla="*/ 73 h 120"/>
                <a:gd name="T22" fmla="*/ 23 w 84"/>
                <a:gd name="T23" fmla="*/ 117 h 120"/>
                <a:gd name="T24" fmla="*/ 22 w 84"/>
                <a:gd name="T25" fmla="*/ 119 h 120"/>
                <a:gd name="T26" fmla="*/ 24 w 84"/>
                <a:gd name="T27" fmla="*/ 120 h 120"/>
                <a:gd name="T28" fmla="*/ 24 w 84"/>
                <a:gd name="T29" fmla="*/ 120 h 120"/>
                <a:gd name="T30" fmla="*/ 84 w 84"/>
                <a:gd name="T31" fmla="*/ 62 h 120"/>
                <a:gd name="T32" fmla="*/ 40 w 84"/>
                <a:gd name="T33" fmla="*/ 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20">
                  <a:moveTo>
                    <a:pt x="40" y="14"/>
                  </a:moveTo>
                  <a:cubicBezTo>
                    <a:pt x="51" y="4"/>
                    <a:pt x="51" y="4"/>
                    <a:pt x="51" y="4"/>
                  </a:cubicBezTo>
                  <a:cubicBezTo>
                    <a:pt x="52" y="3"/>
                    <a:pt x="52" y="2"/>
                    <a:pt x="51" y="2"/>
                  </a:cubicBezTo>
                  <a:cubicBezTo>
                    <a:pt x="51" y="1"/>
                    <a:pt x="50" y="0"/>
                    <a:pt x="50" y="0"/>
                  </a:cubicBezTo>
                  <a:cubicBezTo>
                    <a:pt x="2" y="0"/>
                    <a:pt x="2" y="0"/>
                    <a:pt x="2" y="0"/>
                  </a:cubicBezTo>
                  <a:cubicBezTo>
                    <a:pt x="0" y="0"/>
                    <a:pt x="0" y="1"/>
                    <a:pt x="0" y="2"/>
                  </a:cubicBezTo>
                  <a:cubicBezTo>
                    <a:pt x="0" y="47"/>
                    <a:pt x="0" y="47"/>
                    <a:pt x="0" y="47"/>
                  </a:cubicBezTo>
                  <a:cubicBezTo>
                    <a:pt x="0" y="48"/>
                    <a:pt x="0" y="49"/>
                    <a:pt x="1" y="49"/>
                  </a:cubicBezTo>
                  <a:cubicBezTo>
                    <a:pt x="2" y="49"/>
                    <a:pt x="2" y="49"/>
                    <a:pt x="3" y="49"/>
                  </a:cubicBezTo>
                  <a:cubicBezTo>
                    <a:pt x="18" y="35"/>
                    <a:pt x="18" y="35"/>
                    <a:pt x="18" y="35"/>
                  </a:cubicBezTo>
                  <a:cubicBezTo>
                    <a:pt x="41" y="44"/>
                    <a:pt x="64" y="55"/>
                    <a:pt x="64" y="73"/>
                  </a:cubicBezTo>
                  <a:cubicBezTo>
                    <a:pt x="64" y="95"/>
                    <a:pt x="42" y="112"/>
                    <a:pt x="23" y="117"/>
                  </a:cubicBezTo>
                  <a:cubicBezTo>
                    <a:pt x="22" y="117"/>
                    <a:pt x="22" y="118"/>
                    <a:pt x="22" y="119"/>
                  </a:cubicBezTo>
                  <a:cubicBezTo>
                    <a:pt x="22" y="120"/>
                    <a:pt x="23" y="120"/>
                    <a:pt x="24" y="120"/>
                  </a:cubicBezTo>
                  <a:cubicBezTo>
                    <a:pt x="24" y="120"/>
                    <a:pt x="24" y="120"/>
                    <a:pt x="24" y="120"/>
                  </a:cubicBezTo>
                  <a:cubicBezTo>
                    <a:pt x="42" y="119"/>
                    <a:pt x="84" y="106"/>
                    <a:pt x="84" y="62"/>
                  </a:cubicBezTo>
                  <a:cubicBezTo>
                    <a:pt x="84" y="38"/>
                    <a:pt x="62" y="22"/>
                    <a:pt x="40" y="14"/>
                  </a:cubicBezTo>
                  <a:close/>
                </a:path>
              </a:pathLst>
            </a:custGeom>
            <a:grpFill/>
            <a:ln w="9525">
              <a:solidFill>
                <a:schemeClr val="accent4"/>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4"/>
                </a:solidFill>
                <a:latin typeface="Calibri" pitchFamily="34" charset="0"/>
              </a:endParaRPr>
            </a:p>
          </p:txBody>
        </p:sp>
      </p:grpSp>
      <p:sp>
        <p:nvSpPr>
          <p:cNvPr id="39" name="TextBox 106"/>
          <p:cNvSpPr txBox="1"/>
          <p:nvPr/>
        </p:nvSpPr>
        <p:spPr>
          <a:xfrm>
            <a:off x="5667909" y="2116125"/>
            <a:ext cx="454315" cy="307754"/>
          </a:xfrm>
          <a:prstGeom prst="rect">
            <a:avLst/>
          </a:prstGeom>
          <a:noFill/>
          <a:ln>
            <a:noFill/>
          </a:ln>
        </p:spPr>
        <p:txBody>
          <a:bodyPr wrap="none" lIns="91420" tIns="45709" rIns="91420" bIns="45709" rtlCol="0">
            <a:spAutoFit/>
          </a:bodyPr>
          <a:lstStyle/>
          <a:p>
            <a:r>
              <a:rPr lang="en-GB" sz="1400" b="1" dirty="0">
                <a:solidFill>
                  <a:schemeClr val="accent4"/>
                </a:solidFill>
                <a:latin typeface="Calibri" pitchFamily="34" charset="0"/>
              </a:rPr>
              <a:t>flex</a:t>
            </a:r>
          </a:p>
        </p:txBody>
      </p:sp>
      <p:grpSp>
        <p:nvGrpSpPr>
          <p:cNvPr id="32" name="Group 23"/>
          <p:cNvGrpSpPr>
            <a:grpSpLocks noChangeAspect="1"/>
          </p:cNvGrpSpPr>
          <p:nvPr/>
        </p:nvGrpSpPr>
        <p:grpSpPr bwMode="auto">
          <a:xfrm>
            <a:off x="5721824" y="2979674"/>
            <a:ext cx="262334" cy="266831"/>
            <a:chOff x="6010" y="210"/>
            <a:chExt cx="726" cy="725"/>
          </a:xfrm>
          <a:solidFill>
            <a:schemeClr val="accent4"/>
          </a:solidFill>
        </p:grpSpPr>
        <p:sp>
          <p:nvSpPr>
            <p:cNvPr id="34" name="Freeform 24"/>
            <p:cNvSpPr>
              <a:spLocks/>
            </p:cNvSpPr>
            <p:nvPr/>
          </p:nvSpPr>
          <p:spPr bwMode="auto">
            <a:xfrm>
              <a:off x="6228" y="525"/>
              <a:ext cx="121" cy="259"/>
            </a:xfrm>
            <a:custGeom>
              <a:avLst/>
              <a:gdLst>
                <a:gd name="T0" fmla="*/ 1 w 20"/>
                <a:gd name="T1" fmla="*/ 0 h 43"/>
                <a:gd name="T2" fmla="*/ 0 w 20"/>
                <a:gd name="T3" fmla="*/ 10 h 43"/>
                <a:gd name="T4" fmla="*/ 10 w 20"/>
                <a:gd name="T5" fmla="*/ 43 h 43"/>
                <a:gd name="T6" fmla="*/ 20 w 20"/>
                <a:gd name="T7" fmla="*/ 21 h 43"/>
                <a:gd name="T8" fmla="*/ 1 w 20"/>
                <a:gd name="T9" fmla="*/ 0 h 43"/>
              </a:gdLst>
              <a:ahLst/>
              <a:cxnLst>
                <a:cxn ang="0">
                  <a:pos x="T0" y="T1"/>
                </a:cxn>
                <a:cxn ang="0">
                  <a:pos x="T2" y="T3"/>
                </a:cxn>
                <a:cxn ang="0">
                  <a:pos x="T4" y="T5"/>
                </a:cxn>
                <a:cxn ang="0">
                  <a:pos x="T6" y="T7"/>
                </a:cxn>
                <a:cxn ang="0">
                  <a:pos x="T8" y="T9"/>
                </a:cxn>
              </a:cxnLst>
              <a:rect l="0" t="0" r="r" b="b"/>
              <a:pathLst>
                <a:path w="20" h="43">
                  <a:moveTo>
                    <a:pt x="1" y="0"/>
                  </a:moveTo>
                  <a:cubicBezTo>
                    <a:pt x="0" y="4"/>
                    <a:pt x="0" y="7"/>
                    <a:pt x="0" y="10"/>
                  </a:cubicBezTo>
                  <a:cubicBezTo>
                    <a:pt x="0" y="24"/>
                    <a:pt x="4" y="34"/>
                    <a:pt x="10" y="43"/>
                  </a:cubicBezTo>
                  <a:cubicBezTo>
                    <a:pt x="16" y="37"/>
                    <a:pt x="20" y="29"/>
                    <a:pt x="20" y="21"/>
                  </a:cubicBezTo>
                  <a:cubicBezTo>
                    <a:pt x="20" y="13"/>
                    <a:pt x="12" y="7"/>
                    <a:pt x="1" y="0"/>
                  </a:cubicBezTo>
                  <a:close/>
                </a:path>
              </a:pathLst>
            </a:custGeom>
            <a:grpFill/>
            <a:ln w="9525">
              <a:solidFill>
                <a:schemeClr val="accent4"/>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4"/>
                </a:solidFill>
                <a:latin typeface="Calibri" pitchFamily="34" charset="0"/>
              </a:endParaRPr>
            </a:p>
          </p:txBody>
        </p:sp>
        <p:sp>
          <p:nvSpPr>
            <p:cNvPr id="35" name="Freeform 25"/>
            <p:cNvSpPr>
              <a:spLocks/>
            </p:cNvSpPr>
            <p:nvPr/>
          </p:nvSpPr>
          <p:spPr bwMode="auto">
            <a:xfrm>
              <a:off x="6415" y="210"/>
              <a:ext cx="321" cy="296"/>
            </a:xfrm>
            <a:custGeom>
              <a:avLst/>
              <a:gdLst>
                <a:gd name="T0" fmla="*/ 51 w 53"/>
                <a:gd name="T1" fmla="*/ 0 h 49"/>
                <a:gd name="T2" fmla="*/ 3 w 53"/>
                <a:gd name="T3" fmla="*/ 0 h 49"/>
                <a:gd name="T4" fmla="*/ 1 w 53"/>
                <a:gd name="T5" fmla="*/ 2 h 49"/>
                <a:gd name="T6" fmla="*/ 1 w 53"/>
                <a:gd name="T7" fmla="*/ 4 h 49"/>
                <a:gd name="T8" fmla="*/ 12 w 53"/>
                <a:gd name="T9" fmla="*/ 14 h 49"/>
                <a:gd name="T10" fmla="*/ 0 w 53"/>
                <a:gd name="T11" fmla="*/ 19 h 49"/>
                <a:gd name="T12" fmla="*/ 20 w 53"/>
                <a:gd name="T13" fmla="*/ 41 h 49"/>
                <a:gd name="T14" fmla="*/ 34 w 53"/>
                <a:gd name="T15" fmla="*/ 35 h 49"/>
                <a:gd name="T16" fmla="*/ 49 w 53"/>
                <a:gd name="T17" fmla="*/ 49 h 49"/>
                <a:gd name="T18" fmla="*/ 52 w 53"/>
                <a:gd name="T19" fmla="*/ 49 h 49"/>
                <a:gd name="T20" fmla="*/ 53 w 53"/>
                <a:gd name="T21" fmla="*/ 47 h 49"/>
                <a:gd name="T22" fmla="*/ 53 w 53"/>
                <a:gd name="T23" fmla="*/ 2 h 49"/>
                <a:gd name="T24" fmla="*/ 51 w 53"/>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49">
                  <a:moveTo>
                    <a:pt x="51" y="0"/>
                  </a:moveTo>
                  <a:cubicBezTo>
                    <a:pt x="3" y="0"/>
                    <a:pt x="3" y="0"/>
                    <a:pt x="3" y="0"/>
                  </a:cubicBezTo>
                  <a:cubicBezTo>
                    <a:pt x="2" y="0"/>
                    <a:pt x="1" y="1"/>
                    <a:pt x="1" y="2"/>
                  </a:cubicBezTo>
                  <a:cubicBezTo>
                    <a:pt x="1" y="2"/>
                    <a:pt x="1" y="3"/>
                    <a:pt x="1" y="4"/>
                  </a:cubicBezTo>
                  <a:cubicBezTo>
                    <a:pt x="12" y="14"/>
                    <a:pt x="12" y="14"/>
                    <a:pt x="12" y="14"/>
                  </a:cubicBezTo>
                  <a:cubicBezTo>
                    <a:pt x="8" y="15"/>
                    <a:pt x="4" y="17"/>
                    <a:pt x="0" y="19"/>
                  </a:cubicBezTo>
                  <a:cubicBezTo>
                    <a:pt x="9" y="25"/>
                    <a:pt x="15" y="33"/>
                    <a:pt x="20" y="41"/>
                  </a:cubicBezTo>
                  <a:cubicBezTo>
                    <a:pt x="24" y="39"/>
                    <a:pt x="29" y="37"/>
                    <a:pt x="34" y="35"/>
                  </a:cubicBezTo>
                  <a:cubicBezTo>
                    <a:pt x="49" y="49"/>
                    <a:pt x="49" y="49"/>
                    <a:pt x="49" y="49"/>
                  </a:cubicBezTo>
                  <a:cubicBezTo>
                    <a:pt x="50" y="49"/>
                    <a:pt x="51" y="49"/>
                    <a:pt x="52" y="49"/>
                  </a:cubicBezTo>
                  <a:cubicBezTo>
                    <a:pt x="52" y="49"/>
                    <a:pt x="53" y="48"/>
                    <a:pt x="53" y="47"/>
                  </a:cubicBezTo>
                  <a:cubicBezTo>
                    <a:pt x="53" y="2"/>
                    <a:pt x="53" y="2"/>
                    <a:pt x="53" y="2"/>
                  </a:cubicBezTo>
                  <a:cubicBezTo>
                    <a:pt x="53" y="1"/>
                    <a:pt x="52" y="0"/>
                    <a:pt x="51" y="0"/>
                  </a:cubicBezTo>
                  <a:close/>
                </a:path>
              </a:pathLst>
            </a:custGeom>
            <a:grpFill/>
            <a:ln w="9525">
              <a:solidFill>
                <a:schemeClr val="accent4"/>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4"/>
                </a:solidFill>
                <a:latin typeface="Calibri" pitchFamily="34" charset="0"/>
              </a:endParaRPr>
            </a:p>
          </p:txBody>
        </p:sp>
        <p:sp>
          <p:nvSpPr>
            <p:cNvPr id="36" name="Freeform 26"/>
            <p:cNvSpPr>
              <a:spLocks/>
            </p:cNvSpPr>
            <p:nvPr/>
          </p:nvSpPr>
          <p:spPr bwMode="auto">
            <a:xfrm>
              <a:off x="6415" y="851"/>
              <a:ext cx="188" cy="84"/>
            </a:xfrm>
            <a:custGeom>
              <a:avLst/>
              <a:gdLst>
                <a:gd name="T0" fmla="*/ 29 w 31"/>
                <a:gd name="T1" fmla="*/ 11 h 14"/>
                <a:gd name="T2" fmla="*/ 7 w 31"/>
                <a:gd name="T3" fmla="*/ 0 h 14"/>
                <a:gd name="T4" fmla="*/ 0 w 31"/>
                <a:gd name="T5" fmla="*/ 6 h 14"/>
                <a:gd name="T6" fmla="*/ 28 w 31"/>
                <a:gd name="T7" fmla="*/ 14 h 14"/>
                <a:gd name="T8" fmla="*/ 28 w 31"/>
                <a:gd name="T9" fmla="*/ 14 h 14"/>
                <a:gd name="T10" fmla="*/ 30 w 31"/>
                <a:gd name="T11" fmla="*/ 13 h 14"/>
                <a:gd name="T12" fmla="*/ 29 w 31"/>
                <a:gd name="T13" fmla="*/ 11 h 14"/>
              </a:gdLst>
              <a:ahLst/>
              <a:cxnLst>
                <a:cxn ang="0">
                  <a:pos x="T0" y="T1"/>
                </a:cxn>
                <a:cxn ang="0">
                  <a:pos x="T2" y="T3"/>
                </a:cxn>
                <a:cxn ang="0">
                  <a:pos x="T4" y="T5"/>
                </a:cxn>
                <a:cxn ang="0">
                  <a:pos x="T6" y="T7"/>
                </a:cxn>
                <a:cxn ang="0">
                  <a:pos x="T8" y="T9"/>
                </a:cxn>
                <a:cxn ang="0">
                  <a:pos x="T10" y="T11"/>
                </a:cxn>
                <a:cxn ang="0">
                  <a:pos x="T12" y="T13"/>
                </a:cxn>
              </a:cxnLst>
              <a:rect l="0" t="0" r="r" b="b"/>
              <a:pathLst>
                <a:path w="31" h="14">
                  <a:moveTo>
                    <a:pt x="29" y="11"/>
                  </a:moveTo>
                  <a:cubicBezTo>
                    <a:pt x="22" y="9"/>
                    <a:pt x="14" y="5"/>
                    <a:pt x="7" y="0"/>
                  </a:cubicBezTo>
                  <a:cubicBezTo>
                    <a:pt x="5" y="2"/>
                    <a:pt x="3" y="4"/>
                    <a:pt x="0" y="6"/>
                  </a:cubicBezTo>
                  <a:cubicBezTo>
                    <a:pt x="11" y="11"/>
                    <a:pt x="21" y="14"/>
                    <a:pt x="28" y="14"/>
                  </a:cubicBezTo>
                  <a:cubicBezTo>
                    <a:pt x="28" y="14"/>
                    <a:pt x="28" y="14"/>
                    <a:pt x="28" y="14"/>
                  </a:cubicBezTo>
                  <a:cubicBezTo>
                    <a:pt x="29" y="14"/>
                    <a:pt x="30" y="14"/>
                    <a:pt x="30" y="13"/>
                  </a:cubicBezTo>
                  <a:cubicBezTo>
                    <a:pt x="31" y="12"/>
                    <a:pt x="30" y="11"/>
                    <a:pt x="29" y="11"/>
                  </a:cubicBezTo>
                  <a:close/>
                </a:path>
              </a:pathLst>
            </a:custGeom>
            <a:grpFill/>
            <a:ln w="9525">
              <a:solidFill>
                <a:schemeClr val="accent4"/>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4"/>
                </a:solidFill>
                <a:latin typeface="Calibri" pitchFamily="34" charset="0"/>
              </a:endParaRPr>
            </a:p>
          </p:txBody>
        </p:sp>
        <p:sp>
          <p:nvSpPr>
            <p:cNvPr id="37" name="Freeform 27"/>
            <p:cNvSpPr>
              <a:spLocks/>
            </p:cNvSpPr>
            <p:nvPr/>
          </p:nvSpPr>
          <p:spPr bwMode="auto">
            <a:xfrm>
              <a:off x="6010" y="210"/>
              <a:ext cx="508" cy="725"/>
            </a:xfrm>
            <a:custGeom>
              <a:avLst/>
              <a:gdLst>
                <a:gd name="T0" fmla="*/ 40 w 84"/>
                <a:gd name="T1" fmla="*/ 14 h 120"/>
                <a:gd name="T2" fmla="*/ 51 w 84"/>
                <a:gd name="T3" fmla="*/ 4 h 120"/>
                <a:gd name="T4" fmla="*/ 51 w 84"/>
                <a:gd name="T5" fmla="*/ 2 h 120"/>
                <a:gd name="T6" fmla="*/ 50 w 84"/>
                <a:gd name="T7" fmla="*/ 0 h 120"/>
                <a:gd name="T8" fmla="*/ 2 w 84"/>
                <a:gd name="T9" fmla="*/ 0 h 120"/>
                <a:gd name="T10" fmla="*/ 0 w 84"/>
                <a:gd name="T11" fmla="*/ 2 h 120"/>
                <a:gd name="T12" fmla="*/ 0 w 84"/>
                <a:gd name="T13" fmla="*/ 47 h 120"/>
                <a:gd name="T14" fmla="*/ 1 w 84"/>
                <a:gd name="T15" fmla="*/ 49 h 120"/>
                <a:gd name="T16" fmla="*/ 3 w 84"/>
                <a:gd name="T17" fmla="*/ 49 h 120"/>
                <a:gd name="T18" fmla="*/ 18 w 84"/>
                <a:gd name="T19" fmla="*/ 35 h 120"/>
                <a:gd name="T20" fmla="*/ 64 w 84"/>
                <a:gd name="T21" fmla="*/ 73 h 120"/>
                <a:gd name="T22" fmla="*/ 23 w 84"/>
                <a:gd name="T23" fmla="*/ 117 h 120"/>
                <a:gd name="T24" fmla="*/ 22 w 84"/>
                <a:gd name="T25" fmla="*/ 119 h 120"/>
                <a:gd name="T26" fmla="*/ 24 w 84"/>
                <a:gd name="T27" fmla="*/ 120 h 120"/>
                <a:gd name="T28" fmla="*/ 24 w 84"/>
                <a:gd name="T29" fmla="*/ 120 h 120"/>
                <a:gd name="T30" fmla="*/ 84 w 84"/>
                <a:gd name="T31" fmla="*/ 62 h 120"/>
                <a:gd name="T32" fmla="*/ 40 w 84"/>
                <a:gd name="T33" fmla="*/ 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20">
                  <a:moveTo>
                    <a:pt x="40" y="14"/>
                  </a:moveTo>
                  <a:cubicBezTo>
                    <a:pt x="51" y="4"/>
                    <a:pt x="51" y="4"/>
                    <a:pt x="51" y="4"/>
                  </a:cubicBezTo>
                  <a:cubicBezTo>
                    <a:pt x="52" y="3"/>
                    <a:pt x="52" y="2"/>
                    <a:pt x="51" y="2"/>
                  </a:cubicBezTo>
                  <a:cubicBezTo>
                    <a:pt x="51" y="1"/>
                    <a:pt x="50" y="0"/>
                    <a:pt x="50" y="0"/>
                  </a:cubicBezTo>
                  <a:cubicBezTo>
                    <a:pt x="2" y="0"/>
                    <a:pt x="2" y="0"/>
                    <a:pt x="2" y="0"/>
                  </a:cubicBezTo>
                  <a:cubicBezTo>
                    <a:pt x="0" y="0"/>
                    <a:pt x="0" y="1"/>
                    <a:pt x="0" y="2"/>
                  </a:cubicBezTo>
                  <a:cubicBezTo>
                    <a:pt x="0" y="47"/>
                    <a:pt x="0" y="47"/>
                    <a:pt x="0" y="47"/>
                  </a:cubicBezTo>
                  <a:cubicBezTo>
                    <a:pt x="0" y="48"/>
                    <a:pt x="0" y="49"/>
                    <a:pt x="1" y="49"/>
                  </a:cubicBezTo>
                  <a:cubicBezTo>
                    <a:pt x="2" y="49"/>
                    <a:pt x="2" y="49"/>
                    <a:pt x="3" y="49"/>
                  </a:cubicBezTo>
                  <a:cubicBezTo>
                    <a:pt x="18" y="35"/>
                    <a:pt x="18" y="35"/>
                    <a:pt x="18" y="35"/>
                  </a:cubicBezTo>
                  <a:cubicBezTo>
                    <a:pt x="41" y="44"/>
                    <a:pt x="64" y="55"/>
                    <a:pt x="64" y="73"/>
                  </a:cubicBezTo>
                  <a:cubicBezTo>
                    <a:pt x="64" y="95"/>
                    <a:pt x="42" y="112"/>
                    <a:pt x="23" y="117"/>
                  </a:cubicBezTo>
                  <a:cubicBezTo>
                    <a:pt x="22" y="117"/>
                    <a:pt x="22" y="118"/>
                    <a:pt x="22" y="119"/>
                  </a:cubicBezTo>
                  <a:cubicBezTo>
                    <a:pt x="22" y="120"/>
                    <a:pt x="23" y="120"/>
                    <a:pt x="24" y="120"/>
                  </a:cubicBezTo>
                  <a:cubicBezTo>
                    <a:pt x="24" y="120"/>
                    <a:pt x="24" y="120"/>
                    <a:pt x="24" y="120"/>
                  </a:cubicBezTo>
                  <a:cubicBezTo>
                    <a:pt x="42" y="119"/>
                    <a:pt x="84" y="106"/>
                    <a:pt x="84" y="62"/>
                  </a:cubicBezTo>
                  <a:cubicBezTo>
                    <a:pt x="84" y="38"/>
                    <a:pt x="62" y="22"/>
                    <a:pt x="40" y="14"/>
                  </a:cubicBezTo>
                  <a:close/>
                </a:path>
              </a:pathLst>
            </a:custGeom>
            <a:grpFill/>
            <a:ln w="9525">
              <a:solidFill>
                <a:schemeClr val="accent4"/>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4"/>
                </a:solidFill>
                <a:latin typeface="Calibri" pitchFamily="34" charset="0"/>
              </a:endParaRPr>
            </a:p>
          </p:txBody>
        </p:sp>
      </p:grpSp>
      <p:sp>
        <p:nvSpPr>
          <p:cNvPr id="33" name="TextBox 113"/>
          <p:cNvSpPr txBox="1"/>
          <p:nvPr/>
        </p:nvSpPr>
        <p:spPr>
          <a:xfrm>
            <a:off x="5667909" y="3219579"/>
            <a:ext cx="454315" cy="307754"/>
          </a:xfrm>
          <a:prstGeom prst="rect">
            <a:avLst/>
          </a:prstGeom>
          <a:noFill/>
          <a:ln>
            <a:noFill/>
          </a:ln>
        </p:spPr>
        <p:txBody>
          <a:bodyPr wrap="none" lIns="91420" tIns="45709" rIns="91420" bIns="45709" rtlCol="0">
            <a:spAutoFit/>
          </a:bodyPr>
          <a:lstStyle/>
          <a:p>
            <a:r>
              <a:rPr lang="en-GB" sz="1400" b="1" dirty="0">
                <a:solidFill>
                  <a:schemeClr val="accent4"/>
                </a:solidFill>
                <a:latin typeface="Calibri" pitchFamily="34" charset="0"/>
              </a:rPr>
              <a:t>flex</a:t>
            </a:r>
          </a:p>
        </p:txBody>
      </p:sp>
      <p:sp>
        <p:nvSpPr>
          <p:cNvPr id="4" name="Tekstvak 3"/>
          <p:cNvSpPr txBox="1"/>
          <p:nvPr/>
        </p:nvSpPr>
        <p:spPr>
          <a:xfrm>
            <a:off x="230734" y="2310859"/>
            <a:ext cx="1693072" cy="1290087"/>
          </a:xfrm>
          <a:prstGeom prst="rect">
            <a:avLst/>
          </a:prstGeom>
          <a:noFill/>
        </p:spPr>
        <p:txBody>
          <a:bodyPr wrap="none" lIns="91430" tIns="45715" rIns="91430" bIns="45715" rtlCol="0">
            <a:spAutoFit/>
          </a:bodyPr>
          <a:lstStyle/>
          <a:p>
            <a:pPr marL="171430" indent="-171430">
              <a:lnSpc>
                <a:spcPct val="114000"/>
              </a:lnSpc>
              <a:buFont typeface="Arial" panose="020B0604020202020204" pitchFamily="34" charset="0"/>
              <a:buChar char="•"/>
            </a:pPr>
            <a:r>
              <a:rPr lang="en-US" sz="1400" dirty="0">
                <a:cs typeface="Arial" panose="020B0604020202020204" pitchFamily="34" charset="0"/>
              </a:rPr>
              <a:t>Heat pump (50)</a:t>
            </a:r>
          </a:p>
          <a:p>
            <a:pPr marL="171430" indent="-171430">
              <a:lnSpc>
                <a:spcPct val="114000"/>
              </a:lnSpc>
              <a:buFont typeface="Arial" panose="020B0604020202020204" pitchFamily="34" charset="0"/>
              <a:buChar char="•"/>
            </a:pPr>
            <a:r>
              <a:rPr lang="en-US" sz="1400" dirty="0">
                <a:cs typeface="Arial" panose="020B0604020202020204" pitchFamily="34" charset="0"/>
              </a:rPr>
              <a:t>Fuel Cell (15)</a:t>
            </a:r>
          </a:p>
          <a:p>
            <a:pPr marL="171430" indent="-171430">
              <a:lnSpc>
                <a:spcPct val="114000"/>
              </a:lnSpc>
              <a:buFont typeface="Arial" panose="020B0604020202020204" pitchFamily="34" charset="0"/>
              <a:buChar char="•"/>
            </a:pPr>
            <a:r>
              <a:rPr lang="en-US" sz="1400" dirty="0">
                <a:cs typeface="Arial" panose="020B0604020202020204" pitchFamily="34" charset="0"/>
              </a:rPr>
              <a:t>Electric Boiler (45)</a:t>
            </a:r>
          </a:p>
          <a:p>
            <a:pPr marL="171430" indent="-171430">
              <a:lnSpc>
                <a:spcPct val="114000"/>
              </a:lnSpc>
              <a:buFont typeface="Arial" panose="020B0604020202020204" pitchFamily="34" charset="0"/>
              <a:buChar char="•"/>
            </a:pPr>
            <a:r>
              <a:rPr lang="en-US" sz="1400" dirty="0">
                <a:cs typeface="Arial" panose="020B0604020202020204" pitchFamily="34" charset="0"/>
              </a:rPr>
              <a:t>PV Switch (90)</a:t>
            </a:r>
          </a:p>
          <a:p>
            <a:endParaRPr lang="en-GB" sz="1400" dirty="0"/>
          </a:p>
        </p:txBody>
      </p:sp>
      <p:pic>
        <p:nvPicPr>
          <p:cNvPr id="80" name="Picture 4"/>
          <p:cNvPicPr>
            <a:picLocks noChangeAspect="1" noChangeArrowheads="1"/>
          </p:cNvPicPr>
          <p:nvPr>
            <p:custDataLst>
              <p:tags r:id="rId1"/>
            </p:custDataLst>
          </p:nvPr>
        </p:nvPicPr>
        <p:blipFill>
          <a:blip r:embed="rId9">
            <a:extLst>
              <a:ext uri="{28A0092B-C50C-407E-A947-70E740481C1C}">
                <a14:useLocalDpi xmlns:a14="http://schemas.microsoft.com/office/drawing/2010/main" val="0"/>
              </a:ext>
            </a:extLst>
          </a:blip>
          <a:srcRect/>
          <a:stretch>
            <a:fillRect/>
          </a:stretch>
        </p:blipFill>
        <p:spPr bwMode="auto">
          <a:xfrm>
            <a:off x="4435697" y="3617648"/>
            <a:ext cx="877850" cy="41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 name="Picture 2"/>
          <p:cNvPicPr>
            <a:picLocks noChangeAspect="1" noChangeArrowheads="1"/>
          </p:cNvPicPr>
          <p:nvPr>
            <p:custDataLst>
              <p:tags r:id="rId2"/>
            </p:custDataLst>
          </p:nvPr>
        </p:nvPicPr>
        <p:blipFill>
          <a:blip r:embed="rId10">
            <a:extLst>
              <a:ext uri="{28A0092B-C50C-407E-A947-70E740481C1C}">
                <a14:useLocalDpi xmlns:a14="http://schemas.microsoft.com/office/drawing/2010/main" val="0"/>
              </a:ext>
            </a:extLst>
          </a:blip>
          <a:srcRect/>
          <a:stretch>
            <a:fillRect/>
          </a:stretch>
        </p:blipFill>
        <p:spPr bwMode="auto">
          <a:xfrm>
            <a:off x="7706399" y="3748849"/>
            <a:ext cx="909308" cy="337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 name="Picture 4"/>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7799744" y="1623425"/>
            <a:ext cx="877850" cy="41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2" descr="http://www.startpagina.nl/athene/dochters/gemeente-heerhugowaard/images/pnb-heerhugowaard.jpg"/>
          <p:cNvPicPr>
            <a:picLocks noChangeAspect="1" noChangeArrowheads="1"/>
          </p:cNvPicPr>
          <p:nvPr/>
        </p:nvPicPr>
        <p:blipFill rotWithShape="1">
          <a:blip r:embed="rId11">
            <a:extLst>
              <a:ext uri="{28A0092B-C50C-407E-A947-70E740481C1C}">
                <a14:useLocalDpi xmlns:a14="http://schemas.microsoft.com/office/drawing/2010/main" val="0"/>
              </a:ext>
            </a:extLst>
          </a:blip>
          <a:srcRect l="4095" t="47342" r="9646" b="22633"/>
          <a:stretch/>
        </p:blipFill>
        <p:spPr bwMode="auto">
          <a:xfrm>
            <a:off x="814978" y="1810645"/>
            <a:ext cx="936781" cy="218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30290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p:cNvSpPr>
            <a:spLocks noGrp="1"/>
          </p:cNvSpPr>
          <p:nvPr>
            <p:ph type="ftr" sz="quarter" idx="10"/>
          </p:nvPr>
        </p:nvSpPr>
        <p:spPr/>
        <p:txBody>
          <a:bodyPr/>
          <a:lstStyle/>
          <a:p>
            <a:endParaRPr lang="en-GB" dirty="0" smtClean="0"/>
          </a:p>
        </p:txBody>
      </p:sp>
      <p:sp>
        <p:nvSpPr>
          <p:cNvPr id="4" name="Rechthoek 3"/>
          <p:cNvSpPr/>
          <p:nvPr/>
        </p:nvSpPr>
        <p:spPr>
          <a:xfrm>
            <a:off x="2285999" y="643938"/>
            <a:ext cx="6781089" cy="3655478"/>
          </a:xfrm>
          <a:prstGeom prst="rect">
            <a:avLst/>
          </a:prstGeom>
        </p:spPr>
        <p:txBody>
          <a:bodyPr wrap="square" lIns="91430" tIns="45715" rIns="91430" bIns="45715">
            <a:spAutoFit/>
          </a:bodyPr>
          <a:lstStyle/>
          <a:p>
            <a:pPr>
              <a:lnSpc>
                <a:spcPct val="150000"/>
              </a:lnSpc>
            </a:pPr>
            <a:r>
              <a:rPr lang="en-US" sz="1400" u="sng" dirty="0">
                <a:cs typeface="Arial" panose="020B0604020202020204" pitchFamily="34" charset="0"/>
              </a:rPr>
              <a:t>Households receive  Flex fee for delivering flex to Aggregator</a:t>
            </a:r>
            <a:r>
              <a:rPr lang="en-US" sz="1400" dirty="0">
                <a:cs typeface="Arial" panose="020B0604020202020204" pitchFamily="34" charset="0"/>
              </a:rPr>
              <a:t>:</a:t>
            </a:r>
          </a:p>
          <a:p>
            <a:pPr marL="171430" indent="-171430">
              <a:lnSpc>
                <a:spcPct val="114000"/>
              </a:lnSpc>
              <a:buFont typeface="Arial" panose="020B0604020202020204" pitchFamily="34" charset="0"/>
              <a:buChar char="•"/>
            </a:pPr>
            <a:r>
              <a:rPr lang="en-US" sz="1400" dirty="0">
                <a:cs typeface="Arial" panose="020B0604020202020204" pitchFamily="34" charset="0"/>
              </a:rPr>
              <a:t>Every month, the Aggregator calculates how much turnover he has made (sum of flex delivered)</a:t>
            </a:r>
          </a:p>
          <a:p>
            <a:pPr marL="171430" indent="-171430">
              <a:lnSpc>
                <a:spcPct val="114000"/>
              </a:lnSpc>
              <a:buFont typeface="Arial" panose="020B0604020202020204" pitchFamily="34" charset="0"/>
              <a:buChar char="•"/>
            </a:pPr>
            <a:r>
              <a:rPr lang="en-US" sz="1400" dirty="0">
                <a:cs typeface="Arial" panose="020B0604020202020204" pitchFamily="34" charset="0"/>
              </a:rPr>
              <a:t>The Aggregator subtracts its margin in order to pay its fixed costs and make a profit</a:t>
            </a:r>
          </a:p>
          <a:p>
            <a:pPr marL="171430" indent="-171430">
              <a:lnSpc>
                <a:spcPct val="114000"/>
              </a:lnSpc>
              <a:buFont typeface="Arial" panose="020B0604020202020204" pitchFamily="34" charset="0"/>
              <a:buChar char="•"/>
            </a:pPr>
            <a:r>
              <a:rPr lang="en-US" sz="1400" dirty="0">
                <a:cs typeface="Arial" panose="020B0604020202020204" pitchFamily="34" charset="0"/>
              </a:rPr>
              <a:t>The remaining profit is equally divided between the participating households</a:t>
            </a:r>
          </a:p>
          <a:p>
            <a:endParaRPr lang="en-US" sz="1400" i="1" u="sng" dirty="0">
              <a:cs typeface="Arial" panose="020B0604020202020204" pitchFamily="34" charset="0"/>
            </a:endParaRPr>
          </a:p>
          <a:p>
            <a:pPr>
              <a:lnSpc>
                <a:spcPct val="150000"/>
              </a:lnSpc>
            </a:pPr>
            <a:r>
              <a:rPr lang="en-US" sz="1400" u="sng" dirty="0">
                <a:cs typeface="Arial" panose="020B0604020202020204" pitchFamily="34" charset="0"/>
              </a:rPr>
              <a:t>Dynamic tariffs are not applied</a:t>
            </a:r>
          </a:p>
          <a:p>
            <a:pPr>
              <a:lnSpc>
                <a:spcPct val="114000"/>
              </a:lnSpc>
            </a:pPr>
            <a:r>
              <a:rPr lang="en-US" sz="1400" dirty="0">
                <a:cs typeface="Arial" panose="020B0604020202020204" pitchFamily="34" charset="0"/>
              </a:rPr>
              <a:t>Business model of Aggregator does not make use of dynamic tariffs, because:</a:t>
            </a:r>
          </a:p>
          <a:p>
            <a:pPr marL="171430" indent="-171430">
              <a:lnSpc>
                <a:spcPct val="114000"/>
              </a:lnSpc>
              <a:buFont typeface="Arial" panose="020B0604020202020204" pitchFamily="34" charset="0"/>
              <a:buChar char="•"/>
            </a:pPr>
            <a:r>
              <a:rPr lang="en-US" sz="1400" dirty="0">
                <a:cs typeface="Arial" panose="020B0604020202020204" pitchFamily="34" charset="0"/>
              </a:rPr>
              <a:t>It was found that participating households rather receive a profit share than a variable tariff</a:t>
            </a:r>
          </a:p>
          <a:p>
            <a:pPr marL="171430" indent="-171430">
              <a:lnSpc>
                <a:spcPct val="114000"/>
              </a:lnSpc>
              <a:buFont typeface="Arial" panose="020B0604020202020204" pitchFamily="34" charset="0"/>
              <a:buChar char="•"/>
            </a:pPr>
            <a:r>
              <a:rPr lang="en-US" sz="1400" dirty="0">
                <a:cs typeface="Arial" panose="020B0604020202020204" pitchFamily="34" charset="0"/>
              </a:rPr>
              <a:t>Profit share fits very well to automatic controlling of devices; dynamic tariffs are more applicable for behavioral change</a:t>
            </a:r>
          </a:p>
          <a:p>
            <a:pPr marL="171430" indent="-171430">
              <a:lnSpc>
                <a:spcPct val="114000"/>
              </a:lnSpc>
              <a:buFont typeface="Arial" panose="020B0604020202020204" pitchFamily="34" charset="0"/>
              <a:buChar char="•"/>
            </a:pPr>
            <a:r>
              <a:rPr lang="en-US" sz="1400" dirty="0">
                <a:cs typeface="Arial" panose="020B0604020202020204" pitchFamily="34" charset="0"/>
              </a:rPr>
              <a:t>It is not possible for the aggregator to combine the price incentive of BRP and DSO into one dynamic tariff</a:t>
            </a:r>
          </a:p>
        </p:txBody>
      </p:sp>
      <p:pic>
        <p:nvPicPr>
          <p:cNvPr id="5" name="Picture 2" descr="https://www.energiekoplopers.nl/wp-content/uploads/2015/05/Logo_Energie_koplopers_met_pay_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 y="911525"/>
            <a:ext cx="2085975" cy="7810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ww.startpagina.nl/athene/dochters/gemeente-heerhugowaard/images/pnb-heerhugowaard.jpg"/>
          <p:cNvPicPr>
            <a:picLocks noChangeAspect="1" noChangeArrowheads="1"/>
          </p:cNvPicPr>
          <p:nvPr/>
        </p:nvPicPr>
        <p:blipFill rotWithShape="1">
          <a:blip r:embed="rId4">
            <a:extLst>
              <a:ext uri="{28A0092B-C50C-407E-A947-70E740481C1C}">
                <a14:useLocalDpi xmlns:a14="http://schemas.microsoft.com/office/drawing/2010/main" val="0"/>
              </a:ext>
            </a:extLst>
          </a:blip>
          <a:srcRect l="4095" t="47342" r="9646" b="22633"/>
          <a:stretch/>
        </p:blipFill>
        <p:spPr bwMode="auto">
          <a:xfrm>
            <a:off x="814978" y="1810645"/>
            <a:ext cx="936781" cy="218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591360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Afbeelding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8088" y="-1"/>
            <a:ext cx="7325912" cy="4455525"/>
          </a:xfrm>
          <a:prstGeom prst="rect">
            <a:avLst/>
          </a:prstGeom>
        </p:spPr>
      </p:pic>
      <p:sp>
        <p:nvSpPr>
          <p:cNvPr id="2" name="Tijdelijke aanduiding voor voettekst 1"/>
          <p:cNvSpPr>
            <a:spLocks noGrp="1"/>
          </p:cNvSpPr>
          <p:nvPr>
            <p:ph type="ftr" sz="quarter" idx="10"/>
          </p:nvPr>
        </p:nvSpPr>
        <p:spPr/>
        <p:txBody>
          <a:bodyPr/>
          <a:lstStyle/>
          <a:p>
            <a:endParaRPr lang="en-GB" dirty="0" smtClean="0"/>
          </a:p>
        </p:txBody>
      </p:sp>
      <p:pic>
        <p:nvPicPr>
          <p:cNvPr id="14" name="Picture 2" descr="https://www.energiekoplopers.nl/wp-content/uploads/2015/05/Logo_Energie_koplopers_met_pay_of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450" y="911525"/>
            <a:ext cx="2085975" cy="781050"/>
          </a:xfrm>
          <a:prstGeom prst="rect">
            <a:avLst/>
          </a:prstGeom>
          <a:noFill/>
          <a:extLst>
            <a:ext uri="{909E8E84-426E-40DD-AFC4-6F175D3DCCD1}">
              <a14:hiddenFill xmlns:a14="http://schemas.microsoft.com/office/drawing/2010/main">
                <a:solidFill>
                  <a:srgbClr val="FFFFFF"/>
                </a:solidFill>
              </a14:hiddenFill>
            </a:ext>
          </a:extLst>
        </p:spPr>
      </p:pic>
      <p:sp>
        <p:nvSpPr>
          <p:cNvPr id="91" name="Tijdelijke aanduiding voor tekst 2"/>
          <p:cNvSpPr>
            <a:spLocks noGrp="1"/>
          </p:cNvSpPr>
          <p:nvPr>
            <p:ph type="body" sz="quarter" idx="11"/>
          </p:nvPr>
        </p:nvSpPr>
        <p:spPr>
          <a:xfrm>
            <a:off x="2543176" y="1000125"/>
            <a:ext cx="4800600" cy="3255682"/>
          </a:xfrm>
          <a:solidFill>
            <a:srgbClr val="FFFFFF">
              <a:alpha val="87059"/>
            </a:srgbClr>
          </a:solidFill>
        </p:spPr>
        <p:txBody>
          <a:bodyPr/>
          <a:lstStyle/>
          <a:p>
            <a:r>
              <a:rPr lang="en-GB" b="1" dirty="0" smtClean="0">
                <a:solidFill>
                  <a:schemeClr val="accent4"/>
                </a:solidFill>
              </a:rPr>
              <a:t>Participants are positive</a:t>
            </a:r>
          </a:p>
          <a:p>
            <a:r>
              <a:rPr lang="en-GB" b="1" dirty="0" smtClean="0">
                <a:solidFill>
                  <a:schemeClr val="accent4"/>
                </a:solidFill>
              </a:rPr>
              <a:t>Each </a:t>
            </a:r>
            <a:r>
              <a:rPr lang="en-GB" b="1" dirty="0">
                <a:solidFill>
                  <a:schemeClr val="accent4"/>
                </a:solidFill>
              </a:rPr>
              <a:t>household provides about 0.5 kW of controllable flex </a:t>
            </a:r>
            <a:r>
              <a:rPr lang="en-GB" b="1" dirty="0" smtClean="0">
                <a:solidFill>
                  <a:schemeClr val="accent4"/>
                </a:solidFill>
              </a:rPr>
              <a:t>automatically</a:t>
            </a:r>
          </a:p>
          <a:p>
            <a:endParaRPr lang="en-GB" b="1" dirty="0">
              <a:solidFill>
                <a:schemeClr val="accent4"/>
              </a:solidFill>
            </a:endParaRPr>
          </a:p>
          <a:p>
            <a:pPr indent="-285675"/>
            <a:r>
              <a:rPr lang="en-GB" dirty="0" smtClean="0">
                <a:solidFill>
                  <a:srgbClr val="FF5415"/>
                </a:solidFill>
              </a:rPr>
              <a:t>200 </a:t>
            </a:r>
            <a:r>
              <a:rPr lang="en-GB" dirty="0">
                <a:solidFill>
                  <a:srgbClr val="FF5415"/>
                </a:solidFill>
              </a:rPr>
              <a:t>million households in Europe then can provide 100 GW of flex, i.e. even </a:t>
            </a:r>
            <a:r>
              <a:rPr lang="en-GB" dirty="0" smtClean="0">
                <a:solidFill>
                  <a:srgbClr val="FF5415"/>
                </a:solidFill>
              </a:rPr>
              <a:t>without </a:t>
            </a:r>
            <a:r>
              <a:rPr lang="en-GB" dirty="0">
                <a:solidFill>
                  <a:srgbClr val="FF5415"/>
                </a:solidFill>
              </a:rPr>
              <a:t>EVs. That is more than half of the total installed generating capacity in Germany (167 GW in 2011</a:t>
            </a:r>
            <a:r>
              <a:rPr lang="en-GB" dirty="0" smtClean="0">
                <a:solidFill>
                  <a:srgbClr val="FF5415"/>
                </a:solidFill>
              </a:rPr>
              <a:t>)!</a:t>
            </a:r>
            <a:endParaRPr lang="en-GB" b="1" dirty="0">
              <a:solidFill>
                <a:srgbClr val="FF5415"/>
              </a:solidFill>
            </a:endParaRPr>
          </a:p>
        </p:txBody>
      </p:sp>
      <p:pic>
        <p:nvPicPr>
          <p:cNvPr id="7" name="Picture 2" descr="http://www.startpagina.nl/athene/dochters/gemeente-heerhugowaard/images/pnb-heerhugowaard.jpg"/>
          <p:cNvPicPr>
            <a:picLocks noChangeAspect="1" noChangeArrowheads="1"/>
          </p:cNvPicPr>
          <p:nvPr/>
        </p:nvPicPr>
        <p:blipFill rotWithShape="1">
          <a:blip r:embed="rId5">
            <a:extLst>
              <a:ext uri="{28A0092B-C50C-407E-A947-70E740481C1C}">
                <a14:useLocalDpi xmlns:a14="http://schemas.microsoft.com/office/drawing/2010/main" val="0"/>
              </a:ext>
            </a:extLst>
          </a:blip>
          <a:srcRect l="4095" t="47342" r="9646" b="22633"/>
          <a:stretch/>
        </p:blipFill>
        <p:spPr bwMode="auto">
          <a:xfrm>
            <a:off x="814978" y="1810645"/>
            <a:ext cx="936781" cy="218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40599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a:xfrm flipV="1">
            <a:off x="1019908" y="2"/>
            <a:ext cx="0" cy="1758154"/>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11"/>
          </p:nvPr>
        </p:nvSpPr>
        <p:spPr/>
        <p:txBody>
          <a:bodyPr/>
          <a:lstStyle/>
          <a:p>
            <a:endParaRPr lang="nl-NL" dirty="0"/>
          </a:p>
        </p:txBody>
      </p:sp>
      <p:sp>
        <p:nvSpPr>
          <p:cNvPr id="20" name="Rechthoek 11"/>
          <p:cNvSpPr>
            <a:spLocks noChangeAspect="1"/>
          </p:cNvSpPr>
          <p:nvPr/>
        </p:nvSpPr>
        <p:spPr>
          <a:xfrm>
            <a:off x="4811282" y="786477"/>
            <a:ext cx="3725967" cy="3073530"/>
          </a:xfrm>
          <a:prstGeom prst="rect">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nl-NL" dirty="0">
              <a:solidFill>
                <a:prstClr val="white"/>
              </a:solidFill>
            </a:endParaRPr>
          </a:p>
        </p:txBody>
      </p:sp>
      <p:sp>
        <p:nvSpPr>
          <p:cNvPr id="21" name="Rectangle 20"/>
          <p:cNvSpPr/>
          <p:nvPr/>
        </p:nvSpPr>
        <p:spPr>
          <a:xfrm>
            <a:off x="4943422" y="877412"/>
            <a:ext cx="1720419" cy="6623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22" name="Rectangle 21"/>
          <p:cNvSpPr/>
          <p:nvPr/>
        </p:nvSpPr>
        <p:spPr>
          <a:xfrm>
            <a:off x="6745112" y="1048861"/>
            <a:ext cx="1720419" cy="6623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23" name="Rectangle 22"/>
          <p:cNvSpPr/>
          <p:nvPr/>
        </p:nvSpPr>
        <p:spPr>
          <a:xfrm>
            <a:off x="4943422" y="1614752"/>
            <a:ext cx="1720419" cy="6623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24" name="Rectangle 23"/>
          <p:cNvSpPr/>
          <p:nvPr/>
        </p:nvSpPr>
        <p:spPr>
          <a:xfrm>
            <a:off x="6745112" y="1614751"/>
            <a:ext cx="1720419" cy="6623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25" name="Rectangle 24"/>
          <p:cNvSpPr/>
          <p:nvPr/>
        </p:nvSpPr>
        <p:spPr>
          <a:xfrm>
            <a:off x="4943422" y="2352647"/>
            <a:ext cx="1720419" cy="6623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26" name="Rectangle 25"/>
          <p:cNvSpPr/>
          <p:nvPr/>
        </p:nvSpPr>
        <p:spPr>
          <a:xfrm>
            <a:off x="6745112" y="2352647"/>
            <a:ext cx="1720419" cy="6623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27" name="Rectangle 26"/>
          <p:cNvSpPr/>
          <p:nvPr/>
        </p:nvSpPr>
        <p:spPr>
          <a:xfrm>
            <a:off x="5848325" y="3090544"/>
            <a:ext cx="1720419" cy="6623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pic>
        <p:nvPicPr>
          <p:cNvPr id="2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328563" y="1187811"/>
            <a:ext cx="1022107" cy="38440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http://www.gavilar.nl/cms/afbeeldingen/algemeen/Stedin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39484" y="1194536"/>
            <a:ext cx="1195275" cy="32621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http://cdn-3.famouslogos.us/images/ibm-logo.jpg"/>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2788" t="10043" r="24276" b="12942"/>
          <a:stretch/>
        </p:blipFill>
        <p:spPr bwMode="auto">
          <a:xfrm>
            <a:off x="5305296" y="1858027"/>
            <a:ext cx="1151739" cy="57496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http://www.solarnederland.nl/Material/Afbeeldingen%2Bindustrie/Logo_ABB"/>
          <p:cNvPicPr>
            <a:picLocks noChangeAspect="1" noChangeArrowheads="1"/>
          </p:cNvPicPr>
          <p:nvPr/>
        </p:nvPicPr>
        <p:blipFill>
          <a:blip r:embed="rId6" cstate="print">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5300593" y="2661341"/>
            <a:ext cx="1023365" cy="38782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7162452" y="2630248"/>
            <a:ext cx="917503" cy="38765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6111448" y="3370402"/>
            <a:ext cx="1173809" cy="306984"/>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a:xfrm>
            <a:off x="4934894" y="877412"/>
            <a:ext cx="1720419" cy="662307"/>
          </a:xfrm>
          <a:prstGeom prst="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37" name="Rectangle 36"/>
          <p:cNvSpPr/>
          <p:nvPr/>
        </p:nvSpPr>
        <p:spPr>
          <a:xfrm>
            <a:off x="6736584" y="877411"/>
            <a:ext cx="1720419" cy="662307"/>
          </a:xfrm>
          <a:prstGeom prst="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39" name="Rectangle 38"/>
          <p:cNvSpPr/>
          <p:nvPr/>
        </p:nvSpPr>
        <p:spPr>
          <a:xfrm>
            <a:off x="6736584" y="1614751"/>
            <a:ext cx="1720419" cy="662307"/>
          </a:xfrm>
          <a:prstGeom prst="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40" name="Rectangle 39"/>
          <p:cNvSpPr/>
          <p:nvPr/>
        </p:nvSpPr>
        <p:spPr>
          <a:xfrm>
            <a:off x="4934894" y="2352647"/>
            <a:ext cx="1720419" cy="662307"/>
          </a:xfrm>
          <a:prstGeom prst="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41" name="Rectangle 40"/>
          <p:cNvSpPr/>
          <p:nvPr/>
        </p:nvSpPr>
        <p:spPr>
          <a:xfrm>
            <a:off x="6736584" y="2352647"/>
            <a:ext cx="1720419" cy="662307"/>
          </a:xfrm>
          <a:prstGeom prst="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42" name="Rectangle 41"/>
          <p:cNvSpPr/>
          <p:nvPr/>
        </p:nvSpPr>
        <p:spPr>
          <a:xfrm>
            <a:off x="5839798" y="3090544"/>
            <a:ext cx="1720419" cy="662307"/>
          </a:xfrm>
          <a:prstGeom prst="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44" name="Freeform 43"/>
          <p:cNvSpPr/>
          <p:nvPr/>
        </p:nvSpPr>
        <p:spPr>
          <a:xfrm rot="16200000" flipH="1">
            <a:off x="5479996" y="-415668"/>
            <a:ext cx="365603" cy="2164628"/>
          </a:xfrm>
          <a:custGeom>
            <a:avLst/>
            <a:gdLst>
              <a:gd name="connsiteX0" fmla="*/ 0 w 190500"/>
              <a:gd name="connsiteY0" fmla="*/ 0 h 480060"/>
              <a:gd name="connsiteX1" fmla="*/ 0 w 190500"/>
              <a:gd name="connsiteY1" fmla="*/ 480060 h 480060"/>
              <a:gd name="connsiteX2" fmla="*/ 190500 w 190500"/>
              <a:gd name="connsiteY2" fmla="*/ 480060 h 480060"/>
            </a:gdLst>
            <a:ahLst/>
            <a:cxnLst>
              <a:cxn ang="0">
                <a:pos x="connsiteX0" y="connsiteY0"/>
              </a:cxn>
              <a:cxn ang="0">
                <a:pos x="connsiteX1" y="connsiteY1"/>
              </a:cxn>
              <a:cxn ang="0">
                <a:pos x="connsiteX2" y="connsiteY2"/>
              </a:cxn>
            </a:cxnLst>
            <a:rect l="l" t="t" r="r" b="b"/>
            <a:pathLst>
              <a:path w="190500" h="480060">
                <a:moveTo>
                  <a:pt x="0" y="0"/>
                </a:moveTo>
                <a:lnTo>
                  <a:pt x="0" y="480060"/>
                </a:lnTo>
                <a:lnTo>
                  <a:pt x="190500" y="48006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srgbClr val="0099C6"/>
              </a:solidFill>
            </a:endParaRPr>
          </a:p>
        </p:txBody>
      </p:sp>
      <p:grpSp>
        <p:nvGrpSpPr>
          <p:cNvPr id="6" name="Group 5"/>
          <p:cNvGrpSpPr/>
          <p:nvPr/>
        </p:nvGrpSpPr>
        <p:grpSpPr>
          <a:xfrm>
            <a:off x="3123304" y="180304"/>
            <a:ext cx="1492115" cy="1212344"/>
            <a:chOff x="3383578" y="240404"/>
            <a:chExt cx="1616458" cy="1616458"/>
          </a:xfrm>
          <a:solidFill>
            <a:schemeClr val="accent2"/>
          </a:solidFill>
        </p:grpSpPr>
        <p:sp>
          <p:nvSpPr>
            <p:cNvPr id="43" name="Rechthoek 10"/>
            <p:cNvSpPr>
              <a:spLocks noChangeAspect="1"/>
            </p:cNvSpPr>
            <p:nvPr/>
          </p:nvSpPr>
          <p:spPr>
            <a:xfrm>
              <a:off x="3383578" y="240404"/>
              <a:ext cx="1616458" cy="1616458"/>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44"/>
              <a:r>
                <a:rPr lang="nl-NL" dirty="0">
                  <a:solidFill>
                    <a:prstClr val="white"/>
                  </a:solidFill>
                </a:rPr>
                <a:t>        </a:t>
              </a:r>
            </a:p>
          </p:txBody>
        </p:sp>
        <p:sp>
          <p:nvSpPr>
            <p:cNvPr id="3" name="Tekstvak 2"/>
            <p:cNvSpPr txBox="1"/>
            <p:nvPr/>
          </p:nvSpPr>
          <p:spPr>
            <a:xfrm>
              <a:off x="3524158" y="677441"/>
              <a:ext cx="1335296" cy="861774"/>
            </a:xfrm>
            <a:prstGeom prst="rect">
              <a:avLst/>
            </a:prstGeom>
            <a:grpFill/>
          </p:spPr>
          <p:txBody>
            <a:bodyPr wrap="none" rtlCol="0">
              <a:spAutoFit/>
            </a:bodyPr>
            <a:lstStyle/>
            <a:p>
              <a:pPr algn="ctr" defTabSz="457044"/>
              <a:r>
                <a:rPr lang="en-GB" dirty="0">
                  <a:solidFill>
                    <a:prstClr val="white"/>
                  </a:solidFill>
                </a:rPr>
                <a:t>FOUNDING</a:t>
              </a:r>
            </a:p>
            <a:p>
              <a:pPr algn="ctr" defTabSz="457044"/>
              <a:r>
                <a:rPr lang="en-GB" dirty="0">
                  <a:solidFill>
                    <a:prstClr val="white"/>
                  </a:solidFill>
                </a:rPr>
                <a:t>PARTNERS:</a:t>
              </a:r>
            </a:p>
          </p:txBody>
        </p:sp>
      </p:grpSp>
      <p:sp>
        <p:nvSpPr>
          <p:cNvPr id="45" name="Rechthoek 10"/>
          <p:cNvSpPr>
            <a:spLocks noChangeAspect="1"/>
          </p:cNvSpPr>
          <p:nvPr/>
        </p:nvSpPr>
        <p:spPr>
          <a:xfrm>
            <a:off x="6633979" y="743161"/>
            <a:ext cx="222265" cy="1805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r>
              <a:rPr lang="nl-NL" dirty="0">
                <a:solidFill>
                  <a:prstClr val="white"/>
                </a:solidFill>
              </a:rPr>
              <a:t>        </a:t>
            </a:r>
          </a:p>
        </p:txBody>
      </p:sp>
      <p:sp>
        <p:nvSpPr>
          <p:cNvPr id="7" name="Rectangle 6"/>
          <p:cNvSpPr/>
          <p:nvPr/>
        </p:nvSpPr>
        <p:spPr>
          <a:xfrm>
            <a:off x="320970" y="1585716"/>
            <a:ext cx="3484591" cy="283123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defTabSz="457044"/>
            <a:endParaRPr lang="en-GB">
              <a:solidFill>
                <a:prstClr val="white"/>
              </a:solidFill>
            </a:endParaRPr>
          </a:p>
        </p:txBody>
      </p:sp>
      <p:sp>
        <p:nvSpPr>
          <p:cNvPr id="2" name="Rectangle 1"/>
          <p:cNvSpPr/>
          <p:nvPr/>
        </p:nvSpPr>
        <p:spPr>
          <a:xfrm>
            <a:off x="422880" y="1818709"/>
            <a:ext cx="3210075" cy="3125665"/>
          </a:xfrm>
          <a:prstGeom prst="rect">
            <a:avLst/>
          </a:prstGeom>
        </p:spPr>
        <p:txBody>
          <a:bodyPr wrap="square" lIns="77916" tIns="38958" rIns="77916" bIns="38958">
            <a:spAutoFit/>
          </a:bodyPr>
          <a:lstStyle/>
          <a:p>
            <a:pPr algn="ctr" defTabSz="457044"/>
            <a:r>
              <a:rPr lang="en-GB" dirty="0">
                <a:solidFill>
                  <a:prstClr val="white"/>
                </a:solidFill>
              </a:rPr>
              <a:t>USEF, a non-commercial partnership, was founded in 2013 to design a scalable solution that recognizes the different stakeholders and their role in a coherent and commercially viable smart energy system and to accelerate its development.</a:t>
            </a:r>
          </a:p>
          <a:p>
            <a:pPr marL="243488" indent="-243488" defTabSz="457044">
              <a:buFont typeface="Arial" panose="020B0604020202020204" pitchFamily="34" charset="0"/>
              <a:buChar char="•"/>
            </a:pPr>
            <a:endParaRPr lang="en-GB" dirty="0">
              <a:solidFill>
                <a:srgbClr val="197AA0"/>
              </a:solidFill>
            </a:endParaRPr>
          </a:p>
          <a:p>
            <a:pPr defTabSz="457044"/>
            <a:endParaRPr lang="en-GB" dirty="0">
              <a:solidFill>
                <a:srgbClr val="197AA0"/>
              </a:solidFill>
            </a:endParaRPr>
          </a:p>
        </p:txBody>
      </p:sp>
      <p:grpSp>
        <p:nvGrpSpPr>
          <p:cNvPr id="8" name="Group 7"/>
          <p:cNvGrpSpPr/>
          <p:nvPr/>
        </p:nvGrpSpPr>
        <p:grpSpPr>
          <a:xfrm flipV="1">
            <a:off x="3805561" y="3777296"/>
            <a:ext cx="3003925" cy="439906"/>
            <a:chOff x="3570642" y="5401792"/>
            <a:chExt cx="3254252" cy="586541"/>
          </a:xfrm>
        </p:grpSpPr>
        <p:sp>
          <p:nvSpPr>
            <p:cNvPr id="46" name="Freeform 45"/>
            <p:cNvSpPr/>
            <p:nvPr/>
          </p:nvSpPr>
          <p:spPr>
            <a:xfrm rot="16200000" flipH="1">
              <a:off x="4893837" y="4078597"/>
              <a:ext cx="487470" cy="3133859"/>
            </a:xfrm>
            <a:custGeom>
              <a:avLst/>
              <a:gdLst>
                <a:gd name="connsiteX0" fmla="*/ 0 w 190500"/>
                <a:gd name="connsiteY0" fmla="*/ 0 h 480060"/>
                <a:gd name="connsiteX1" fmla="*/ 0 w 190500"/>
                <a:gd name="connsiteY1" fmla="*/ 480060 h 480060"/>
                <a:gd name="connsiteX2" fmla="*/ 190500 w 190500"/>
                <a:gd name="connsiteY2" fmla="*/ 480060 h 480060"/>
              </a:gdLst>
              <a:ahLst/>
              <a:cxnLst>
                <a:cxn ang="0">
                  <a:pos x="connsiteX0" y="connsiteY0"/>
                </a:cxn>
                <a:cxn ang="0">
                  <a:pos x="connsiteX1" y="connsiteY1"/>
                </a:cxn>
                <a:cxn ang="0">
                  <a:pos x="connsiteX2" y="connsiteY2"/>
                </a:cxn>
              </a:cxnLst>
              <a:rect l="l" t="t" r="r" b="b"/>
              <a:pathLst>
                <a:path w="190500" h="480060">
                  <a:moveTo>
                    <a:pt x="0" y="0"/>
                  </a:moveTo>
                  <a:lnTo>
                    <a:pt x="0" y="480060"/>
                  </a:lnTo>
                  <a:lnTo>
                    <a:pt x="190500" y="48006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44"/>
              <a:endParaRPr lang="en-GB">
                <a:solidFill>
                  <a:srgbClr val="0099C6"/>
                </a:solidFill>
              </a:endParaRPr>
            </a:p>
          </p:txBody>
        </p:sp>
        <p:sp>
          <p:nvSpPr>
            <p:cNvPr id="47" name="Rechthoek 10"/>
            <p:cNvSpPr>
              <a:spLocks noChangeAspect="1"/>
            </p:cNvSpPr>
            <p:nvPr/>
          </p:nvSpPr>
          <p:spPr>
            <a:xfrm>
              <a:off x="6584107" y="5747546"/>
              <a:ext cx="240787" cy="240787"/>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44"/>
              <a:r>
                <a:rPr lang="nl-NL" dirty="0">
                  <a:solidFill>
                    <a:prstClr val="white"/>
                  </a:solidFill>
                </a:rPr>
                <a:t>        </a:t>
              </a:r>
            </a:p>
          </p:txBody>
        </p:sp>
      </p:grpSp>
      <p:pic>
        <p:nvPicPr>
          <p:cNvPr id="5" name="Afbeelding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39484" y="1833517"/>
            <a:ext cx="988705" cy="623983"/>
          </a:xfrm>
          <a:prstGeom prst="rect">
            <a:avLst/>
          </a:prstGeom>
        </p:spPr>
      </p:pic>
    </p:spTree>
    <p:extLst>
      <p:ext uri="{BB962C8B-B14F-4D97-AF65-F5344CB8AC3E}">
        <p14:creationId xmlns:p14="http://schemas.microsoft.com/office/powerpoint/2010/main" val="586947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 name="Rechthoek 10"/>
          <p:cNvSpPr>
            <a:spLocks noChangeAspect="1"/>
          </p:cNvSpPr>
          <p:nvPr/>
        </p:nvSpPr>
        <p:spPr>
          <a:xfrm>
            <a:off x="1057277" y="193297"/>
            <a:ext cx="1152000" cy="1152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defTabSz="402174"/>
            <a:r>
              <a:rPr lang="en-GB" dirty="0" smtClean="0">
                <a:solidFill>
                  <a:prstClr val="white"/>
                </a:solidFill>
                <a:latin typeface="Calibri" pitchFamily="34" charset="0"/>
              </a:rPr>
              <a:t>Ambition</a:t>
            </a:r>
            <a:endParaRPr lang="en-GB" dirty="0">
              <a:solidFill>
                <a:prstClr val="white"/>
              </a:solidFill>
              <a:latin typeface="Calibri" pitchFamily="34" charset="0"/>
            </a:endParaRPr>
          </a:p>
        </p:txBody>
      </p:sp>
      <p:grpSp>
        <p:nvGrpSpPr>
          <p:cNvPr id="324" name="Group 323"/>
          <p:cNvGrpSpPr/>
          <p:nvPr/>
        </p:nvGrpSpPr>
        <p:grpSpPr>
          <a:xfrm>
            <a:off x="4215383" y="128987"/>
            <a:ext cx="4307144" cy="4349751"/>
            <a:chOff x="3770124" y="171981"/>
            <a:chExt cx="5742858" cy="5799668"/>
          </a:xfrm>
        </p:grpSpPr>
        <p:sp>
          <p:nvSpPr>
            <p:cNvPr id="325" name="Freeform 167"/>
            <p:cNvSpPr>
              <a:spLocks/>
            </p:cNvSpPr>
            <p:nvPr/>
          </p:nvSpPr>
          <p:spPr bwMode="auto">
            <a:xfrm>
              <a:off x="3770124" y="4241186"/>
              <a:ext cx="554175" cy="784476"/>
            </a:xfrm>
            <a:custGeom>
              <a:avLst/>
              <a:gdLst>
                <a:gd name="T0" fmla="*/ 0 w 1363"/>
                <a:gd name="T1" fmla="*/ 0 h 1937"/>
                <a:gd name="T2" fmla="*/ 0 w 1363"/>
                <a:gd name="T3" fmla="*/ 0 h 1937"/>
                <a:gd name="T4" fmla="*/ 0 w 1363"/>
                <a:gd name="T5" fmla="*/ 0 h 1937"/>
                <a:gd name="T6" fmla="*/ 0 w 1363"/>
                <a:gd name="T7" fmla="*/ 0 h 1937"/>
                <a:gd name="T8" fmla="*/ 0 w 1363"/>
                <a:gd name="T9" fmla="*/ 0 h 1937"/>
                <a:gd name="T10" fmla="*/ 0 w 1363"/>
                <a:gd name="T11" fmla="*/ 0 h 1937"/>
                <a:gd name="T12" fmla="*/ 0 w 1363"/>
                <a:gd name="T13" fmla="*/ 0 h 1937"/>
                <a:gd name="T14" fmla="*/ 0 w 1363"/>
                <a:gd name="T15" fmla="*/ 0 h 1937"/>
                <a:gd name="T16" fmla="*/ 0 w 1363"/>
                <a:gd name="T17" fmla="*/ 0 h 1937"/>
                <a:gd name="T18" fmla="*/ 0 w 1363"/>
                <a:gd name="T19" fmla="*/ 0 h 1937"/>
                <a:gd name="T20" fmla="*/ 0 w 1363"/>
                <a:gd name="T21" fmla="*/ 0 h 1937"/>
                <a:gd name="T22" fmla="*/ 0 w 1363"/>
                <a:gd name="T23" fmla="*/ 0 h 1937"/>
                <a:gd name="T24" fmla="*/ 0 w 1363"/>
                <a:gd name="T25" fmla="*/ 0 h 1937"/>
                <a:gd name="T26" fmla="*/ 0 w 1363"/>
                <a:gd name="T27" fmla="*/ 0 h 1937"/>
                <a:gd name="T28" fmla="*/ 0 w 1363"/>
                <a:gd name="T29" fmla="*/ 0 h 1937"/>
                <a:gd name="T30" fmla="*/ 0 w 1363"/>
                <a:gd name="T31" fmla="*/ 0 h 1937"/>
                <a:gd name="T32" fmla="*/ 0 w 1363"/>
                <a:gd name="T33" fmla="*/ 0 h 1937"/>
                <a:gd name="T34" fmla="*/ 0 w 1363"/>
                <a:gd name="T35" fmla="*/ 0 h 1937"/>
                <a:gd name="T36" fmla="*/ 0 w 1363"/>
                <a:gd name="T37" fmla="*/ 0 h 1937"/>
                <a:gd name="T38" fmla="*/ 0 w 1363"/>
                <a:gd name="T39" fmla="*/ 0 h 1937"/>
                <a:gd name="T40" fmla="*/ 0 w 1363"/>
                <a:gd name="T41" fmla="*/ 0 h 1937"/>
                <a:gd name="T42" fmla="*/ 0 w 1363"/>
                <a:gd name="T43" fmla="*/ 0 h 1937"/>
                <a:gd name="T44" fmla="*/ 0 w 1363"/>
                <a:gd name="T45" fmla="*/ 0 h 1937"/>
                <a:gd name="T46" fmla="*/ 0 w 1363"/>
                <a:gd name="T47" fmla="*/ 0 h 1937"/>
                <a:gd name="T48" fmla="*/ 0 w 1363"/>
                <a:gd name="T49" fmla="*/ 0 h 1937"/>
                <a:gd name="T50" fmla="*/ 0 w 1363"/>
                <a:gd name="T51" fmla="*/ 0 h 1937"/>
                <a:gd name="T52" fmla="*/ 0 w 1363"/>
                <a:gd name="T53" fmla="*/ 0 h 1937"/>
                <a:gd name="T54" fmla="*/ 0 w 1363"/>
                <a:gd name="T55" fmla="*/ 0 h 1937"/>
                <a:gd name="T56" fmla="*/ 0 w 1363"/>
                <a:gd name="T57" fmla="*/ 0 h 1937"/>
                <a:gd name="T58" fmla="*/ 0 w 1363"/>
                <a:gd name="T59" fmla="*/ 0 h 1937"/>
                <a:gd name="T60" fmla="*/ 0 w 1363"/>
                <a:gd name="T61" fmla="*/ 0 h 1937"/>
                <a:gd name="T62" fmla="*/ 0 w 1363"/>
                <a:gd name="T63" fmla="*/ 0 h 1937"/>
                <a:gd name="T64" fmla="*/ 0 w 1363"/>
                <a:gd name="T65" fmla="*/ 0 h 1937"/>
                <a:gd name="T66" fmla="*/ 0 w 1363"/>
                <a:gd name="T67" fmla="*/ 0 h 1937"/>
                <a:gd name="T68" fmla="*/ 0 w 1363"/>
                <a:gd name="T69" fmla="*/ 0 h 1937"/>
                <a:gd name="T70" fmla="*/ 0 w 1363"/>
                <a:gd name="T71" fmla="*/ 0 h 1937"/>
                <a:gd name="T72" fmla="*/ 0 w 1363"/>
                <a:gd name="T73" fmla="*/ 0 h 1937"/>
                <a:gd name="T74" fmla="*/ 0 w 1363"/>
                <a:gd name="T75" fmla="*/ 0 h 1937"/>
                <a:gd name="T76" fmla="*/ 0 w 1363"/>
                <a:gd name="T77" fmla="*/ 0 h 1937"/>
                <a:gd name="T78" fmla="*/ 0 w 1363"/>
                <a:gd name="T79" fmla="*/ 0 h 1937"/>
                <a:gd name="T80" fmla="*/ 0 w 1363"/>
                <a:gd name="T81" fmla="*/ 0 h 1937"/>
                <a:gd name="T82" fmla="*/ 0 w 1363"/>
                <a:gd name="T83" fmla="*/ 0 h 1937"/>
                <a:gd name="T84" fmla="*/ 0 w 1363"/>
                <a:gd name="T85" fmla="*/ 0 h 1937"/>
                <a:gd name="T86" fmla="*/ 0 w 1363"/>
                <a:gd name="T87" fmla="*/ 0 h 1937"/>
                <a:gd name="T88" fmla="*/ 0 w 1363"/>
                <a:gd name="T89" fmla="*/ 0 h 1937"/>
                <a:gd name="T90" fmla="*/ 0 w 1363"/>
                <a:gd name="T91" fmla="*/ 0 h 1937"/>
                <a:gd name="T92" fmla="*/ 0 w 1363"/>
                <a:gd name="T93" fmla="*/ 0 h 1937"/>
                <a:gd name="T94" fmla="*/ 0 w 1363"/>
                <a:gd name="T95" fmla="*/ 0 h 1937"/>
                <a:gd name="T96" fmla="*/ 0 w 1363"/>
                <a:gd name="T97" fmla="*/ 0 h 193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63"/>
                <a:gd name="T148" fmla="*/ 0 h 1937"/>
                <a:gd name="T149" fmla="*/ 1363 w 1363"/>
                <a:gd name="T150" fmla="*/ 1937 h 193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63" h="1937">
                  <a:moveTo>
                    <a:pt x="1328" y="257"/>
                  </a:moveTo>
                  <a:lnTo>
                    <a:pt x="1168" y="178"/>
                  </a:lnTo>
                  <a:lnTo>
                    <a:pt x="1089" y="188"/>
                  </a:lnTo>
                  <a:lnTo>
                    <a:pt x="904" y="115"/>
                  </a:lnTo>
                  <a:lnTo>
                    <a:pt x="876" y="77"/>
                  </a:lnTo>
                  <a:lnTo>
                    <a:pt x="891" y="12"/>
                  </a:lnTo>
                  <a:lnTo>
                    <a:pt x="733" y="0"/>
                  </a:lnTo>
                  <a:lnTo>
                    <a:pt x="671" y="35"/>
                  </a:lnTo>
                  <a:lnTo>
                    <a:pt x="620" y="342"/>
                  </a:lnTo>
                  <a:lnTo>
                    <a:pt x="309" y="812"/>
                  </a:lnTo>
                  <a:lnTo>
                    <a:pt x="157" y="932"/>
                  </a:lnTo>
                  <a:lnTo>
                    <a:pt x="121" y="1029"/>
                  </a:lnTo>
                  <a:lnTo>
                    <a:pt x="71" y="1098"/>
                  </a:lnTo>
                  <a:lnTo>
                    <a:pt x="69" y="1116"/>
                  </a:lnTo>
                  <a:lnTo>
                    <a:pt x="103" y="1162"/>
                  </a:lnTo>
                  <a:lnTo>
                    <a:pt x="124" y="1267"/>
                  </a:lnTo>
                  <a:lnTo>
                    <a:pt x="250" y="1282"/>
                  </a:lnTo>
                  <a:lnTo>
                    <a:pt x="238" y="1304"/>
                  </a:lnTo>
                  <a:lnTo>
                    <a:pt x="214" y="1321"/>
                  </a:lnTo>
                  <a:lnTo>
                    <a:pt x="105" y="1631"/>
                  </a:lnTo>
                  <a:lnTo>
                    <a:pt x="24" y="1734"/>
                  </a:lnTo>
                  <a:lnTo>
                    <a:pt x="0" y="1793"/>
                  </a:lnTo>
                  <a:lnTo>
                    <a:pt x="9" y="1819"/>
                  </a:lnTo>
                  <a:lnTo>
                    <a:pt x="75" y="1825"/>
                  </a:lnTo>
                  <a:lnTo>
                    <a:pt x="208" y="1880"/>
                  </a:lnTo>
                  <a:lnTo>
                    <a:pt x="252" y="1915"/>
                  </a:lnTo>
                  <a:lnTo>
                    <a:pt x="311" y="1937"/>
                  </a:lnTo>
                  <a:lnTo>
                    <a:pt x="468" y="1926"/>
                  </a:lnTo>
                  <a:lnTo>
                    <a:pt x="496" y="1764"/>
                  </a:lnTo>
                  <a:lnTo>
                    <a:pt x="704" y="1655"/>
                  </a:lnTo>
                  <a:lnTo>
                    <a:pt x="708" y="1588"/>
                  </a:lnTo>
                  <a:lnTo>
                    <a:pt x="677" y="1515"/>
                  </a:lnTo>
                  <a:lnTo>
                    <a:pt x="681" y="1436"/>
                  </a:lnTo>
                  <a:lnTo>
                    <a:pt x="710" y="1362"/>
                  </a:lnTo>
                  <a:lnTo>
                    <a:pt x="806" y="1268"/>
                  </a:lnTo>
                  <a:lnTo>
                    <a:pt x="772" y="1114"/>
                  </a:lnTo>
                  <a:lnTo>
                    <a:pt x="783" y="1024"/>
                  </a:lnTo>
                  <a:lnTo>
                    <a:pt x="840" y="1006"/>
                  </a:lnTo>
                  <a:lnTo>
                    <a:pt x="904" y="1009"/>
                  </a:lnTo>
                  <a:lnTo>
                    <a:pt x="974" y="968"/>
                  </a:lnTo>
                  <a:lnTo>
                    <a:pt x="995" y="917"/>
                  </a:lnTo>
                  <a:lnTo>
                    <a:pt x="978" y="851"/>
                  </a:lnTo>
                  <a:lnTo>
                    <a:pt x="1134" y="554"/>
                  </a:lnTo>
                  <a:lnTo>
                    <a:pt x="1284" y="480"/>
                  </a:lnTo>
                  <a:lnTo>
                    <a:pt x="1349" y="422"/>
                  </a:lnTo>
                  <a:lnTo>
                    <a:pt x="1363" y="378"/>
                  </a:lnTo>
                  <a:lnTo>
                    <a:pt x="1328" y="257"/>
                  </a:lnTo>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26" name="Freeform 5"/>
            <p:cNvSpPr>
              <a:spLocks/>
            </p:cNvSpPr>
            <p:nvPr/>
          </p:nvSpPr>
          <p:spPr bwMode="auto">
            <a:xfrm>
              <a:off x="7719650" y="2537992"/>
              <a:ext cx="911030" cy="771891"/>
            </a:xfrm>
            <a:custGeom>
              <a:avLst/>
              <a:gdLst>
                <a:gd name="T0" fmla="*/ 0 w 2247"/>
                <a:gd name="T1" fmla="*/ 0 h 1900"/>
                <a:gd name="T2" fmla="*/ 0 w 2247"/>
                <a:gd name="T3" fmla="*/ 0 h 1900"/>
                <a:gd name="T4" fmla="*/ 0 w 2247"/>
                <a:gd name="T5" fmla="*/ 0 h 1900"/>
                <a:gd name="T6" fmla="*/ 0 w 2247"/>
                <a:gd name="T7" fmla="*/ 0 h 1900"/>
                <a:gd name="T8" fmla="*/ 0 w 2247"/>
                <a:gd name="T9" fmla="*/ 0 h 1900"/>
                <a:gd name="T10" fmla="*/ 0 w 2247"/>
                <a:gd name="T11" fmla="*/ 0 h 1900"/>
                <a:gd name="T12" fmla="*/ 0 w 2247"/>
                <a:gd name="T13" fmla="*/ 0 h 1900"/>
                <a:gd name="T14" fmla="*/ 0 w 2247"/>
                <a:gd name="T15" fmla="*/ 0 h 1900"/>
                <a:gd name="T16" fmla="*/ 0 w 2247"/>
                <a:gd name="T17" fmla="*/ 0 h 1900"/>
                <a:gd name="T18" fmla="*/ 0 w 2247"/>
                <a:gd name="T19" fmla="*/ 0 h 1900"/>
                <a:gd name="T20" fmla="*/ 0 w 2247"/>
                <a:gd name="T21" fmla="*/ 0 h 1900"/>
                <a:gd name="T22" fmla="*/ 0 w 2247"/>
                <a:gd name="T23" fmla="*/ 0 h 1900"/>
                <a:gd name="T24" fmla="*/ 0 w 2247"/>
                <a:gd name="T25" fmla="*/ 0 h 1900"/>
                <a:gd name="T26" fmla="*/ 0 w 2247"/>
                <a:gd name="T27" fmla="*/ 0 h 1900"/>
                <a:gd name="T28" fmla="*/ 0 w 2247"/>
                <a:gd name="T29" fmla="*/ 0 h 1900"/>
                <a:gd name="T30" fmla="*/ 0 w 2247"/>
                <a:gd name="T31" fmla="*/ 0 h 1900"/>
                <a:gd name="T32" fmla="*/ 0 w 2247"/>
                <a:gd name="T33" fmla="*/ 0 h 1900"/>
                <a:gd name="T34" fmla="*/ 0 w 2247"/>
                <a:gd name="T35" fmla="*/ 0 h 1900"/>
                <a:gd name="T36" fmla="*/ 0 w 2247"/>
                <a:gd name="T37" fmla="*/ 0 h 1900"/>
                <a:gd name="T38" fmla="*/ 0 w 2247"/>
                <a:gd name="T39" fmla="*/ 0 h 1900"/>
                <a:gd name="T40" fmla="*/ 0 w 2247"/>
                <a:gd name="T41" fmla="*/ 0 h 1900"/>
                <a:gd name="T42" fmla="*/ 0 w 2247"/>
                <a:gd name="T43" fmla="*/ 0 h 1900"/>
                <a:gd name="T44" fmla="*/ 0 w 2247"/>
                <a:gd name="T45" fmla="*/ 0 h 1900"/>
                <a:gd name="T46" fmla="*/ 0 w 2247"/>
                <a:gd name="T47" fmla="*/ 0 h 1900"/>
                <a:gd name="T48" fmla="*/ 0 w 2247"/>
                <a:gd name="T49" fmla="*/ 0 h 1900"/>
                <a:gd name="T50" fmla="*/ 0 w 2247"/>
                <a:gd name="T51" fmla="*/ 0 h 1900"/>
                <a:gd name="T52" fmla="*/ 0 w 2247"/>
                <a:gd name="T53" fmla="*/ 0 h 1900"/>
                <a:gd name="T54" fmla="*/ 0 w 2247"/>
                <a:gd name="T55" fmla="*/ 0 h 1900"/>
                <a:gd name="T56" fmla="*/ 0 w 2247"/>
                <a:gd name="T57" fmla="*/ 0 h 1900"/>
                <a:gd name="T58" fmla="*/ 0 w 2247"/>
                <a:gd name="T59" fmla="*/ 0 h 1900"/>
                <a:gd name="T60" fmla="*/ 0 w 2247"/>
                <a:gd name="T61" fmla="*/ 0 h 1900"/>
                <a:gd name="T62" fmla="*/ 0 w 2247"/>
                <a:gd name="T63" fmla="*/ 0 h 1900"/>
                <a:gd name="T64" fmla="*/ 0 w 2247"/>
                <a:gd name="T65" fmla="*/ 0 h 1900"/>
                <a:gd name="T66" fmla="*/ 0 w 2247"/>
                <a:gd name="T67" fmla="*/ 0 h 1900"/>
                <a:gd name="T68" fmla="*/ 0 w 2247"/>
                <a:gd name="T69" fmla="*/ 0 h 1900"/>
                <a:gd name="T70" fmla="*/ 0 w 2247"/>
                <a:gd name="T71" fmla="*/ 0 h 1900"/>
                <a:gd name="T72" fmla="*/ 0 w 2247"/>
                <a:gd name="T73" fmla="*/ 0 h 1900"/>
                <a:gd name="T74" fmla="*/ 0 w 2247"/>
                <a:gd name="T75" fmla="*/ 0 h 1900"/>
                <a:gd name="T76" fmla="*/ 0 w 2247"/>
                <a:gd name="T77" fmla="*/ 0 h 1900"/>
                <a:gd name="T78" fmla="*/ 0 w 2247"/>
                <a:gd name="T79" fmla="*/ 0 h 1900"/>
                <a:gd name="T80" fmla="*/ 0 w 2247"/>
                <a:gd name="T81" fmla="*/ 0 h 1900"/>
                <a:gd name="T82" fmla="*/ 0 w 2247"/>
                <a:gd name="T83" fmla="*/ 0 h 1900"/>
                <a:gd name="T84" fmla="*/ 0 w 2247"/>
                <a:gd name="T85" fmla="*/ 0 h 1900"/>
                <a:gd name="T86" fmla="*/ 0 w 2247"/>
                <a:gd name="T87" fmla="*/ 0 h 1900"/>
                <a:gd name="T88" fmla="*/ 0 w 2247"/>
                <a:gd name="T89" fmla="*/ 0 h 1900"/>
                <a:gd name="T90" fmla="*/ 0 w 2247"/>
                <a:gd name="T91" fmla="*/ 0 h 1900"/>
                <a:gd name="T92" fmla="*/ 0 w 2247"/>
                <a:gd name="T93" fmla="*/ 0 h 1900"/>
                <a:gd name="T94" fmla="*/ 0 w 2247"/>
                <a:gd name="T95" fmla="*/ 0 h 1900"/>
                <a:gd name="T96" fmla="*/ 0 w 2247"/>
                <a:gd name="T97" fmla="*/ 0 h 1900"/>
                <a:gd name="T98" fmla="*/ 0 w 2247"/>
                <a:gd name="T99" fmla="*/ 0 h 19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247"/>
                <a:gd name="T151" fmla="*/ 0 h 1900"/>
                <a:gd name="T152" fmla="*/ 2247 w 2247"/>
                <a:gd name="T153" fmla="*/ 1900 h 19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247" h="1900">
                  <a:moveTo>
                    <a:pt x="88" y="1900"/>
                  </a:moveTo>
                  <a:lnTo>
                    <a:pt x="96" y="1719"/>
                  </a:lnTo>
                  <a:lnTo>
                    <a:pt x="27" y="1663"/>
                  </a:lnTo>
                  <a:lnTo>
                    <a:pt x="0" y="1616"/>
                  </a:lnTo>
                  <a:lnTo>
                    <a:pt x="43" y="1559"/>
                  </a:lnTo>
                  <a:lnTo>
                    <a:pt x="108" y="1519"/>
                  </a:lnTo>
                  <a:lnTo>
                    <a:pt x="154" y="1444"/>
                  </a:lnTo>
                  <a:lnTo>
                    <a:pt x="49" y="954"/>
                  </a:lnTo>
                  <a:lnTo>
                    <a:pt x="113" y="967"/>
                  </a:lnTo>
                  <a:lnTo>
                    <a:pt x="178" y="948"/>
                  </a:lnTo>
                  <a:lnTo>
                    <a:pt x="247" y="957"/>
                  </a:lnTo>
                  <a:lnTo>
                    <a:pt x="277" y="940"/>
                  </a:lnTo>
                  <a:lnTo>
                    <a:pt x="300" y="917"/>
                  </a:lnTo>
                  <a:lnTo>
                    <a:pt x="333" y="930"/>
                  </a:lnTo>
                  <a:lnTo>
                    <a:pt x="366" y="924"/>
                  </a:lnTo>
                  <a:lnTo>
                    <a:pt x="348" y="864"/>
                  </a:lnTo>
                  <a:lnTo>
                    <a:pt x="378" y="846"/>
                  </a:lnTo>
                  <a:lnTo>
                    <a:pt x="411" y="846"/>
                  </a:lnTo>
                  <a:lnTo>
                    <a:pt x="432" y="819"/>
                  </a:lnTo>
                  <a:lnTo>
                    <a:pt x="461" y="798"/>
                  </a:lnTo>
                  <a:lnTo>
                    <a:pt x="494" y="807"/>
                  </a:lnTo>
                  <a:lnTo>
                    <a:pt x="513" y="834"/>
                  </a:lnTo>
                  <a:lnTo>
                    <a:pt x="546" y="848"/>
                  </a:lnTo>
                  <a:lnTo>
                    <a:pt x="577" y="833"/>
                  </a:lnTo>
                  <a:lnTo>
                    <a:pt x="568" y="800"/>
                  </a:lnTo>
                  <a:lnTo>
                    <a:pt x="528" y="744"/>
                  </a:lnTo>
                  <a:lnTo>
                    <a:pt x="533" y="711"/>
                  </a:lnTo>
                  <a:lnTo>
                    <a:pt x="564" y="652"/>
                  </a:lnTo>
                  <a:lnTo>
                    <a:pt x="569" y="515"/>
                  </a:lnTo>
                  <a:lnTo>
                    <a:pt x="597" y="495"/>
                  </a:lnTo>
                  <a:lnTo>
                    <a:pt x="629" y="487"/>
                  </a:lnTo>
                  <a:lnTo>
                    <a:pt x="678" y="443"/>
                  </a:lnTo>
                  <a:lnTo>
                    <a:pt x="731" y="440"/>
                  </a:lnTo>
                  <a:lnTo>
                    <a:pt x="761" y="362"/>
                  </a:lnTo>
                  <a:lnTo>
                    <a:pt x="730" y="349"/>
                  </a:lnTo>
                  <a:lnTo>
                    <a:pt x="695" y="353"/>
                  </a:lnTo>
                  <a:lnTo>
                    <a:pt x="690" y="288"/>
                  </a:lnTo>
                  <a:lnTo>
                    <a:pt x="719" y="270"/>
                  </a:lnTo>
                  <a:lnTo>
                    <a:pt x="737" y="244"/>
                  </a:lnTo>
                  <a:lnTo>
                    <a:pt x="736" y="236"/>
                  </a:lnTo>
                  <a:lnTo>
                    <a:pt x="736" y="232"/>
                  </a:lnTo>
                  <a:lnTo>
                    <a:pt x="768" y="236"/>
                  </a:lnTo>
                  <a:lnTo>
                    <a:pt x="794" y="215"/>
                  </a:lnTo>
                  <a:lnTo>
                    <a:pt x="799" y="181"/>
                  </a:lnTo>
                  <a:lnTo>
                    <a:pt x="823" y="160"/>
                  </a:lnTo>
                  <a:lnTo>
                    <a:pt x="889" y="179"/>
                  </a:lnTo>
                  <a:lnTo>
                    <a:pt x="920" y="170"/>
                  </a:lnTo>
                  <a:lnTo>
                    <a:pt x="955" y="113"/>
                  </a:lnTo>
                  <a:lnTo>
                    <a:pt x="961" y="79"/>
                  </a:lnTo>
                  <a:lnTo>
                    <a:pt x="1028" y="6"/>
                  </a:lnTo>
                  <a:lnTo>
                    <a:pt x="1069" y="0"/>
                  </a:lnTo>
                  <a:lnTo>
                    <a:pt x="1081" y="29"/>
                  </a:lnTo>
                  <a:lnTo>
                    <a:pt x="1144" y="12"/>
                  </a:lnTo>
                  <a:lnTo>
                    <a:pt x="1174" y="21"/>
                  </a:lnTo>
                  <a:lnTo>
                    <a:pt x="1196" y="46"/>
                  </a:lnTo>
                  <a:lnTo>
                    <a:pt x="1259" y="29"/>
                  </a:lnTo>
                  <a:lnTo>
                    <a:pt x="1291" y="32"/>
                  </a:lnTo>
                  <a:lnTo>
                    <a:pt x="1346" y="61"/>
                  </a:lnTo>
                  <a:lnTo>
                    <a:pt x="1348" y="142"/>
                  </a:lnTo>
                  <a:lnTo>
                    <a:pt x="1401" y="101"/>
                  </a:lnTo>
                  <a:lnTo>
                    <a:pt x="1433" y="94"/>
                  </a:lnTo>
                  <a:lnTo>
                    <a:pt x="1453" y="70"/>
                  </a:lnTo>
                  <a:lnTo>
                    <a:pt x="1548" y="56"/>
                  </a:lnTo>
                  <a:lnTo>
                    <a:pt x="1652" y="137"/>
                  </a:lnTo>
                  <a:lnTo>
                    <a:pt x="1684" y="136"/>
                  </a:lnTo>
                  <a:lnTo>
                    <a:pt x="1696" y="182"/>
                  </a:lnTo>
                  <a:lnTo>
                    <a:pt x="1690" y="215"/>
                  </a:lnTo>
                  <a:lnTo>
                    <a:pt x="1697" y="248"/>
                  </a:lnTo>
                  <a:lnTo>
                    <a:pt x="1721" y="272"/>
                  </a:lnTo>
                  <a:lnTo>
                    <a:pt x="1736" y="301"/>
                  </a:lnTo>
                  <a:lnTo>
                    <a:pt x="1733" y="365"/>
                  </a:lnTo>
                  <a:lnTo>
                    <a:pt x="1708" y="391"/>
                  </a:lnTo>
                  <a:lnTo>
                    <a:pt x="1705" y="425"/>
                  </a:lnTo>
                  <a:lnTo>
                    <a:pt x="1720" y="455"/>
                  </a:lnTo>
                  <a:lnTo>
                    <a:pt x="1775" y="494"/>
                  </a:lnTo>
                  <a:lnTo>
                    <a:pt x="1888" y="664"/>
                  </a:lnTo>
                  <a:lnTo>
                    <a:pt x="1953" y="690"/>
                  </a:lnTo>
                  <a:lnTo>
                    <a:pt x="1977" y="713"/>
                  </a:lnTo>
                  <a:lnTo>
                    <a:pt x="1989" y="746"/>
                  </a:lnTo>
                  <a:lnTo>
                    <a:pt x="1990" y="779"/>
                  </a:lnTo>
                  <a:lnTo>
                    <a:pt x="2009" y="808"/>
                  </a:lnTo>
                  <a:lnTo>
                    <a:pt x="2107" y="778"/>
                  </a:lnTo>
                  <a:lnTo>
                    <a:pt x="2137" y="795"/>
                  </a:lnTo>
                  <a:lnTo>
                    <a:pt x="2171" y="800"/>
                  </a:lnTo>
                  <a:lnTo>
                    <a:pt x="2165" y="834"/>
                  </a:lnTo>
                  <a:lnTo>
                    <a:pt x="2191" y="856"/>
                  </a:lnTo>
                  <a:lnTo>
                    <a:pt x="2232" y="856"/>
                  </a:lnTo>
                  <a:lnTo>
                    <a:pt x="2247" y="912"/>
                  </a:lnTo>
                  <a:lnTo>
                    <a:pt x="2136" y="1047"/>
                  </a:lnTo>
                  <a:lnTo>
                    <a:pt x="2064" y="1049"/>
                  </a:lnTo>
                  <a:lnTo>
                    <a:pt x="2005" y="1013"/>
                  </a:lnTo>
                  <a:lnTo>
                    <a:pt x="1970" y="1017"/>
                  </a:lnTo>
                  <a:lnTo>
                    <a:pt x="1941" y="1035"/>
                  </a:lnTo>
                  <a:lnTo>
                    <a:pt x="1944" y="1070"/>
                  </a:lnTo>
                  <a:lnTo>
                    <a:pt x="1915" y="1089"/>
                  </a:lnTo>
                  <a:lnTo>
                    <a:pt x="1922" y="1123"/>
                  </a:lnTo>
                  <a:lnTo>
                    <a:pt x="1980" y="1161"/>
                  </a:lnTo>
                  <a:lnTo>
                    <a:pt x="1995" y="1192"/>
                  </a:lnTo>
                  <a:lnTo>
                    <a:pt x="1989" y="1228"/>
                  </a:lnTo>
                  <a:lnTo>
                    <a:pt x="2016" y="1249"/>
                  </a:lnTo>
                  <a:lnTo>
                    <a:pt x="2014" y="1285"/>
                  </a:lnTo>
                  <a:lnTo>
                    <a:pt x="2047" y="1297"/>
                  </a:lnTo>
                  <a:lnTo>
                    <a:pt x="2065" y="1329"/>
                  </a:lnTo>
                  <a:lnTo>
                    <a:pt x="2068" y="1363"/>
                  </a:lnTo>
                  <a:lnTo>
                    <a:pt x="2105" y="1455"/>
                  </a:lnTo>
                  <a:lnTo>
                    <a:pt x="2017" y="1471"/>
                  </a:lnTo>
                  <a:lnTo>
                    <a:pt x="1987" y="1495"/>
                  </a:lnTo>
                  <a:lnTo>
                    <a:pt x="1950" y="1501"/>
                  </a:lnTo>
                  <a:lnTo>
                    <a:pt x="1918" y="1522"/>
                  </a:lnTo>
                  <a:lnTo>
                    <a:pt x="1853" y="1615"/>
                  </a:lnTo>
                  <a:lnTo>
                    <a:pt x="1844" y="1651"/>
                  </a:lnTo>
                  <a:lnTo>
                    <a:pt x="1850" y="1690"/>
                  </a:lnTo>
                  <a:lnTo>
                    <a:pt x="1845" y="1727"/>
                  </a:lnTo>
                  <a:lnTo>
                    <a:pt x="1866" y="1800"/>
                  </a:lnTo>
                  <a:lnTo>
                    <a:pt x="1853" y="1837"/>
                  </a:lnTo>
                  <a:lnTo>
                    <a:pt x="1819" y="1851"/>
                  </a:lnTo>
                  <a:lnTo>
                    <a:pt x="1793" y="1825"/>
                  </a:lnTo>
                  <a:lnTo>
                    <a:pt x="1756" y="1814"/>
                  </a:lnTo>
                  <a:lnTo>
                    <a:pt x="1610" y="1843"/>
                  </a:lnTo>
                  <a:lnTo>
                    <a:pt x="1581" y="1870"/>
                  </a:lnTo>
                  <a:lnTo>
                    <a:pt x="1550" y="1850"/>
                  </a:lnTo>
                  <a:lnTo>
                    <a:pt x="1531" y="1815"/>
                  </a:lnTo>
                  <a:lnTo>
                    <a:pt x="1466" y="1778"/>
                  </a:lnTo>
                  <a:lnTo>
                    <a:pt x="1402" y="1870"/>
                  </a:lnTo>
                  <a:lnTo>
                    <a:pt x="1368" y="1852"/>
                  </a:lnTo>
                  <a:lnTo>
                    <a:pt x="1344" y="1825"/>
                  </a:lnTo>
                  <a:lnTo>
                    <a:pt x="1309" y="1838"/>
                  </a:lnTo>
                  <a:lnTo>
                    <a:pt x="1273" y="1830"/>
                  </a:lnTo>
                  <a:lnTo>
                    <a:pt x="1241" y="1809"/>
                  </a:lnTo>
                  <a:lnTo>
                    <a:pt x="1216" y="1842"/>
                  </a:lnTo>
                  <a:lnTo>
                    <a:pt x="1179" y="1847"/>
                  </a:lnTo>
                  <a:lnTo>
                    <a:pt x="1145" y="1863"/>
                  </a:lnTo>
                  <a:lnTo>
                    <a:pt x="1118" y="1889"/>
                  </a:lnTo>
                  <a:lnTo>
                    <a:pt x="1088" y="1869"/>
                  </a:lnTo>
                  <a:lnTo>
                    <a:pt x="1079" y="1832"/>
                  </a:lnTo>
                  <a:lnTo>
                    <a:pt x="1007" y="1845"/>
                  </a:lnTo>
                  <a:lnTo>
                    <a:pt x="977" y="1823"/>
                  </a:lnTo>
                  <a:lnTo>
                    <a:pt x="965" y="1786"/>
                  </a:lnTo>
                  <a:lnTo>
                    <a:pt x="932" y="1772"/>
                  </a:lnTo>
                  <a:lnTo>
                    <a:pt x="895" y="1767"/>
                  </a:lnTo>
                  <a:lnTo>
                    <a:pt x="862" y="1752"/>
                  </a:lnTo>
                  <a:lnTo>
                    <a:pt x="789" y="1760"/>
                  </a:lnTo>
                  <a:lnTo>
                    <a:pt x="651" y="1711"/>
                  </a:lnTo>
                  <a:lnTo>
                    <a:pt x="538" y="1726"/>
                  </a:lnTo>
                  <a:lnTo>
                    <a:pt x="503" y="1714"/>
                  </a:lnTo>
                  <a:lnTo>
                    <a:pt x="291" y="1770"/>
                  </a:lnTo>
                  <a:lnTo>
                    <a:pt x="282" y="1806"/>
                  </a:lnTo>
                  <a:lnTo>
                    <a:pt x="256" y="1833"/>
                  </a:lnTo>
                  <a:lnTo>
                    <a:pt x="188" y="1869"/>
                  </a:lnTo>
                  <a:lnTo>
                    <a:pt x="152" y="1865"/>
                  </a:lnTo>
                  <a:lnTo>
                    <a:pt x="115" y="1873"/>
                  </a:lnTo>
                  <a:lnTo>
                    <a:pt x="88" y="1900"/>
                  </a:lnTo>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27" name="Freeform 15"/>
            <p:cNvSpPr>
              <a:spLocks/>
            </p:cNvSpPr>
            <p:nvPr/>
          </p:nvSpPr>
          <p:spPr bwMode="auto">
            <a:xfrm>
              <a:off x="7424706" y="3819582"/>
              <a:ext cx="1078961" cy="744623"/>
            </a:xfrm>
            <a:custGeom>
              <a:avLst/>
              <a:gdLst>
                <a:gd name="T0" fmla="*/ 0 w 2654"/>
                <a:gd name="T1" fmla="*/ 0 h 1839"/>
                <a:gd name="T2" fmla="*/ 0 w 2654"/>
                <a:gd name="T3" fmla="*/ 0 h 1839"/>
                <a:gd name="T4" fmla="*/ 0 w 2654"/>
                <a:gd name="T5" fmla="*/ 0 h 1839"/>
                <a:gd name="T6" fmla="*/ 0 w 2654"/>
                <a:gd name="T7" fmla="*/ 0 h 1839"/>
                <a:gd name="T8" fmla="*/ 0 w 2654"/>
                <a:gd name="T9" fmla="*/ 0 h 1839"/>
                <a:gd name="T10" fmla="*/ 0 w 2654"/>
                <a:gd name="T11" fmla="*/ 0 h 1839"/>
                <a:gd name="T12" fmla="*/ 0 w 2654"/>
                <a:gd name="T13" fmla="*/ 0 h 1839"/>
                <a:gd name="T14" fmla="*/ 0 w 2654"/>
                <a:gd name="T15" fmla="*/ 0 h 1839"/>
                <a:gd name="T16" fmla="*/ 0 w 2654"/>
                <a:gd name="T17" fmla="*/ 0 h 1839"/>
                <a:gd name="T18" fmla="*/ 0 w 2654"/>
                <a:gd name="T19" fmla="*/ 0 h 1839"/>
                <a:gd name="T20" fmla="*/ 0 w 2654"/>
                <a:gd name="T21" fmla="*/ 0 h 1839"/>
                <a:gd name="T22" fmla="*/ 0 w 2654"/>
                <a:gd name="T23" fmla="*/ 0 h 1839"/>
                <a:gd name="T24" fmla="*/ 0 w 2654"/>
                <a:gd name="T25" fmla="*/ 0 h 1839"/>
                <a:gd name="T26" fmla="*/ 0 w 2654"/>
                <a:gd name="T27" fmla="*/ 0 h 1839"/>
                <a:gd name="T28" fmla="*/ 0 w 2654"/>
                <a:gd name="T29" fmla="*/ 0 h 1839"/>
                <a:gd name="T30" fmla="*/ 0 w 2654"/>
                <a:gd name="T31" fmla="*/ 0 h 1839"/>
                <a:gd name="T32" fmla="*/ 0 w 2654"/>
                <a:gd name="T33" fmla="*/ 0 h 1839"/>
                <a:gd name="T34" fmla="*/ 0 w 2654"/>
                <a:gd name="T35" fmla="*/ 0 h 1839"/>
                <a:gd name="T36" fmla="*/ 0 w 2654"/>
                <a:gd name="T37" fmla="*/ 0 h 1839"/>
                <a:gd name="T38" fmla="*/ 0 w 2654"/>
                <a:gd name="T39" fmla="*/ 0 h 1839"/>
                <a:gd name="T40" fmla="*/ 0 w 2654"/>
                <a:gd name="T41" fmla="*/ 0 h 1839"/>
                <a:gd name="T42" fmla="*/ 0 w 2654"/>
                <a:gd name="T43" fmla="*/ 0 h 1839"/>
                <a:gd name="T44" fmla="*/ 0 w 2654"/>
                <a:gd name="T45" fmla="*/ 0 h 1839"/>
                <a:gd name="T46" fmla="*/ 0 w 2654"/>
                <a:gd name="T47" fmla="*/ 0 h 1839"/>
                <a:gd name="T48" fmla="*/ 0 w 2654"/>
                <a:gd name="T49" fmla="*/ 0 h 1839"/>
                <a:gd name="T50" fmla="*/ 0 w 2654"/>
                <a:gd name="T51" fmla="*/ 0 h 1839"/>
                <a:gd name="T52" fmla="*/ 0 w 2654"/>
                <a:gd name="T53" fmla="*/ 0 h 1839"/>
                <a:gd name="T54" fmla="*/ 0 w 2654"/>
                <a:gd name="T55" fmla="*/ 0 h 1839"/>
                <a:gd name="T56" fmla="*/ 0 w 2654"/>
                <a:gd name="T57" fmla="*/ 0 h 1839"/>
                <a:gd name="T58" fmla="*/ 0 w 2654"/>
                <a:gd name="T59" fmla="*/ 0 h 1839"/>
                <a:gd name="T60" fmla="*/ 0 w 2654"/>
                <a:gd name="T61" fmla="*/ 0 h 1839"/>
                <a:gd name="T62" fmla="*/ 0 w 2654"/>
                <a:gd name="T63" fmla="*/ 0 h 1839"/>
                <a:gd name="T64" fmla="*/ 0 w 2654"/>
                <a:gd name="T65" fmla="*/ 0 h 183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54"/>
                <a:gd name="T100" fmla="*/ 0 h 1839"/>
                <a:gd name="T101" fmla="*/ 2654 w 2654"/>
                <a:gd name="T102" fmla="*/ 1839 h 183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54" h="1839">
                  <a:moveTo>
                    <a:pt x="2430" y="1710"/>
                  </a:moveTo>
                  <a:lnTo>
                    <a:pt x="2339" y="1730"/>
                  </a:lnTo>
                  <a:lnTo>
                    <a:pt x="2226" y="1666"/>
                  </a:lnTo>
                  <a:lnTo>
                    <a:pt x="2070" y="1641"/>
                  </a:lnTo>
                  <a:lnTo>
                    <a:pt x="2034" y="1616"/>
                  </a:lnTo>
                  <a:lnTo>
                    <a:pt x="1935" y="1622"/>
                  </a:lnTo>
                  <a:lnTo>
                    <a:pt x="1521" y="1839"/>
                  </a:lnTo>
                  <a:lnTo>
                    <a:pt x="824" y="1817"/>
                  </a:lnTo>
                  <a:lnTo>
                    <a:pt x="766" y="1772"/>
                  </a:lnTo>
                  <a:lnTo>
                    <a:pt x="798" y="1696"/>
                  </a:lnTo>
                  <a:lnTo>
                    <a:pt x="682" y="1666"/>
                  </a:lnTo>
                  <a:lnTo>
                    <a:pt x="638" y="1583"/>
                  </a:lnTo>
                  <a:lnTo>
                    <a:pt x="689" y="1526"/>
                  </a:lnTo>
                  <a:lnTo>
                    <a:pt x="650" y="1470"/>
                  </a:lnTo>
                  <a:lnTo>
                    <a:pt x="592" y="1519"/>
                  </a:lnTo>
                  <a:lnTo>
                    <a:pt x="445" y="1470"/>
                  </a:lnTo>
                  <a:lnTo>
                    <a:pt x="366" y="1410"/>
                  </a:lnTo>
                  <a:lnTo>
                    <a:pt x="345" y="1285"/>
                  </a:lnTo>
                  <a:lnTo>
                    <a:pt x="305" y="1258"/>
                  </a:lnTo>
                  <a:lnTo>
                    <a:pt x="249" y="1247"/>
                  </a:lnTo>
                  <a:lnTo>
                    <a:pt x="203" y="1180"/>
                  </a:lnTo>
                  <a:lnTo>
                    <a:pt x="150" y="1029"/>
                  </a:lnTo>
                  <a:lnTo>
                    <a:pt x="97" y="967"/>
                  </a:lnTo>
                  <a:lnTo>
                    <a:pt x="0" y="916"/>
                  </a:lnTo>
                  <a:lnTo>
                    <a:pt x="15" y="916"/>
                  </a:lnTo>
                  <a:lnTo>
                    <a:pt x="253" y="831"/>
                  </a:lnTo>
                  <a:lnTo>
                    <a:pt x="385" y="548"/>
                  </a:lnTo>
                  <a:lnTo>
                    <a:pt x="444" y="480"/>
                  </a:lnTo>
                  <a:lnTo>
                    <a:pt x="454" y="424"/>
                  </a:lnTo>
                  <a:lnTo>
                    <a:pt x="482" y="373"/>
                  </a:lnTo>
                  <a:lnTo>
                    <a:pt x="485" y="337"/>
                  </a:lnTo>
                  <a:lnTo>
                    <a:pt x="532" y="284"/>
                  </a:lnTo>
                  <a:lnTo>
                    <a:pt x="602" y="252"/>
                  </a:lnTo>
                  <a:lnTo>
                    <a:pt x="638" y="251"/>
                  </a:lnTo>
                  <a:lnTo>
                    <a:pt x="690" y="182"/>
                  </a:lnTo>
                  <a:lnTo>
                    <a:pt x="724" y="167"/>
                  </a:lnTo>
                  <a:lnTo>
                    <a:pt x="1156" y="145"/>
                  </a:lnTo>
                  <a:lnTo>
                    <a:pt x="1262" y="211"/>
                  </a:lnTo>
                  <a:lnTo>
                    <a:pt x="1339" y="150"/>
                  </a:lnTo>
                  <a:lnTo>
                    <a:pt x="1496" y="116"/>
                  </a:lnTo>
                  <a:lnTo>
                    <a:pt x="1654" y="3"/>
                  </a:lnTo>
                  <a:lnTo>
                    <a:pt x="1720" y="0"/>
                  </a:lnTo>
                  <a:lnTo>
                    <a:pt x="1902" y="162"/>
                  </a:lnTo>
                  <a:lnTo>
                    <a:pt x="1924" y="242"/>
                  </a:lnTo>
                  <a:lnTo>
                    <a:pt x="2133" y="528"/>
                  </a:lnTo>
                  <a:lnTo>
                    <a:pt x="2185" y="765"/>
                  </a:lnTo>
                  <a:lnTo>
                    <a:pt x="2178" y="849"/>
                  </a:lnTo>
                  <a:lnTo>
                    <a:pt x="2222" y="1059"/>
                  </a:lnTo>
                  <a:lnTo>
                    <a:pt x="2264" y="1049"/>
                  </a:lnTo>
                  <a:lnTo>
                    <a:pt x="2337" y="1127"/>
                  </a:lnTo>
                  <a:lnTo>
                    <a:pt x="2391" y="1117"/>
                  </a:lnTo>
                  <a:lnTo>
                    <a:pt x="2439" y="1072"/>
                  </a:lnTo>
                  <a:lnTo>
                    <a:pt x="2557" y="1027"/>
                  </a:lnTo>
                  <a:lnTo>
                    <a:pt x="2600" y="1024"/>
                  </a:lnTo>
                  <a:lnTo>
                    <a:pt x="2629" y="1036"/>
                  </a:lnTo>
                  <a:lnTo>
                    <a:pt x="2649" y="1071"/>
                  </a:lnTo>
                  <a:lnTo>
                    <a:pt x="2654" y="1217"/>
                  </a:lnTo>
                  <a:lnTo>
                    <a:pt x="2621" y="1276"/>
                  </a:lnTo>
                  <a:lnTo>
                    <a:pt x="2570" y="1294"/>
                  </a:lnTo>
                  <a:lnTo>
                    <a:pt x="2455" y="1433"/>
                  </a:lnTo>
                  <a:lnTo>
                    <a:pt x="2439" y="1404"/>
                  </a:lnTo>
                  <a:lnTo>
                    <a:pt x="2469" y="1363"/>
                  </a:lnTo>
                  <a:lnTo>
                    <a:pt x="2492" y="1295"/>
                  </a:lnTo>
                  <a:lnTo>
                    <a:pt x="2484" y="1225"/>
                  </a:lnTo>
                  <a:lnTo>
                    <a:pt x="2445" y="1229"/>
                  </a:lnTo>
                  <a:lnTo>
                    <a:pt x="2430" y="1710"/>
                  </a:lnTo>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28" name="IRE"/>
            <p:cNvSpPr>
              <a:spLocks/>
            </p:cNvSpPr>
            <p:nvPr/>
          </p:nvSpPr>
          <p:spPr bwMode="auto">
            <a:xfrm>
              <a:off x="4492232" y="2259021"/>
              <a:ext cx="505894" cy="513894"/>
            </a:xfrm>
            <a:custGeom>
              <a:avLst/>
              <a:gdLst>
                <a:gd name="T0" fmla="*/ 0 w 1250"/>
                <a:gd name="T1" fmla="*/ 0 h 1267"/>
                <a:gd name="T2" fmla="*/ 0 w 1250"/>
                <a:gd name="T3" fmla="*/ 0 h 1267"/>
                <a:gd name="T4" fmla="*/ 0 w 1250"/>
                <a:gd name="T5" fmla="*/ 0 h 1267"/>
                <a:gd name="T6" fmla="*/ 0 w 1250"/>
                <a:gd name="T7" fmla="*/ 0 h 1267"/>
                <a:gd name="T8" fmla="*/ 0 w 1250"/>
                <a:gd name="T9" fmla="*/ 0 h 1267"/>
                <a:gd name="T10" fmla="*/ 0 w 1250"/>
                <a:gd name="T11" fmla="*/ 0 h 1267"/>
                <a:gd name="T12" fmla="*/ 0 w 1250"/>
                <a:gd name="T13" fmla="*/ 0 h 1267"/>
                <a:gd name="T14" fmla="*/ 0 w 1250"/>
                <a:gd name="T15" fmla="*/ 0 h 1267"/>
                <a:gd name="T16" fmla="*/ 0 w 1250"/>
                <a:gd name="T17" fmla="*/ 0 h 1267"/>
                <a:gd name="T18" fmla="*/ 0 w 1250"/>
                <a:gd name="T19" fmla="*/ 0 h 1267"/>
                <a:gd name="T20" fmla="*/ 0 w 1250"/>
                <a:gd name="T21" fmla="*/ 0 h 1267"/>
                <a:gd name="T22" fmla="*/ 0 w 1250"/>
                <a:gd name="T23" fmla="*/ 0 h 1267"/>
                <a:gd name="T24" fmla="*/ 0 w 1250"/>
                <a:gd name="T25" fmla="*/ 0 h 1267"/>
                <a:gd name="T26" fmla="*/ 0 w 1250"/>
                <a:gd name="T27" fmla="*/ 0 h 1267"/>
                <a:gd name="T28" fmla="*/ 0 w 1250"/>
                <a:gd name="T29" fmla="*/ 0 h 1267"/>
                <a:gd name="T30" fmla="*/ 0 w 1250"/>
                <a:gd name="T31" fmla="*/ 0 h 1267"/>
                <a:gd name="T32" fmla="*/ 0 w 1250"/>
                <a:gd name="T33" fmla="*/ 0 h 1267"/>
                <a:gd name="T34" fmla="*/ 0 w 1250"/>
                <a:gd name="T35" fmla="*/ 0 h 1267"/>
                <a:gd name="T36" fmla="*/ 0 w 1250"/>
                <a:gd name="T37" fmla="*/ 0 h 1267"/>
                <a:gd name="T38" fmla="*/ 0 w 1250"/>
                <a:gd name="T39" fmla="*/ 0 h 1267"/>
                <a:gd name="T40" fmla="*/ 0 w 1250"/>
                <a:gd name="T41" fmla="*/ 0 h 1267"/>
                <a:gd name="T42" fmla="*/ 0 w 1250"/>
                <a:gd name="T43" fmla="*/ 0 h 1267"/>
                <a:gd name="T44" fmla="*/ 0 w 1250"/>
                <a:gd name="T45" fmla="*/ 0 h 1267"/>
                <a:gd name="T46" fmla="*/ 0 w 1250"/>
                <a:gd name="T47" fmla="*/ 0 h 1267"/>
                <a:gd name="T48" fmla="*/ 0 w 1250"/>
                <a:gd name="T49" fmla="*/ 0 h 1267"/>
                <a:gd name="T50" fmla="*/ 0 w 1250"/>
                <a:gd name="T51" fmla="*/ 0 h 1267"/>
                <a:gd name="T52" fmla="*/ 0 w 1250"/>
                <a:gd name="T53" fmla="*/ 0 h 1267"/>
                <a:gd name="T54" fmla="*/ 0 w 1250"/>
                <a:gd name="T55" fmla="*/ 0 h 1267"/>
                <a:gd name="T56" fmla="*/ 0 w 1250"/>
                <a:gd name="T57" fmla="*/ 0 h 1267"/>
                <a:gd name="T58" fmla="*/ 0 w 1250"/>
                <a:gd name="T59" fmla="*/ 0 h 1267"/>
                <a:gd name="T60" fmla="*/ 0 w 1250"/>
                <a:gd name="T61" fmla="*/ 0 h 1267"/>
                <a:gd name="T62" fmla="*/ 0 w 1250"/>
                <a:gd name="T63" fmla="*/ 0 h 1267"/>
                <a:gd name="T64" fmla="*/ 0 w 1250"/>
                <a:gd name="T65" fmla="*/ 0 h 1267"/>
                <a:gd name="T66" fmla="*/ 0 w 1250"/>
                <a:gd name="T67" fmla="*/ 0 h 1267"/>
                <a:gd name="T68" fmla="*/ 0 w 1250"/>
                <a:gd name="T69" fmla="*/ 0 h 1267"/>
                <a:gd name="T70" fmla="*/ 0 w 1250"/>
                <a:gd name="T71" fmla="*/ 0 h 1267"/>
                <a:gd name="T72" fmla="*/ 0 w 1250"/>
                <a:gd name="T73" fmla="*/ 0 h 1267"/>
                <a:gd name="T74" fmla="*/ 0 w 1250"/>
                <a:gd name="T75" fmla="*/ 0 h 1267"/>
                <a:gd name="T76" fmla="*/ 0 w 1250"/>
                <a:gd name="T77" fmla="*/ 0 h 1267"/>
                <a:gd name="T78" fmla="*/ 0 w 1250"/>
                <a:gd name="T79" fmla="*/ 0 h 1267"/>
                <a:gd name="T80" fmla="*/ 0 w 1250"/>
                <a:gd name="T81" fmla="*/ 0 h 1267"/>
                <a:gd name="T82" fmla="*/ 0 w 1250"/>
                <a:gd name="T83" fmla="*/ 0 h 12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0"/>
                <a:gd name="T127" fmla="*/ 0 h 1267"/>
                <a:gd name="T128" fmla="*/ 1250 w 1250"/>
                <a:gd name="T129" fmla="*/ 1267 h 12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0" h="1267">
                  <a:moveTo>
                    <a:pt x="1227" y="593"/>
                  </a:moveTo>
                  <a:lnTo>
                    <a:pt x="1224" y="570"/>
                  </a:lnTo>
                  <a:lnTo>
                    <a:pt x="1248" y="510"/>
                  </a:lnTo>
                  <a:lnTo>
                    <a:pt x="1250" y="480"/>
                  </a:lnTo>
                  <a:lnTo>
                    <a:pt x="1217" y="402"/>
                  </a:lnTo>
                  <a:lnTo>
                    <a:pt x="1088" y="384"/>
                  </a:lnTo>
                  <a:lnTo>
                    <a:pt x="1047" y="421"/>
                  </a:lnTo>
                  <a:lnTo>
                    <a:pt x="981" y="447"/>
                  </a:lnTo>
                  <a:lnTo>
                    <a:pt x="945" y="406"/>
                  </a:lnTo>
                  <a:lnTo>
                    <a:pt x="945" y="325"/>
                  </a:lnTo>
                  <a:lnTo>
                    <a:pt x="899" y="256"/>
                  </a:lnTo>
                  <a:lnTo>
                    <a:pt x="958" y="241"/>
                  </a:lnTo>
                  <a:lnTo>
                    <a:pt x="978" y="191"/>
                  </a:lnTo>
                  <a:lnTo>
                    <a:pt x="1019" y="203"/>
                  </a:lnTo>
                  <a:lnTo>
                    <a:pt x="1055" y="173"/>
                  </a:lnTo>
                  <a:lnTo>
                    <a:pt x="1118" y="28"/>
                  </a:lnTo>
                  <a:lnTo>
                    <a:pt x="1117" y="16"/>
                  </a:lnTo>
                  <a:lnTo>
                    <a:pt x="1091" y="12"/>
                  </a:lnTo>
                  <a:lnTo>
                    <a:pt x="1046" y="19"/>
                  </a:lnTo>
                  <a:lnTo>
                    <a:pt x="1037" y="0"/>
                  </a:lnTo>
                  <a:lnTo>
                    <a:pt x="940" y="30"/>
                  </a:lnTo>
                  <a:lnTo>
                    <a:pt x="920" y="29"/>
                  </a:lnTo>
                  <a:lnTo>
                    <a:pt x="892" y="63"/>
                  </a:lnTo>
                  <a:lnTo>
                    <a:pt x="894" y="82"/>
                  </a:lnTo>
                  <a:lnTo>
                    <a:pt x="885" y="93"/>
                  </a:lnTo>
                  <a:lnTo>
                    <a:pt x="847" y="112"/>
                  </a:lnTo>
                  <a:lnTo>
                    <a:pt x="790" y="124"/>
                  </a:lnTo>
                  <a:lnTo>
                    <a:pt x="789" y="152"/>
                  </a:lnTo>
                  <a:lnTo>
                    <a:pt x="822" y="166"/>
                  </a:lnTo>
                  <a:lnTo>
                    <a:pt x="840" y="181"/>
                  </a:lnTo>
                  <a:lnTo>
                    <a:pt x="863" y="183"/>
                  </a:lnTo>
                  <a:lnTo>
                    <a:pt x="899" y="197"/>
                  </a:lnTo>
                  <a:lnTo>
                    <a:pt x="894" y="214"/>
                  </a:lnTo>
                  <a:lnTo>
                    <a:pt x="866" y="243"/>
                  </a:lnTo>
                  <a:lnTo>
                    <a:pt x="778" y="262"/>
                  </a:lnTo>
                  <a:lnTo>
                    <a:pt x="774" y="279"/>
                  </a:lnTo>
                  <a:lnTo>
                    <a:pt x="760" y="301"/>
                  </a:lnTo>
                  <a:lnTo>
                    <a:pt x="626" y="257"/>
                  </a:lnTo>
                  <a:lnTo>
                    <a:pt x="622" y="226"/>
                  </a:lnTo>
                  <a:lnTo>
                    <a:pt x="530" y="175"/>
                  </a:lnTo>
                  <a:lnTo>
                    <a:pt x="459" y="224"/>
                  </a:lnTo>
                  <a:lnTo>
                    <a:pt x="447" y="292"/>
                  </a:lnTo>
                  <a:lnTo>
                    <a:pt x="427" y="272"/>
                  </a:lnTo>
                  <a:lnTo>
                    <a:pt x="389" y="263"/>
                  </a:lnTo>
                  <a:lnTo>
                    <a:pt x="403" y="307"/>
                  </a:lnTo>
                  <a:lnTo>
                    <a:pt x="481" y="352"/>
                  </a:lnTo>
                  <a:lnTo>
                    <a:pt x="477" y="380"/>
                  </a:lnTo>
                  <a:lnTo>
                    <a:pt x="399" y="392"/>
                  </a:lnTo>
                  <a:lnTo>
                    <a:pt x="371" y="416"/>
                  </a:lnTo>
                  <a:lnTo>
                    <a:pt x="331" y="425"/>
                  </a:lnTo>
                  <a:lnTo>
                    <a:pt x="316" y="453"/>
                  </a:lnTo>
                  <a:lnTo>
                    <a:pt x="331" y="491"/>
                  </a:lnTo>
                  <a:lnTo>
                    <a:pt x="348" y="504"/>
                  </a:lnTo>
                  <a:lnTo>
                    <a:pt x="338" y="527"/>
                  </a:lnTo>
                  <a:lnTo>
                    <a:pt x="390" y="545"/>
                  </a:lnTo>
                  <a:lnTo>
                    <a:pt x="385" y="575"/>
                  </a:lnTo>
                  <a:lnTo>
                    <a:pt x="513" y="636"/>
                  </a:lnTo>
                  <a:lnTo>
                    <a:pt x="515" y="663"/>
                  </a:lnTo>
                  <a:lnTo>
                    <a:pt x="493" y="671"/>
                  </a:lnTo>
                  <a:lnTo>
                    <a:pt x="433" y="671"/>
                  </a:lnTo>
                  <a:lnTo>
                    <a:pt x="390" y="691"/>
                  </a:lnTo>
                  <a:lnTo>
                    <a:pt x="357" y="746"/>
                  </a:lnTo>
                  <a:lnTo>
                    <a:pt x="325" y="777"/>
                  </a:lnTo>
                  <a:lnTo>
                    <a:pt x="235" y="811"/>
                  </a:lnTo>
                  <a:lnTo>
                    <a:pt x="375" y="848"/>
                  </a:lnTo>
                  <a:lnTo>
                    <a:pt x="466" y="808"/>
                  </a:lnTo>
                  <a:lnTo>
                    <a:pt x="449" y="855"/>
                  </a:lnTo>
                  <a:lnTo>
                    <a:pt x="481" y="874"/>
                  </a:lnTo>
                  <a:lnTo>
                    <a:pt x="481" y="883"/>
                  </a:lnTo>
                  <a:lnTo>
                    <a:pt x="266" y="839"/>
                  </a:lnTo>
                  <a:lnTo>
                    <a:pt x="193" y="889"/>
                  </a:lnTo>
                  <a:lnTo>
                    <a:pt x="178" y="916"/>
                  </a:lnTo>
                  <a:lnTo>
                    <a:pt x="160" y="924"/>
                  </a:lnTo>
                  <a:lnTo>
                    <a:pt x="138" y="907"/>
                  </a:lnTo>
                  <a:lnTo>
                    <a:pt x="109" y="906"/>
                  </a:lnTo>
                  <a:lnTo>
                    <a:pt x="85" y="890"/>
                  </a:lnTo>
                  <a:lnTo>
                    <a:pt x="50" y="902"/>
                  </a:lnTo>
                  <a:lnTo>
                    <a:pt x="25" y="933"/>
                  </a:lnTo>
                  <a:lnTo>
                    <a:pt x="131" y="964"/>
                  </a:lnTo>
                  <a:lnTo>
                    <a:pt x="130" y="987"/>
                  </a:lnTo>
                  <a:lnTo>
                    <a:pt x="68" y="989"/>
                  </a:lnTo>
                  <a:lnTo>
                    <a:pt x="17" y="1015"/>
                  </a:lnTo>
                  <a:lnTo>
                    <a:pt x="0" y="1037"/>
                  </a:lnTo>
                  <a:lnTo>
                    <a:pt x="28" y="1047"/>
                  </a:lnTo>
                  <a:lnTo>
                    <a:pt x="31" y="1076"/>
                  </a:lnTo>
                  <a:lnTo>
                    <a:pt x="39" y="1079"/>
                  </a:lnTo>
                  <a:lnTo>
                    <a:pt x="143" y="1088"/>
                  </a:lnTo>
                  <a:lnTo>
                    <a:pt x="135" y="1114"/>
                  </a:lnTo>
                  <a:lnTo>
                    <a:pt x="91" y="1115"/>
                  </a:lnTo>
                  <a:lnTo>
                    <a:pt x="14" y="1139"/>
                  </a:lnTo>
                  <a:lnTo>
                    <a:pt x="32" y="1147"/>
                  </a:lnTo>
                  <a:lnTo>
                    <a:pt x="152" y="1154"/>
                  </a:lnTo>
                  <a:lnTo>
                    <a:pt x="155" y="1171"/>
                  </a:lnTo>
                  <a:lnTo>
                    <a:pt x="135" y="1191"/>
                  </a:lnTo>
                  <a:lnTo>
                    <a:pt x="108" y="1182"/>
                  </a:lnTo>
                  <a:lnTo>
                    <a:pt x="77" y="1187"/>
                  </a:lnTo>
                  <a:lnTo>
                    <a:pt x="80" y="1201"/>
                  </a:lnTo>
                  <a:lnTo>
                    <a:pt x="72" y="1218"/>
                  </a:lnTo>
                  <a:lnTo>
                    <a:pt x="117" y="1217"/>
                  </a:lnTo>
                  <a:lnTo>
                    <a:pt x="152" y="1226"/>
                  </a:lnTo>
                  <a:lnTo>
                    <a:pt x="163" y="1242"/>
                  </a:lnTo>
                  <a:lnTo>
                    <a:pt x="181" y="1254"/>
                  </a:lnTo>
                  <a:lnTo>
                    <a:pt x="221" y="1246"/>
                  </a:lnTo>
                  <a:lnTo>
                    <a:pt x="244" y="1259"/>
                  </a:lnTo>
                  <a:lnTo>
                    <a:pt x="379" y="1267"/>
                  </a:lnTo>
                  <a:lnTo>
                    <a:pt x="419" y="1253"/>
                  </a:lnTo>
                  <a:lnTo>
                    <a:pt x="445" y="1196"/>
                  </a:lnTo>
                  <a:lnTo>
                    <a:pt x="458" y="1208"/>
                  </a:lnTo>
                  <a:lnTo>
                    <a:pt x="456" y="1233"/>
                  </a:lnTo>
                  <a:lnTo>
                    <a:pt x="470" y="1248"/>
                  </a:lnTo>
                  <a:lnTo>
                    <a:pt x="534" y="1244"/>
                  </a:lnTo>
                  <a:lnTo>
                    <a:pt x="559" y="1222"/>
                  </a:lnTo>
                  <a:lnTo>
                    <a:pt x="595" y="1241"/>
                  </a:lnTo>
                  <a:lnTo>
                    <a:pt x="617" y="1230"/>
                  </a:lnTo>
                  <a:lnTo>
                    <a:pt x="639" y="1203"/>
                  </a:lnTo>
                  <a:lnTo>
                    <a:pt x="654" y="1193"/>
                  </a:lnTo>
                  <a:lnTo>
                    <a:pt x="870" y="1232"/>
                  </a:lnTo>
                  <a:lnTo>
                    <a:pt x="895" y="1256"/>
                  </a:lnTo>
                  <a:lnTo>
                    <a:pt x="924" y="1267"/>
                  </a:lnTo>
                  <a:lnTo>
                    <a:pt x="947" y="1245"/>
                  </a:lnTo>
                  <a:lnTo>
                    <a:pt x="947" y="1198"/>
                  </a:lnTo>
                  <a:lnTo>
                    <a:pt x="1103" y="1009"/>
                  </a:lnTo>
                  <a:lnTo>
                    <a:pt x="1137" y="841"/>
                  </a:lnTo>
                  <a:lnTo>
                    <a:pt x="1155" y="840"/>
                  </a:lnTo>
                  <a:lnTo>
                    <a:pt x="1187" y="779"/>
                  </a:lnTo>
                  <a:lnTo>
                    <a:pt x="1184" y="627"/>
                  </a:lnTo>
                  <a:lnTo>
                    <a:pt x="1199" y="596"/>
                  </a:lnTo>
                  <a:lnTo>
                    <a:pt x="1227" y="593"/>
                  </a:lnTo>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29" name="Slovenia"/>
            <p:cNvSpPr>
              <a:spLocks/>
            </p:cNvSpPr>
            <p:nvPr/>
          </p:nvSpPr>
          <p:spPr bwMode="auto">
            <a:xfrm>
              <a:off x="6679041" y="4064479"/>
              <a:ext cx="352656" cy="243314"/>
            </a:xfrm>
            <a:custGeom>
              <a:avLst/>
              <a:gdLst>
                <a:gd name="T0" fmla="*/ 0 w 873"/>
                <a:gd name="T1" fmla="*/ 0 h 599"/>
                <a:gd name="T2" fmla="*/ 0 w 873"/>
                <a:gd name="T3" fmla="*/ 0 h 599"/>
                <a:gd name="T4" fmla="*/ 0 w 873"/>
                <a:gd name="T5" fmla="*/ 0 h 599"/>
                <a:gd name="T6" fmla="*/ 0 w 873"/>
                <a:gd name="T7" fmla="*/ 0 h 599"/>
                <a:gd name="T8" fmla="*/ 0 w 873"/>
                <a:gd name="T9" fmla="*/ 0 h 599"/>
                <a:gd name="T10" fmla="*/ 0 w 873"/>
                <a:gd name="T11" fmla="*/ 0 h 599"/>
                <a:gd name="T12" fmla="*/ 0 w 873"/>
                <a:gd name="T13" fmla="*/ 0 h 599"/>
                <a:gd name="T14" fmla="*/ 0 w 873"/>
                <a:gd name="T15" fmla="*/ 0 h 599"/>
                <a:gd name="T16" fmla="*/ 0 w 873"/>
                <a:gd name="T17" fmla="*/ 0 h 599"/>
                <a:gd name="T18" fmla="*/ 0 w 873"/>
                <a:gd name="T19" fmla="*/ 0 h 599"/>
                <a:gd name="T20" fmla="*/ 0 w 873"/>
                <a:gd name="T21" fmla="*/ 0 h 599"/>
                <a:gd name="T22" fmla="*/ 0 w 873"/>
                <a:gd name="T23" fmla="*/ 0 h 599"/>
                <a:gd name="T24" fmla="*/ 0 w 873"/>
                <a:gd name="T25" fmla="*/ 0 h 599"/>
                <a:gd name="T26" fmla="*/ 0 w 873"/>
                <a:gd name="T27" fmla="*/ 0 h 599"/>
                <a:gd name="T28" fmla="*/ 0 w 873"/>
                <a:gd name="T29" fmla="*/ 0 h 599"/>
                <a:gd name="T30" fmla="*/ 0 w 873"/>
                <a:gd name="T31" fmla="*/ 0 h 599"/>
                <a:gd name="T32" fmla="*/ 0 w 873"/>
                <a:gd name="T33" fmla="*/ 0 h 599"/>
                <a:gd name="T34" fmla="*/ 0 w 873"/>
                <a:gd name="T35" fmla="*/ 0 h 599"/>
                <a:gd name="T36" fmla="*/ 0 w 873"/>
                <a:gd name="T37" fmla="*/ 0 h 599"/>
                <a:gd name="T38" fmla="*/ 0 w 873"/>
                <a:gd name="T39" fmla="*/ 0 h 599"/>
                <a:gd name="T40" fmla="*/ 0 w 873"/>
                <a:gd name="T41" fmla="*/ 0 h 599"/>
                <a:gd name="T42" fmla="*/ 0 w 873"/>
                <a:gd name="T43" fmla="*/ 0 h 599"/>
                <a:gd name="T44" fmla="*/ 0 w 873"/>
                <a:gd name="T45" fmla="*/ 0 h 599"/>
                <a:gd name="T46" fmla="*/ 0 w 873"/>
                <a:gd name="T47" fmla="*/ 0 h 599"/>
                <a:gd name="T48" fmla="*/ 0 w 873"/>
                <a:gd name="T49" fmla="*/ 0 h 599"/>
                <a:gd name="T50" fmla="*/ 0 w 873"/>
                <a:gd name="T51" fmla="*/ 0 h 599"/>
                <a:gd name="T52" fmla="*/ 0 w 873"/>
                <a:gd name="T53" fmla="*/ 0 h 599"/>
                <a:gd name="T54" fmla="*/ 0 w 873"/>
                <a:gd name="T55" fmla="*/ 0 h 599"/>
                <a:gd name="T56" fmla="*/ 0 w 873"/>
                <a:gd name="T57" fmla="*/ 0 h 599"/>
                <a:gd name="T58" fmla="*/ 0 w 873"/>
                <a:gd name="T59" fmla="*/ 0 h 599"/>
                <a:gd name="T60" fmla="*/ 0 w 873"/>
                <a:gd name="T61" fmla="*/ 0 h 599"/>
                <a:gd name="T62" fmla="*/ 0 w 873"/>
                <a:gd name="T63" fmla="*/ 0 h 599"/>
                <a:gd name="T64" fmla="*/ 0 w 873"/>
                <a:gd name="T65" fmla="*/ 0 h 599"/>
                <a:gd name="T66" fmla="*/ 0 w 873"/>
                <a:gd name="T67" fmla="*/ 0 h 599"/>
                <a:gd name="T68" fmla="*/ 0 w 873"/>
                <a:gd name="T69" fmla="*/ 0 h 59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73"/>
                <a:gd name="T106" fmla="*/ 0 h 599"/>
                <a:gd name="T107" fmla="*/ 873 w 873"/>
                <a:gd name="T108" fmla="*/ 599 h 59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73" h="599">
                  <a:moveTo>
                    <a:pt x="736" y="0"/>
                  </a:moveTo>
                  <a:lnTo>
                    <a:pt x="695" y="18"/>
                  </a:lnTo>
                  <a:lnTo>
                    <a:pt x="683" y="56"/>
                  </a:lnTo>
                  <a:lnTo>
                    <a:pt x="576" y="41"/>
                  </a:lnTo>
                  <a:lnTo>
                    <a:pt x="550" y="81"/>
                  </a:lnTo>
                  <a:lnTo>
                    <a:pt x="456" y="54"/>
                  </a:lnTo>
                  <a:lnTo>
                    <a:pt x="389" y="67"/>
                  </a:lnTo>
                  <a:lnTo>
                    <a:pt x="343" y="117"/>
                  </a:lnTo>
                  <a:lnTo>
                    <a:pt x="299" y="140"/>
                  </a:lnTo>
                  <a:lnTo>
                    <a:pt x="76" y="107"/>
                  </a:lnTo>
                  <a:lnTo>
                    <a:pt x="21" y="151"/>
                  </a:lnTo>
                  <a:lnTo>
                    <a:pt x="3" y="186"/>
                  </a:lnTo>
                  <a:lnTo>
                    <a:pt x="0" y="209"/>
                  </a:lnTo>
                  <a:lnTo>
                    <a:pt x="12" y="220"/>
                  </a:lnTo>
                  <a:lnTo>
                    <a:pt x="40" y="215"/>
                  </a:lnTo>
                  <a:lnTo>
                    <a:pt x="15" y="289"/>
                  </a:lnTo>
                  <a:lnTo>
                    <a:pt x="36" y="322"/>
                  </a:lnTo>
                  <a:lnTo>
                    <a:pt x="34" y="361"/>
                  </a:lnTo>
                  <a:lnTo>
                    <a:pt x="44" y="374"/>
                  </a:lnTo>
                  <a:lnTo>
                    <a:pt x="83" y="395"/>
                  </a:lnTo>
                  <a:lnTo>
                    <a:pt x="93" y="421"/>
                  </a:lnTo>
                  <a:lnTo>
                    <a:pt x="110" y="431"/>
                  </a:lnTo>
                  <a:lnTo>
                    <a:pt x="121" y="453"/>
                  </a:lnTo>
                  <a:lnTo>
                    <a:pt x="113" y="474"/>
                  </a:lnTo>
                  <a:lnTo>
                    <a:pt x="93" y="488"/>
                  </a:lnTo>
                  <a:lnTo>
                    <a:pt x="66" y="492"/>
                  </a:lnTo>
                  <a:lnTo>
                    <a:pt x="42" y="483"/>
                  </a:lnTo>
                  <a:lnTo>
                    <a:pt x="7" y="501"/>
                  </a:lnTo>
                  <a:lnTo>
                    <a:pt x="41" y="535"/>
                  </a:lnTo>
                  <a:lnTo>
                    <a:pt x="115" y="540"/>
                  </a:lnTo>
                  <a:lnTo>
                    <a:pt x="129" y="513"/>
                  </a:lnTo>
                  <a:lnTo>
                    <a:pt x="153" y="540"/>
                  </a:lnTo>
                  <a:lnTo>
                    <a:pt x="239" y="544"/>
                  </a:lnTo>
                  <a:lnTo>
                    <a:pt x="283" y="469"/>
                  </a:lnTo>
                  <a:lnTo>
                    <a:pt x="297" y="471"/>
                  </a:lnTo>
                  <a:lnTo>
                    <a:pt x="349" y="571"/>
                  </a:lnTo>
                  <a:lnTo>
                    <a:pt x="370" y="570"/>
                  </a:lnTo>
                  <a:lnTo>
                    <a:pt x="375" y="549"/>
                  </a:lnTo>
                  <a:lnTo>
                    <a:pt x="389" y="550"/>
                  </a:lnTo>
                  <a:lnTo>
                    <a:pt x="395" y="565"/>
                  </a:lnTo>
                  <a:lnTo>
                    <a:pt x="418" y="568"/>
                  </a:lnTo>
                  <a:lnTo>
                    <a:pt x="440" y="598"/>
                  </a:lnTo>
                  <a:lnTo>
                    <a:pt x="457" y="599"/>
                  </a:lnTo>
                  <a:lnTo>
                    <a:pt x="484" y="581"/>
                  </a:lnTo>
                  <a:lnTo>
                    <a:pt x="482" y="521"/>
                  </a:lnTo>
                  <a:lnTo>
                    <a:pt x="502" y="497"/>
                  </a:lnTo>
                  <a:lnTo>
                    <a:pt x="487" y="470"/>
                  </a:lnTo>
                  <a:lnTo>
                    <a:pt x="543" y="427"/>
                  </a:lnTo>
                  <a:lnTo>
                    <a:pt x="587" y="427"/>
                  </a:lnTo>
                  <a:lnTo>
                    <a:pt x="611" y="390"/>
                  </a:lnTo>
                  <a:lnTo>
                    <a:pt x="616" y="332"/>
                  </a:lnTo>
                  <a:lnTo>
                    <a:pt x="586" y="300"/>
                  </a:lnTo>
                  <a:lnTo>
                    <a:pt x="584" y="281"/>
                  </a:lnTo>
                  <a:lnTo>
                    <a:pt x="602" y="253"/>
                  </a:lnTo>
                  <a:lnTo>
                    <a:pt x="703" y="226"/>
                  </a:lnTo>
                  <a:lnTo>
                    <a:pt x="719" y="212"/>
                  </a:lnTo>
                  <a:lnTo>
                    <a:pt x="722" y="190"/>
                  </a:lnTo>
                  <a:lnTo>
                    <a:pt x="758" y="191"/>
                  </a:lnTo>
                  <a:lnTo>
                    <a:pt x="775" y="200"/>
                  </a:lnTo>
                  <a:lnTo>
                    <a:pt x="779" y="193"/>
                  </a:lnTo>
                  <a:lnTo>
                    <a:pt x="770" y="161"/>
                  </a:lnTo>
                  <a:lnTo>
                    <a:pt x="771" y="136"/>
                  </a:lnTo>
                  <a:lnTo>
                    <a:pt x="791" y="120"/>
                  </a:lnTo>
                  <a:lnTo>
                    <a:pt x="809" y="122"/>
                  </a:lnTo>
                  <a:lnTo>
                    <a:pt x="851" y="157"/>
                  </a:lnTo>
                  <a:lnTo>
                    <a:pt x="870" y="148"/>
                  </a:lnTo>
                  <a:lnTo>
                    <a:pt x="873" y="158"/>
                  </a:lnTo>
                  <a:lnTo>
                    <a:pt x="807" y="24"/>
                  </a:lnTo>
                  <a:lnTo>
                    <a:pt x="772" y="3"/>
                  </a:lnTo>
                  <a:lnTo>
                    <a:pt x="736" y="0"/>
                  </a:lnTo>
                  <a:close/>
                </a:path>
              </a:pathLst>
            </a:custGeom>
            <a:noFill/>
            <a:ln w="6350">
              <a:noFill/>
              <a:round/>
              <a:headEnd/>
              <a:tailEnd/>
            </a:ln>
          </p:spPr>
          <p:txBody>
            <a:bodyPr/>
            <a:lstStyle/>
            <a:p>
              <a:pPr defTabSz="402174"/>
              <a:endParaRPr lang="en-GB" sz="1600" dirty="0">
                <a:solidFill>
                  <a:srgbClr val="197AA0"/>
                </a:solidFill>
                <a:latin typeface="Calibri" pitchFamily="34" charset="0"/>
              </a:endParaRPr>
            </a:p>
          </p:txBody>
        </p:sp>
        <p:grpSp>
          <p:nvGrpSpPr>
            <p:cNvPr id="330" name="Germany"/>
            <p:cNvGrpSpPr/>
            <p:nvPr/>
          </p:nvGrpSpPr>
          <p:grpSpPr>
            <a:xfrm>
              <a:off x="5984207" y="2708917"/>
              <a:ext cx="913128" cy="1218664"/>
              <a:chOff x="6599106" y="2226514"/>
              <a:chExt cx="590546" cy="788145"/>
            </a:xfrm>
            <a:noFill/>
          </p:grpSpPr>
          <p:sp>
            <p:nvSpPr>
              <p:cNvPr id="590" name="Freeform 23"/>
              <p:cNvSpPr>
                <a:spLocks/>
              </p:cNvSpPr>
              <p:nvPr/>
            </p:nvSpPr>
            <p:spPr bwMode="auto">
              <a:xfrm>
                <a:off x="6599106" y="2226514"/>
                <a:ext cx="590546" cy="788145"/>
              </a:xfrm>
              <a:custGeom>
                <a:avLst/>
                <a:gdLst>
                  <a:gd name="T0" fmla="*/ 0 w 2248"/>
                  <a:gd name="T1" fmla="*/ 0 h 3007"/>
                  <a:gd name="T2" fmla="*/ 0 w 2248"/>
                  <a:gd name="T3" fmla="*/ 0 h 3007"/>
                  <a:gd name="T4" fmla="*/ 0 w 2248"/>
                  <a:gd name="T5" fmla="*/ 0 h 3007"/>
                  <a:gd name="T6" fmla="*/ 0 w 2248"/>
                  <a:gd name="T7" fmla="*/ 0 h 3007"/>
                  <a:gd name="T8" fmla="*/ 0 w 2248"/>
                  <a:gd name="T9" fmla="*/ 0 h 3007"/>
                  <a:gd name="T10" fmla="*/ 0 w 2248"/>
                  <a:gd name="T11" fmla="*/ 0 h 3007"/>
                  <a:gd name="T12" fmla="*/ 0 w 2248"/>
                  <a:gd name="T13" fmla="*/ 0 h 3007"/>
                  <a:gd name="T14" fmla="*/ 0 w 2248"/>
                  <a:gd name="T15" fmla="*/ 0 h 3007"/>
                  <a:gd name="T16" fmla="*/ 0 w 2248"/>
                  <a:gd name="T17" fmla="*/ 0 h 3007"/>
                  <a:gd name="T18" fmla="*/ 0 w 2248"/>
                  <a:gd name="T19" fmla="*/ 0 h 3007"/>
                  <a:gd name="T20" fmla="*/ 0 w 2248"/>
                  <a:gd name="T21" fmla="*/ 0 h 3007"/>
                  <a:gd name="T22" fmla="*/ 0 w 2248"/>
                  <a:gd name="T23" fmla="*/ 0 h 3007"/>
                  <a:gd name="T24" fmla="*/ 0 w 2248"/>
                  <a:gd name="T25" fmla="*/ 0 h 3007"/>
                  <a:gd name="T26" fmla="*/ 0 w 2248"/>
                  <a:gd name="T27" fmla="*/ 0 h 3007"/>
                  <a:gd name="T28" fmla="*/ 0 w 2248"/>
                  <a:gd name="T29" fmla="*/ 0 h 3007"/>
                  <a:gd name="T30" fmla="*/ 0 w 2248"/>
                  <a:gd name="T31" fmla="*/ 0 h 3007"/>
                  <a:gd name="T32" fmla="*/ 0 w 2248"/>
                  <a:gd name="T33" fmla="*/ 0 h 3007"/>
                  <a:gd name="T34" fmla="*/ 0 w 2248"/>
                  <a:gd name="T35" fmla="*/ 0 h 3007"/>
                  <a:gd name="T36" fmla="*/ 0 w 2248"/>
                  <a:gd name="T37" fmla="*/ 0 h 3007"/>
                  <a:gd name="T38" fmla="*/ 0 w 2248"/>
                  <a:gd name="T39" fmla="*/ 0 h 3007"/>
                  <a:gd name="T40" fmla="*/ 0 w 2248"/>
                  <a:gd name="T41" fmla="*/ 0 h 3007"/>
                  <a:gd name="T42" fmla="*/ 0 w 2248"/>
                  <a:gd name="T43" fmla="*/ 0 h 3007"/>
                  <a:gd name="T44" fmla="*/ 0 w 2248"/>
                  <a:gd name="T45" fmla="*/ 0 h 3007"/>
                  <a:gd name="T46" fmla="*/ 0 w 2248"/>
                  <a:gd name="T47" fmla="*/ 0 h 3007"/>
                  <a:gd name="T48" fmla="*/ 0 w 2248"/>
                  <a:gd name="T49" fmla="*/ 0 h 3007"/>
                  <a:gd name="T50" fmla="*/ 0 w 2248"/>
                  <a:gd name="T51" fmla="*/ 0 h 3007"/>
                  <a:gd name="T52" fmla="*/ 0 w 2248"/>
                  <a:gd name="T53" fmla="*/ 0 h 3007"/>
                  <a:gd name="T54" fmla="*/ 0 w 2248"/>
                  <a:gd name="T55" fmla="*/ 0 h 3007"/>
                  <a:gd name="T56" fmla="*/ 0 w 2248"/>
                  <a:gd name="T57" fmla="*/ 0 h 3007"/>
                  <a:gd name="T58" fmla="*/ 0 w 2248"/>
                  <a:gd name="T59" fmla="*/ 0 h 3007"/>
                  <a:gd name="T60" fmla="*/ 0 w 2248"/>
                  <a:gd name="T61" fmla="*/ 0 h 3007"/>
                  <a:gd name="T62" fmla="*/ 0 w 2248"/>
                  <a:gd name="T63" fmla="*/ 0 h 3007"/>
                  <a:gd name="T64" fmla="*/ 0 w 2248"/>
                  <a:gd name="T65" fmla="*/ 0 h 3007"/>
                  <a:gd name="T66" fmla="*/ 0 w 2248"/>
                  <a:gd name="T67" fmla="*/ 0 h 3007"/>
                  <a:gd name="T68" fmla="*/ 0 w 2248"/>
                  <a:gd name="T69" fmla="*/ 0 h 3007"/>
                  <a:gd name="T70" fmla="*/ 0 w 2248"/>
                  <a:gd name="T71" fmla="*/ 0 h 3007"/>
                  <a:gd name="T72" fmla="*/ 0 w 2248"/>
                  <a:gd name="T73" fmla="*/ 0 h 3007"/>
                  <a:gd name="T74" fmla="*/ 0 w 2248"/>
                  <a:gd name="T75" fmla="*/ 0 h 3007"/>
                  <a:gd name="T76" fmla="*/ 0 w 2248"/>
                  <a:gd name="T77" fmla="*/ 0 h 3007"/>
                  <a:gd name="T78" fmla="*/ 0 w 2248"/>
                  <a:gd name="T79" fmla="*/ 0 h 3007"/>
                  <a:gd name="T80" fmla="*/ 0 w 2248"/>
                  <a:gd name="T81" fmla="*/ 0 h 3007"/>
                  <a:gd name="T82" fmla="*/ 0 w 2248"/>
                  <a:gd name="T83" fmla="*/ 0 h 3007"/>
                  <a:gd name="T84" fmla="*/ 0 w 2248"/>
                  <a:gd name="T85" fmla="*/ 0 h 3007"/>
                  <a:gd name="T86" fmla="*/ 0 w 2248"/>
                  <a:gd name="T87" fmla="*/ 0 h 3007"/>
                  <a:gd name="T88" fmla="*/ 0 w 2248"/>
                  <a:gd name="T89" fmla="*/ 0 h 3007"/>
                  <a:gd name="T90" fmla="*/ 0 w 2248"/>
                  <a:gd name="T91" fmla="*/ 0 h 3007"/>
                  <a:gd name="T92" fmla="*/ 0 w 2248"/>
                  <a:gd name="T93" fmla="*/ 0 h 3007"/>
                  <a:gd name="T94" fmla="*/ 0 w 2248"/>
                  <a:gd name="T95" fmla="*/ 0 h 3007"/>
                  <a:gd name="T96" fmla="*/ 0 w 2248"/>
                  <a:gd name="T97" fmla="*/ 0 h 3007"/>
                  <a:gd name="T98" fmla="*/ 0 w 2248"/>
                  <a:gd name="T99" fmla="*/ 0 h 3007"/>
                  <a:gd name="T100" fmla="*/ 0 w 2248"/>
                  <a:gd name="T101" fmla="*/ 0 h 3007"/>
                  <a:gd name="T102" fmla="*/ 0 w 2248"/>
                  <a:gd name="T103" fmla="*/ 0 h 3007"/>
                  <a:gd name="T104" fmla="*/ 0 w 2248"/>
                  <a:gd name="T105" fmla="*/ 0 h 3007"/>
                  <a:gd name="T106" fmla="*/ 0 w 2248"/>
                  <a:gd name="T107" fmla="*/ 0 h 3007"/>
                  <a:gd name="T108" fmla="*/ 0 w 2248"/>
                  <a:gd name="T109" fmla="*/ 0 h 3007"/>
                  <a:gd name="T110" fmla="*/ 0 w 2248"/>
                  <a:gd name="T111" fmla="*/ 0 h 3007"/>
                  <a:gd name="T112" fmla="*/ 0 w 2248"/>
                  <a:gd name="T113" fmla="*/ 0 h 3007"/>
                  <a:gd name="T114" fmla="*/ 0 w 2248"/>
                  <a:gd name="T115" fmla="*/ 0 h 3007"/>
                  <a:gd name="T116" fmla="*/ 0 w 2248"/>
                  <a:gd name="T117" fmla="*/ 0 h 300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48"/>
                  <a:gd name="T178" fmla="*/ 0 h 3007"/>
                  <a:gd name="T179" fmla="*/ 2248 w 2248"/>
                  <a:gd name="T180" fmla="*/ 3007 h 300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48" h="3007">
                    <a:moveTo>
                      <a:pt x="1358" y="430"/>
                    </a:moveTo>
                    <a:lnTo>
                      <a:pt x="1352" y="409"/>
                    </a:lnTo>
                    <a:lnTo>
                      <a:pt x="1371" y="372"/>
                    </a:lnTo>
                    <a:lnTo>
                      <a:pt x="1405" y="353"/>
                    </a:lnTo>
                    <a:lnTo>
                      <a:pt x="1431" y="328"/>
                    </a:lnTo>
                    <a:lnTo>
                      <a:pt x="1435" y="291"/>
                    </a:lnTo>
                    <a:lnTo>
                      <a:pt x="1420" y="273"/>
                    </a:lnTo>
                    <a:lnTo>
                      <a:pt x="1348" y="290"/>
                    </a:lnTo>
                    <a:lnTo>
                      <a:pt x="1320" y="286"/>
                    </a:lnTo>
                    <a:lnTo>
                      <a:pt x="1307" y="256"/>
                    </a:lnTo>
                    <a:lnTo>
                      <a:pt x="1260" y="229"/>
                    </a:lnTo>
                    <a:lnTo>
                      <a:pt x="1239" y="252"/>
                    </a:lnTo>
                    <a:lnTo>
                      <a:pt x="1216" y="249"/>
                    </a:lnTo>
                    <a:lnTo>
                      <a:pt x="1217" y="218"/>
                    </a:lnTo>
                    <a:lnTo>
                      <a:pt x="1186" y="213"/>
                    </a:lnTo>
                    <a:lnTo>
                      <a:pt x="1172" y="196"/>
                    </a:lnTo>
                    <a:lnTo>
                      <a:pt x="1202" y="167"/>
                    </a:lnTo>
                    <a:lnTo>
                      <a:pt x="1209" y="131"/>
                    </a:lnTo>
                    <a:lnTo>
                      <a:pt x="1194" y="82"/>
                    </a:lnTo>
                    <a:lnTo>
                      <a:pt x="1132" y="51"/>
                    </a:lnTo>
                    <a:lnTo>
                      <a:pt x="1103" y="48"/>
                    </a:lnTo>
                    <a:lnTo>
                      <a:pt x="1107" y="30"/>
                    </a:lnTo>
                    <a:lnTo>
                      <a:pt x="1070" y="42"/>
                    </a:lnTo>
                    <a:lnTo>
                      <a:pt x="979" y="2"/>
                    </a:lnTo>
                    <a:lnTo>
                      <a:pt x="944" y="0"/>
                    </a:lnTo>
                    <a:lnTo>
                      <a:pt x="934" y="42"/>
                    </a:lnTo>
                    <a:lnTo>
                      <a:pt x="988" y="167"/>
                    </a:lnTo>
                    <a:lnTo>
                      <a:pt x="926" y="191"/>
                    </a:lnTo>
                    <a:lnTo>
                      <a:pt x="922" y="206"/>
                    </a:lnTo>
                    <a:lnTo>
                      <a:pt x="903" y="223"/>
                    </a:lnTo>
                    <a:lnTo>
                      <a:pt x="929" y="229"/>
                    </a:lnTo>
                    <a:lnTo>
                      <a:pt x="944" y="244"/>
                    </a:lnTo>
                    <a:lnTo>
                      <a:pt x="932" y="269"/>
                    </a:lnTo>
                    <a:lnTo>
                      <a:pt x="941" y="296"/>
                    </a:lnTo>
                    <a:lnTo>
                      <a:pt x="959" y="317"/>
                    </a:lnTo>
                    <a:lnTo>
                      <a:pt x="951" y="334"/>
                    </a:lnTo>
                    <a:lnTo>
                      <a:pt x="932" y="334"/>
                    </a:lnTo>
                    <a:lnTo>
                      <a:pt x="925" y="366"/>
                    </a:lnTo>
                    <a:lnTo>
                      <a:pt x="975" y="414"/>
                    </a:lnTo>
                    <a:lnTo>
                      <a:pt x="966" y="422"/>
                    </a:lnTo>
                    <a:lnTo>
                      <a:pt x="871" y="410"/>
                    </a:lnTo>
                    <a:lnTo>
                      <a:pt x="841" y="455"/>
                    </a:lnTo>
                    <a:lnTo>
                      <a:pt x="827" y="529"/>
                    </a:lnTo>
                    <a:lnTo>
                      <a:pt x="837" y="620"/>
                    </a:lnTo>
                    <a:lnTo>
                      <a:pt x="806" y="528"/>
                    </a:lnTo>
                    <a:lnTo>
                      <a:pt x="773" y="513"/>
                    </a:lnTo>
                    <a:lnTo>
                      <a:pt x="764" y="556"/>
                    </a:lnTo>
                    <a:lnTo>
                      <a:pt x="735" y="554"/>
                    </a:lnTo>
                    <a:lnTo>
                      <a:pt x="736" y="500"/>
                    </a:lnTo>
                    <a:lnTo>
                      <a:pt x="720" y="456"/>
                    </a:lnTo>
                    <a:lnTo>
                      <a:pt x="656" y="432"/>
                    </a:lnTo>
                    <a:lnTo>
                      <a:pt x="537" y="436"/>
                    </a:lnTo>
                    <a:lnTo>
                      <a:pt x="518" y="467"/>
                    </a:lnTo>
                    <a:lnTo>
                      <a:pt x="497" y="482"/>
                    </a:lnTo>
                    <a:lnTo>
                      <a:pt x="479" y="510"/>
                    </a:lnTo>
                    <a:lnTo>
                      <a:pt x="480" y="520"/>
                    </a:lnTo>
                    <a:lnTo>
                      <a:pt x="523" y="541"/>
                    </a:lnTo>
                    <a:lnTo>
                      <a:pt x="558" y="585"/>
                    </a:lnTo>
                    <a:lnTo>
                      <a:pt x="561" y="626"/>
                    </a:lnTo>
                    <a:lnTo>
                      <a:pt x="554" y="621"/>
                    </a:lnTo>
                    <a:lnTo>
                      <a:pt x="540" y="578"/>
                    </a:lnTo>
                    <a:lnTo>
                      <a:pt x="474" y="583"/>
                    </a:lnTo>
                    <a:lnTo>
                      <a:pt x="394" y="772"/>
                    </a:lnTo>
                    <a:lnTo>
                      <a:pt x="321" y="804"/>
                    </a:lnTo>
                    <a:lnTo>
                      <a:pt x="324" y="848"/>
                    </a:lnTo>
                    <a:lnTo>
                      <a:pt x="395" y="896"/>
                    </a:lnTo>
                    <a:lnTo>
                      <a:pt x="382" y="945"/>
                    </a:lnTo>
                    <a:lnTo>
                      <a:pt x="342" y="983"/>
                    </a:lnTo>
                    <a:lnTo>
                      <a:pt x="295" y="1006"/>
                    </a:lnTo>
                    <a:lnTo>
                      <a:pt x="277" y="1054"/>
                    </a:lnTo>
                    <a:lnTo>
                      <a:pt x="248" y="1095"/>
                    </a:lnTo>
                    <a:lnTo>
                      <a:pt x="212" y="1097"/>
                    </a:lnTo>
                    <a:lnTo>
                      <a:pt x="161" y="1063"/>
                    </a:lnTo>
                    <a:lnTo>
                      <a:pt x="116" y="1054"/>
                    </a:lnTo>
                    <a:lnTo>
                      <a:pt x="76" y="1341"/>
                    </a:lnTo>
                    <a:lnTo>
                      <a:pt x="42" y="1370"/>
                    </a:lnTo>
                    <a:lnTo>
                      <a:pt x="33" y="1401"/>
                    </a:lnTo>
                    <a:lnTo>
                      <a:pt x="38" y="1484"/>
                    </a:lnTo>
                    <a:lnTo>
                      <a:pt x="34" y="1509"/>
                    </a:lnTo>
                    <a:lnTo>
                      <a:pt x="50" y="1542"/>
                    </a:lnTo>
                    <a:lnTo>
                      <a:pt x="49" y="1591"/>
                    </a:lnTo>
                    <a:lnTo>
                      <a:pt x="66" y="1637"/>
                    </a:lnTo>
                    <a:lnTo>
                      <a:pt x="60" y="1672"/>
                    </a:lnTo>
                    <a:lnTo>
                      <a:pt x="0" y="1738"/>
                    </a:lnTo>
                    <a:lnTo>
                      <a:pt x="32" y="1766"/>
                    </a:lnTo>
                    <a:lnTo>
                      <a:pt x="14" y="1797"/>
                    </a:lnTo>
                    <a:lnTo>
                      <a:pt x="11" y="1831"/>
                    </a:lnTo>
                    <a:lnTo>
                      <a:pt x="35" y="1904"/>
                    </a:lnTo>
                    <a:lnTo>
                      <a:pt x="30" y="1961"/>
                    </a:lnTo>
                    <a:lnTo>
                      <a:pt x="3" y="1985"/>
                    </a:lnTo>
                    <a:lnTo>
                      <a:pt x="79" y="2085"/>
                    </a:lnTo>
                    <a:lnTo>
                      <a:pt x="98" y="2138"/>
                    </a:lnTo>
                    <a:lnTo>
                      <a:pt x="423" y="2289"/>
                    </a:lnTo>
                    <a:lnTo>
                      <a:pt x="404" y="2342"/>
                    </a:lnTo>
                    <a:lnTo>
                      <a:pt x="304" y="2436"/>
                    </a:lnTo>
                    <a:lnTo>
                      <a:pt x="226" y="2603"/>
                    </a:lnTo>
                    <a:lnTo>
                      <a:pt x="200" y="2782"/>
                    </a:lnTo>
                    <a:lnTo>
                      <a:pt x="205" y="2797"/>
                    </a:lnTo>
                    <a:lnTo>
                      <a:pt x="237" y="2833"/>
                    </a:lnTo>
                    <a:lnTo>
                      <a:pt x="533" y="2831"/>
                    </a:lnTo>
                    <a:lnTo>
                      <a:pt x="705" y="2925"/>
                    </a:lnTo>
                    <a:lnTo>
                      <a:pt x="757" y="2912"/>
                    </a:lnTo>
                    <a:lnTo>
                      <a:pt x="803" y="2916"/>
                    </a:lnTo>
                    <a:lnTo>
                      <a:pt x="844" y="2933"/>
                    </a:lnTo>
                    <a:lnTo>
                      <a:pt x="864" y="2977"/>
                    </a:lnTo>
                    <a:lnTo>
                      <a:pt x="908" y="3007"/>
                    </a:lnTo>
                    <a:lnTo>
                      <a:pt x="936" y="2994"/>
                    </a:lnTo>
                    <a:lnTo>
                      <a:pt x="955" y="2964"/>
                    </a:lnTo>
                    <a:lnTo>
                      <a:pt x="991" y="2936"/>
                    </a:lnTo>
                    <a:lnTo>
                      <a:pt x="1046" y="2949"/>
                    </a:lnTo>
                    <a:lnTo>
                      <a:pt x="1105" y="2994"/>
                    </a:lnTo>
                    <a:lnTo>
                      <a:pt x="1170" y="3003"/>
                    </a:lnTo>
                    <a:lnTo>
                      <a:pt x="1271" y="2952"/>
                    </a:lnTo>
                    <a:lnTo>
                      <a:pt x="1433" y="2949"/>
                    </a:lnTo>
                    <a:lnTo>
                      <a:pt x="1456" y="2927"/>
                    </a:lnTo>
                    <a:lnTo>
                      <a:pt x="1509" y="2950"/>
                    </a:lnTo>
                    <a:lnTo>
                      <a:pt x="1580" y="2957"/>
                    </a:lnTo>
                    <a:lnTo>
                      <a:pt x="1596" y="2997"/>
                    </a:lnTo>
                    <a:lnTo>
                      <a:pt x="1637" y="2983"/>
                    </a:lnTo>
                    <a:lnTo>
                      <a:pt x="1637" y="2946"/>
                    </a:lnTo>
                    <a:lnTo>
                      <a:pt x="1611" y="2866"/>
                    </a:lnTo>
                    <a:lnTo>
                      <a:pt x="1614" y="2787"/>
                    </a:lnTo>
                    <a:lnTo>
                      <a:pt x="1642" y="2735"/>
                    </a:lnTo>
                    <a:lnTo>
                      <a:pt x="1753" y="2701"/>
                    </a:lnTo>
                    <a:lnTo>
                      <a:pt x="1796" y="2618"/>
                    </a:lnTo>
                    <a:lnTo>
                      <a:pt x="1880" y="2591"/>
                    </a:lnTo>
                    <a:lnTo>
                      <a:pt x="1890" y="2554"/>
                    </a:lnTo>
                    <a:lnTo>
                      <a:pt x="1556" y="2172"/>
                    </a:lnTo>
                    <a:lnTo>
                      <a:pt x="1559" y="2030"/>
                    </a:lnTo>
                    <a:lnTo>
                      <a:pt x="1506" y="1999"/>
                    </a:lnTo>
                    <a:lnTo>
                      <a:pt x="1472" y="1948"/>
                    </a:lnTo>
                    <a:lnTo>
                      <a:pt x="1477" y="1907"/>
                    </a:lnTo>
                    <a:lnTo>
                      <a:pt x="1485" y="1888"/>
                    </a:lnTo>
                    <a:lnTo>
                      <a:pt x="1549" y="1962"/>
                    </a:lnTo>
                    <a:lnTo>
                      <a:pt x="1560" y="1960"/>
                    </a:lnTo>
                    <a:lnTo>
                      <a:pt x="1589" y="1902"/>
                    </a:lnTo>
                    <a:lnTo>
                      <a:pt x="1828" y="1827"/>
                    </a:lnTo>
                    <a:lnTo>
                      <a:pt x="1863" y="1778"/>
                    </a:lnTo>
                    <a:lnTo>
                      <a:pt x="2041" y="1729"/>
                    </a:lnTo>
                    <a:lnTo>
                      <a:pt x="2066" y="1628"/>
                    </a:lnTo>
                    <a:lnTo>
                      <a:pt x="2109" y="1643"/>
                    </a:lnTo>
                    <a:lnTo>
                      <a:pt x="2164" y="1744"/>
                    </a:lnTo>
                    <a:lnTo>
                      <a:pt x="2194" y="1746"/>
                    </a:lnTo>
                    <a:lnTo>
                      <a:pt x="2248" y="1539"/>
                    </a:lnTo>
                    <a:lnTo>
                      <a:pt x="2244" y="1519"/>
                    </a:lnTo>
                    <a:lnTo>
                      <a:pt x="2179" y="1430"/>
                    </a:lnTo>
                    <a:lnTo>
                      <a:pt x="2164" y="1016"/>
                    </a:lnTo>
                    <a:lnTo>
                      <a:pt x="2105" y="964"/>
                    </a:lnTo>
                    <a:lnTo>
                      <a:pt x="2106" y="933"/>
                    </a:lnTo>
                    <a:lnTo>
                      <a:pt x="2158" y="830"/>
                    </a:lnTo>
                    <a:lnTo>
                      <a:pt x="2174" y="704"/>
                    </a:lnTo>
                    <a:lnTo>
                      <a:pt x="2139" y="591"/>
                    </a:lnTo>
                    <a:lnTo>
                      <a:pt x="2046" y="551"/>
                    </a:lnTo>
                    <a:lnTo>
                      <a:pt x="2040" y="495"/>
                    </a:lnTo>
                    <a:lnTo>
                      <a:pt x="2010" y="433"/>
                    </a:lnTo>
                    <a:lnTo>
                      <a:pt x="1970" y="434"/>
                    </a:lnTo>
                    <a:lnTo>
                      <a:pt x="1946" y="410"/>
                    </a:lnTo>
                    <a:lnTo>
                      <a:pt x="1934" y="407"/>
                    </a:lnTo>
                    <a:lnTo>
                      <a:pt x="1927" y="374"/>
                    </a:lnTo>
                    <a:lnTo>
                      <a:pt x="1895" y="351"/>
                    </a:lnTo>
                    <a:lnTo>
                      <a:pt x="1875" y="321"/>
                    </a:lnTo>
                    <a:lnTo>
                      <a:pt x="1774" y="336"/>
                    </a:lnTo>
                    <a:lnTo>
                      <a:pt x="1744" y="353"/>
                    </a:lnTo>
                    <a:lnTo>
                      <a:pt x="1756" y="331"/>
                    </a:lnTo>
                    <a:lnTo>
                      <a:pt x="1825" y="290"/>
                    </a:lnTo>
                    <a:lnTo>
                      <a:pt x="1797" y="281"/>
                    </a:lnTo>
                    <a:lnTo>
                      <a:pt x="1761" y="286"/>
                    </a:lnTo>
                    <a:lnTo>
                      <a:pt x="1696" y="349"/>
                    </a:lnTo>
                    <a:lnTo>
                      <a:pt x="1673" y="387"/>
                    </a:lnTo>
                    <a:lnTo>
                      <a:pt x="1654" y="397"/>
                    </a:lnTo>
                    <a:lnTo>
                      <a:pt x="1657" y="371"/>
                    </a:lnTo>
                    <a:lnTo>
                      <a:pt x="1574" y="381"/>
                    </a:lnTo>
                    <a:lnTo>
                      <a:pt x="1504" y="427"/>
                    </a:lnTo>
                    <a:lnTo>
                      <a:pt x="1514" y="452"/>
                    </a:lnTo>
                    <a:lnTo>
                      <a:pt x="1476" y="447"/>
                    </a:lnTo>
                    <a:lnTo>
                      <a:pt x="1427" y="425"/>
                    </a:lnTo>
                    <a:lnTo>
                      <a:pt x="1363" y="455"/>
                    </a:lnTo>
                    <a:lnTo>
                      <a:pt x="1358" y="430"/>
                    </a:lnTo>
                  </a:path>
                </a:pathLst>
              </a:custGeom>
              <a:grpFill/>
              <a:ln w="6350">
                <a:noFill/>
                <a:round/>
                <a:headEnd/>
                <a:tailEnd/>
              </a:ln>
            </p:spPr>
            <p:txBody>
              <a:bodyPr/>
              <a:lstStyle/>
              <a:p>
                <a:pPr defTabSz="402174"/>
                <a:endParaRPr lang="en-GB" sz="1600" dirty="0">
                  <a:solidFill>
                    <a:srgbClr val="197AA0"/>
                  </a:solidFill>
                  <a:latin typeface="Calibri" pitchFamily="34" charset="0"/>
                </a:endParaRPr>
              </a:p>
            </p:txBody>
          </p:sp>
          <p:sp>
            <p:nvSpPr>
              <p:cNvPr id="591" name="Freeform 25"/>
              <p:cNvSpPr>
                <a:spLocks/>
              </p:cNvSpPr>
              <p:nvPr/>
            </p:nvSpPr>
            <p:spPr bwMode="auto">
              <a:xfrm>
                <a:off x="7101409" y="2283488"/>
                <a:ext cx="33939" cy="40696"/>
              </a:xfrm>
              <a:custGeom>
                <a:avLst/>
                <a:gdLst>
                  <a:gd name="T0" fmla="*/ 0 w 125"/>
                  <a:gd name="T1" fmla="*/ 0 h 155"/>
                  <a:gd name="T2" fmla="*/ 0 w 125"/>
                  <a:gd name="T3" fmla="*/ 0 h 155"/>
                  <a:gd name="T4" fmla="*/ 0 w 125"/>
                  <a:gd name="T5" fmla="*/ 0 h 155"/>
                  <a:gd name="T6" fmla="*/ 0 w 125"/>
                  <a:gd name="T7" fmla="*/ 0 h 155"/>
                  <a:gd name="T8" fmla="*/ 0 w 125"/>
                  <a:gd name="T9" fmla="*/ 0 h 155"/>
                  <a:gd name="T10" fmla="*/ 0 w 125"/>
                  <a:gd name="T11" fmla="*/ 0 h 155"/>
                  <a:gd name="T12" fmla="*/ 0 w 125"/>
                  <a:gd name="T13" fmla="*/ 0 h 155"/>
                  <a:gd name="T14" fmla="*/ 0 w 125"/>
                  <a:gd name="T15" fmla="*/ 0 h 155"/>
                  <a:gd name="T16" fmla="*/ 0 w 125"/>
                  <a:gd name="T17" fmla="*/ 0 h 155"/>
                  <a:gd name="T18" fmla="*/ 0 w 125"/>
                  <a:gd name="T19" fmla="*/ 0 h 155"/>
                  <a:gd name="T20" fmla="*/ 0 w 125"/>
                  <a:gd name="T21" fmla="*/ 0 h 155"/>
                  <a:gd name="T22" fmla="*/ 0 w 125"/>
                  <a:gd name="T23" fmla="*/ 0 h 155"/>
                  <a:gd name="T24" fmla="*/ 0 w 125"/>
                  <a:gd name="T25" fmla="*/ 0 h 155"/>
                  <a:gd name="T26" fmla="*/ 0 w 125"/>
                  <a:gd name="T27" fmla="*/ 0 h 155"/>
                  <a:gd name="T28" fmla="*/ 0 w 125"/>
                  <a:gd name="T29" fmla="*/ 0 h 155"/>
                  <a:gd name="T30" fmla="*/ 0 w 125"/>
                  <a:gd name="T31" fmla="*/ 0 h 155"/>
                  <a:gd name="T32" fmla="*/ 0 w 125"/>
                  <a:gd name="T33" fmla="*/ 0 h 155"/>
                  <a:gd name="T34" fmla="*/ 0 w 125"/>
                  <a:gd name="T35" fmla="*/ 0 h 155"/>
                  <a:gd name="T36" fmla="*/ 0 w 125"/>
                  <a:gd name="T37" fmla="*/ 0 h 155"/>
                  <a:gd name="T38" fmla="*/ 0 w 125"/>
                  <a:gd name="T39" fmla="*/ 0 h 155"/>
                  <a:gd name="T40" fmla="*/ 0 w 125"/>
                  <a:gd name="T41" fmla="*/ 0 h 155"/>
                  <a:gd name="T42" fmla="*/ 0 w 125"/>
                  <a:gd name="T43" fmla="*/ 0 h 155"/>
                  <a:gd name="T44" fmla="*/ 0 w 125"/>
                  <a:gd name="T45" fmla="*/ 0 h 15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5"/>
                  <a:gd name="T70" fmla="*/ 0 h 155"/>
                  <a:gd name="T71" fmla="*/ 125 w 125"/>
                  <a:gd name="T72" fmla="*/ 155 h 15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5" h="155">
                    <a:moveTo>
                      <a:pt x="110" y="88"/>
                    </a:moveTo>
                    <a:lnTo>
                      <a:pt x="110" y="114"/>
                    </a:lnTo>
                    <a:lnTo>
                      <a:pt x="122" y="138"/>
                    </a:lnTo>
                    <a:lnTo>
                      <a:pt x="117" y="155"/>
                    </a:lnTo>
                    <a:lnTo>
                      <a:pt x="97" y="139"/>
                    </a:lnTo>
                    <a:lnTo>
                      <a:pt x="72" y="143"/>
                    </a:lnTo>
                    <a:lnTo>
                      <a:pt x="58" y="155"/>
                    </a:lnTo>
                    <a:lnTo>
                      <a:pt x="23" y="145"/>
                    </a:lnTo>
                    <a:lnTo>
                      <a:pt x="0" y="119"/>
                    </a:lnTo>
                    <a:lnTo>
                      <a:pt x="13" y="103"/>
                    </a:lnTo>
                    <a:lnTo>
                      <a:pt x="16" y="82"/>
                    </a:lnTo>
                    <a:lnTo>
                      <a:pt x="9" y="48"/>
                    </a:lnTo>
                    <a:lnTo>
                      <a:pt x="28" y="45"/>
                    </a:lnTo>
                    <a:lnTo>
                      <a:pt x="79" y="75"/>
                    </a:lnTo>
                    <a:lnTo>
                      <a:pt x="73" y="54"/>
                    </a:lnTo>
                    <a:lnTo>
                      <a:pt x="50" y="34"/>
                    </a:lnTo>
                    <a:lnTo>
                      <a:pt x="36" y="14"/>
                    </a:lnTo>
                    <a:lnTo>
                      <a:pt x="47" y="0"/>
                    </a:lnTo>
                    <a:lnTo>
                      <a:pt x="69" y="7"/>
                    </a:lnTo>
                    <a:lnTo>
                      <a:pt x="73" y="26"/>
                    </a:lnTo>
                    <a:lnTo>
                      <a:pt x="105" y="32"/>
                    </a:lnTo>
                    <a:lnTo>
                      <a:pt x="125" y="44"/>
                    </a:lnTo>
                    <a:lnTo>
                      <a:pt x="110" y="88"/>
                    </a:lnTo>
                  </a:path>
                </a:pathLst>
              </a:custGeom>
              <a:grpFill/>
              <a:ln w="6350">
                <a:noFill/>
                <a:round/>
                <a:headEnd/>
                <a:tailEnd/>
              </a:ln>
            </p:spPr>
            <p:txBody>
              <a:bodyPr/>
              <a:lstStyle/>
              <a:p>
                <a:pPr defTabSz="402174"/>
                <a:endParaRPr lang="en-GB" sz="1600" dirty="0">
                  <a:solidFill>
                    <a:srgbClr val="197AA0"/>
                  </a:solidFill>
                  <a:latin typeface="Calibri" pitchFamily="34" charset="0"/>
                </a:endParaRPr>
              </a:p>
            </p:txBody>
          </p:sp>
        </p:grpSp>
        <p:grpSp>
          <p:nvGrpSpPr>
            <p:cNvPr id="331" name="Denmark"/>
            <p:cNvGrpSpPr/>
            <p:nvPr/>
          </p:nvGrpSpPr>
          <p:grpSpPr>
            <a:xfrm>
              <a:off x="6330066" y="2284682"/>
              <a:ext cx="419828" cy="515991"/>
              <a:chOff x="6824464" y="1951138"/>
              <a:chExt cx="271515" cy="333706"/>
            </a:xfrm>
            <a:noFill/>
          </p:grpSpPr>
          <p:sp>
            <p:nvSpPr>
              <p:cNvPr id="584" name="Freeform 219"/>
              <p:cNvSpPr>
                <a:spLocks/>
              </p:cNvSpPr>
              <p:nvPr/>
            </p:nvSpPr>
            <p:spPr bwMode="auto">
              <a:xfrm>
                <a:off x="7032173" y="2245505"/>
                <a:ext cx="20364" cy="39339"/>
              </a:xfrm>
              <a:custGeom>
                <a:avLst/>
                <a:gdLst>
                  <a:gd name="T0" fmla="*/ 0 w 81"/>
                  <a:gd name="T1" fmla="*/ 0 h 155"/>
                  <a:gd name="T2" fmla="*/ 0 w 81"/>
                  <a:gd name="T3" fmla="*/ 0 h 155"/>
                  <a:gd name="T4" fmla="*/ 0 w 81"/>
                  <a:gd name="T5" fmla="*/ 0 h 155"/>
                  <a:gd name="T6" fmla="*/ 0 w 81"/>
                  <a:gd name="T7" fmla="*/ 0 h 155"/>
                  <a:gd name="T8" fmla="*/ 0 w 81"/>
                  <a:gd name="T9" fmla="*/ 0 h 155"/>
                  <a:gd name="T10" fmla="*/ 0 w 81"/>
                  <a:gd name="T11" fmla="*/ 0 h 155"/>
                  <a:gd name="T12" fmla="*/ 0 w 81"/>
                  <a:gd name="T13" fmla="*/ 0 h 155"/>
                  <a:gd name="T14" fmla="*/ 0 w 81"/>
                  <a:gd name="T15" fmla="*/ 0 h 155"/>
                  <a:gd name="T16" fmla="*/ 0 w 81"/>
                  <a:gd name="T17" fmla="*/ 0 h 155"/>
                  <a:gd name="T18" fmla="*/ 0 w 81"/>
                  <a:gd name="T19" fmla="*/ 0 h 155"/>
                  <a:gd name="T20" fmla="*/ 0 w 81"/>
                  <a:gd name="T21" fmla="*/ 0 h 155"/>
                  <a:gd name="T22" fmla="*/ 0 w 81"/>
                  <a:gd name="T23" fmla="*/ 0 h 155"/>
                  <a:gd name="T24" fmla="*/ 0 w 81"/>
                  <a:gd name="T25" fmla="*/ 0 h 155"/>
                  <a:gd name="T26" fmla="*/ 0 w 81"/>
                  <a:gd name="T27" fmla="*/ 0 h 155"/>
                  <a:gd name="T28" fmla="*/ 0 w 81"/>
                  <a:gd name="T29" fmla="*/ 0 h 155"/>
                  <a:gd name="T30" fmla="*/ 0 w 81"/>
                  <a:gd name="T31" fmla="*/ 0 h 1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155"/>
                  <a:gd name="T50" fmla="*/ 81 w 81"/>
                  <a:gd name="T51" fmla="*/ 155 h 1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155">
                    <a:moveTo>
                      <a:pt x="18" y="2"/>
                    </a:moveTo>
                    <a:lnTo>
                      <a:pt x="28" y="0"/>
                    </a:lnTo>
                    <a:lnTo>
                      <a:pt x="43" y="9"/>
                    </a:lnTo>
                    <a:lnTo>
                      <a:pt x="48" y="26"/>
                    </a:lnTo>
                    <a:lnTo>
                      <a:pt x="81" y="47"/>
                    </a:lnTo>
                    <a:lnTo>
                      <a:pt x="81" y="71"/>
                    </a:lnTo>
                    <a:lnTo>
                      <a:pt x="55" y="87"/>
                    </a:lnTo>
                    <a:lnTo>
                      <a:pt x="40" y="155"/>
                    </a:lnTo>
                    <a:lnTo>
                      <a:pt x="25" y="140"/>
                    </a:lnTo>
                    <a:lnTo>
                      <a:pt x="33" y="85"/>
                    </a:lnTo>
                    <a:lnTo>
                      <a:pt x="21" y="72"/>
                    </a:lnTo>
                    <a:lnTo>
                      <a:pt x="18" y="45"/>
                    </a:lnTo>
                    <a:lnTo>
                      <a:pt x="10" y="38"/>
                    </a:lnTo>
                    <a:lnTo>
                      <a:pt x="0" y="6"/>
                    </a:lnTo>
                    <a:lnTo>
                      <a:pt x="1" y="0"/>
                    </a:lnTo>
                    <a:lnTo>
                      <a:pt x="18" y="2"/>
                    </a:lnTo>
                  </a:path>
                </a:pathLst>
              </a:custGeom>
              <a:grpFill/>
              <a:ln w="6350">
                <a:noFill/>
                <a:round/>
                <a:headEnd/>
                <a:tailEnd/>
              </a:ln>
            </p:spPr>
            <p:txBody>
              <a:bodyPr/>
              <a:lstStyle/>
              <a:p>
                <a:pPr defTabSz="402174"/>
                <a:endParaRPr lang="en-GB" sz="1600" dirty="0">
                  <a:solidFill>
                    <a:srgbClr val="197AA0"/>
                  </a:solidFill>
                  <a:latin typeface="Calibri" pitchFamily="34" charset="0"/>
                </a:endParaRPr>
              </a:p>
            </p:txBody>
          </p:sp>
          <p:sp>
            <p:nvSpPr>
              <p:cNvPr id="585" name="Freeform 221"/>
              <p:cNvSpPr>
                <a:spLocks/>
              </p:cNvSpPr>
              <p:nvPr/>
            </p:nvSpPr>
            <p:spPr bwMode="auto">
              <a:xfrm>
                <a:off x="6986015" y="2240079"/>
                <a:ext cx="46158" cy="35270"/>
              </a:xfrm>
              <a:custGeom>
                <a:avLst/>
                <a:gdLst>
                  <a:gd name="T0" fmla="*/ 0 w 171"/>
                  <a:gd name="T1" fmla="*/ 0 h 135"/>
                  <a:gd name="T2" fmla="*/ 0 w 171"/>
                  <a:gd name="T3" fmla="*/ 0 h 135"/>
                  <a:gd name="T4" fmla="*/ 0 w 171"/>
                  <a:gd name="T5" fmla="*/ 0 h 135"/>
                  <a:gd name="T6" fmla="*/ 0 w 171"/>
                  <a:gd name="T7" fmla="*/ 0 h 135"/>
                  <a:gd name="T8" fmla="*/ 0 w 171"/>
                  <a:gd name="T9" fmla="*/ 0 h 135"/>
                  <a:gd name="T10" fmla="*/ 0 w 171"/>
                  <a:gd name="T11" fmla="*/ 0 h 135"/>
                  <a:gd name="T12" fmla="*/ 0 w 171"/>
                  <a:gd name="T13" fmla="*/ 0 h 135"/>
                  <a:gd name="T14" fmla="*/ 0 w 171"/>
                  <a:gd name="T15" fmla="*/ 0 h 135"/>
                  <a:gd name="T16" fmla="*/ 0 w 171"/>
                  <a:gd name="T17" fmla="*/ 0 h 135"/>
                  <a:gd name="T18" fmla="*/ 0 w 171"/>
                  <a:gd name="T19" fmla="*/ 0 h 135"/>
                  <a:gd name="T20" fmla="*/ 0 w 171"/>
                  <a:gd name="T21" fmla="*/ 0 h 135"/>
                  <a:gd name="T22" fmla="*/ 0 w 171"/>
                  <a:gd name="T23" fmla="*/ 0 h 135"/>
                  <a:gd name="T24" fmla="*/ 0 w 171"/>
                  <a:gd name="T25" fmla="*/ 0 h 135"/>
                  <a:gd name="T26" fmla="*/ 0 w 171"/>
                  <a:gd name="T27" fmla="*/ 0 h 135"/>
                  <a:gd name="T28" fmla="*/ 0 w 171"/>
                  <a:gd name="T29" fmla="*/ 0 h 135"/>
                  <a:gd name="T30" fmla="*/ 0 w 171"/>
                  <a:gd name="T31" fmla="*/ 0 h 135"/>
                  <a:gd name="T32" fmla="*/ 0 w 171"/>
                  <a:gd name="T33" fmla="*/ 0 h 135"/>
                  <a:gd name="T34" fmla="*/ 0 w 171"/>
                  <a:gd name="T35" fmla="*/ 0 h 135"/>
                  <a:gd name="T36" fmla="*/ 0 w 171"/>
                  <a:gd name="T37" fmla="*/ 0 h 135"/>
                  <a:gd name="T38" fmla="*/ 0 w 171"/>
                  <a:gd name="T39" fmla="*/ 0 h 135"/>
                  <a:gd name="T40" fmla="*/ 0 w 171"/>
                  <a:gd name="T41" fmla="*/ 0 h 135"/>
                  <a:gd name="T42" fmla="*/ 0 w 171"/>
                  <a:gd name="T43" fmla="*/ 0 h 135"/>
                  <a:gd name="T44" fmla="*/ 0 w 171"/>
                  <a:gd name="T45" fmla="*/ 0 h 135"/>
                  <a:gd name="T46" fmla="*/ 0 w 171"/>
                  <a:gd name="T47" fmla="*/ 0 h 135"/>
                  <a:gd name="T48" fmla="*/ 0 w 171"/>
                  <a:gd name="T49" fmla="*/ 0 h 135"/>
                  <a:gd name="T50" fmla="*/ 0 w 171"/>
                  <a:gd name="T51" fmla="*/ 0 h 135"/>
                  <a:gd name="T52" fmla="*/ 0 w 171"/>
                  <a:gd name="T53" fmla="*/ 0 h 13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1"/>
                  <a:gd name="T82" fmla="*/ 0 h 135"/>
                  <a:gd name="T83" fmla="*/ 171 w 171"/>
                  <a:gd name="T84" fmla="*/ 135 h 13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1" h="135">
                    <a:moveTo>
                      <a:pt x="64" y="0"/>
                    </a:moveTo>
                    <a:lnTo>
                      <a:pt x="69" y="5"/>
                    </a:lnTo>
                    <a:lnTo>
                      <a:pt x="73" y="25"/>
                    </a:lnTo>
                    <a:lnTo>
                      <a:pt x="89" y="29"/>
                    </a:lnTo>
                    <a:lnTo>
                      <a:pt x="103" y="49"/>
                    </a:lnTo>
                    <a:lnTo>
                      <a:pt x="116" y="55"/>
                    </a:lnTo>
                    <a:lnTo>
                      <a:pt x="117" y="44"/>
                    </a:lnTo>
                    <a:lnTo>
                      <a:pt x="131" y="46"/>
                    </a:lnTo>
                    <a:lnTo>
                      <a:pt x="132" y="36"/>
                    </a:lnTo>
                    <a:lnTo>
                      <a:pt x="148" y="38"/>
                    </a:lnTo>
                    <a:lnTo>
                      <a:pt x="149" y="51"/>
                    </a:lnTo>
                    <a:lnTo>
                      <a:pt x="163" y="73"/>
                    </a:lnTo>
                    <a:lnTo>
                      <a:pt x="171" y="128"/>
                    </a:lnTo>
                    <a:lnTo>
                      <a:pt x="154" y="133"/>
                    </a:lnTo>
                    <a:lnTo>
                      <a:pt x="117" y="120"/>
                    </a:lnTo>
                    <a:lnTo>
                      <a:pt x="104" y="133"/>
                    </a:lnTo>
                    <a:lnTo>
                      <a:pt x="85" y="135"/>
                    </a:lnTo>
                    <a:lnTo>
                      <a:pt x="46" y="94"/>
                    </a:lnTo>
                    <a:lnTo>
                      <a:pt x="6" y="72"/>
                    </a:lnTo>
                    <a:lnTo>
                      <a:pt x="0" y="50"/>
                    </a:lnTo>
                    <a:lnTo>
                      <a:pt x="13" y="54"/>
                    </a:lnTo>
                    <a:lnTo>
                      <a:pt x="29" y="35"/>
                    </a:lnTo>
                    <a:lnTo>
                      <a:pt x="15" y="34"/>
                    </a:lnTo>
                    <a:lnTo>
                      <a:pt x="8" y="12"/>
                    </a:lnTo>
                    <a:lnTo>
                      <a:pt x="27" y="3"/>
                    </a:lnTo>
                    <a:lnTo>
                      <a:pt x="56" y="6"/>
                    </a:lnTo>
                    <a:lnTo>
                      <a:pt x="64" y="0"/>
                    </a:lnTo>
                  </a:path>
                </a:pathLst>
              </a:custGeom>
              <a:grpFill/>
              <a:ln w="6350">
                <a:noFill/>
                <a:round/>
                <a:headEnd/>
                <a:tailEnd/>
              </a:ln>
            </p:spPr>
            <p:txBody>
              <a:bodyPr/>
              <a:lstStyle/>
              <a:p>
                <a:pPr defTabSz="402174"/>
                <a:endParaRPr lang="en-GB" sz="1600" dirty="0">
                  <a:solidFill>
                    <a:srgbClr val="197AA0"/>
                  </a:solidFill>
                  <a:latin typeface="Calibri" pitchFamily="34" charset="0"/>
                </a:endParaRPr>
              </a:p>
            </p:txBody>
          </p:sp>
          <p:sp>
            <p:nvSpPr>
              <p:cNvPr id="586" name="Freeform 223"/>
              <p:cNvSpPr>
                <a:spLocks/>
              </p:cNvSpPr>
              <p:nvPr/>
            </p:nvSpPr>
            <p:spPr bwMode="auto">
              <a:xfrm>
                <a:off x="6920852" y="2168183"/>
                <a:ext cx="63806" cy="59687"/>
              </a:xfrm>
              <a:custGeom>
                <a:avLst/>
                <a:gdLst>
                  <a:gd name="T0" fmla="*/ 0 w 243"/>
                  <a:gd name="T1" fmla="*/ 0 h 230"/>
                  <a:gd name="T2" fmla="*/ 0 w 243"/>
                  <a:gd name="T3" fmla="*/ 0 h 230"/>
                  <a:gd name="T4" fmla="*/ 0 w 243"/>
                  <a:gd name="T5" fmla="*/ 0 h 230"/>
                  <a:gd name="T6" fmla="*/ 0 w 243"/>
                  <a:gd name="T7" fmla="*/ 0 h 230"/>
                  <a:gd name="T8" fmla="*/ 0 w 243"/>
                  <a:gd name="T9" fmla="*/ 0 h 230"/>
                  <a:gd name="T10" fmla="*/ 0 w 243"/>
                  <a:gd name="T11" fmla="*/ 0 h 230"/>
                  <a:gd name="T12" fmla="*/ 0 w 243"/>
                  <a:gd name="T13" fmla="*/ 0 h 230"/>
                  <a:gd name="T14" fmla="*/ 0 w 243"/>
                  <a:gd name="T15" fmla="*/ 0 h 230"/>
                  <a:gd name="T16" fmla="*/ 0 w 243"/>
                  <a:gd name="T17" fmla="*/ 0 h 230"/>
                  <a:gd name="T18" fmla="*/ 0 w 243"/>
                  <a:gd name="T19" fmla="*/ 0 h 230"/>
                  <a:gd name="T20" fmla="*/ 0 w 243"/>
                  <a:gd name="T21" fmla="*/ 0 h 230"/>
                  <a:gd name="T22" fmla="*/ 0 w 243"/>
                  <a:gd name="T23" fmla="*/ 0 h 230"/>
                  <a:gd name="T24" fmla="*/ 0 w 243"/>
                  <a:gd name="T25" fmla="*/ 0 h 230"/>
                  <a:gd name="T26" fmla="*/ 0 w 243"/>
                  <a:gd name="T27" fmla="*/ 0 h 230"/>
                  <a:gd name="T28" fmla="*/ 0 w 243"/>
                  <a:gd name="T29" fmla="*/ 0 h 230"/>
                  <a:gd name="T30" fmla="*/ 0 w 243"/>
                  <a:gd name="T31" fmla="*/ 0 h 230"/>
                  <a:gd name="T32" fmla="*/ 0 w 243"/>
                  <a:gd name="T33" fmla="*/ 0 h 230"/>
                  <a:gd name="T34" fmla="*/ 0 w 243"/>
                  <a:gd name="T35" fmla="*/ 0 h 230"/>
                  <a:gd name="T36" fmla="*/ 0 w 243"/>
                  <a:gd name="T37" fmla="*/ 0 h 230"/>
                  <a:gd name="T38" fmla="*/ 0 w 243"/>
                  <a:gd name="T39" fmla="*/ 0 h 230"/>
                  <a:gd name="T40" fmla="*/ 0 w 243"/>
                  <a:gd name="T41" fmla="*/ 0 h 230"/>
                  <a:gd name="T42" fmla="*/ 0 w 243"/>
                  <a:gd name="T43" fmla="*/ 0 h 230"/>
                  <a:gd name="T44" fmla="*/ 0 w 243"/>
                  <a:gd name="T45" fmla="*/ 0 h 230"/>
                  <a:gd name="T46" fmla="*/ 0 w 243"/>
                  <a:gd name="T47" fmla="*/ 0 h 230"/>
                  <a:gd name="T48" fmla="*/ 0 w 243"/>
                  <a:gd name="T49" fmla="*/ 0 h 230"/>
                  <a:gd name="T50" fmla="*/ 0 w 243"/>
                  <a:gd name="T51" fmla="*/ 0 h 230"/>
                  <a:gd name="T52" fmla="*/ 0 w 243"/>
                  <a:gd name="T53" fmla="*/ 0 h 230"/>
                  <a:gd name="T54" fmla="*/ 0 w 243"/>
                  <a:gd name="T55" fmla="*/ 0 h 230"/>
                  <a:gd name="T56" fmla="*/ 0 w 243"/>
                  <a:gd name="T57" fmla="*/ 0 h 230"/>
                  <a:gd name="T58" fmla="*/ 0 w 243"/>
                  <a:gd name="T59" fmla="*/ 0 h 230"/>
                  <a:gd name="T60" fmla="*/ 0 w 243"/>
                  <a:gd name="T61" fmla="*/ 0 h 230"/>
                  <a:gd name="T62" fmla="*/ 0 w 243"/>
                  <a:gd name="T63" fmla="*/ 0 h 230"/>
                  <a:gd name="T64" fmla="*/ 0 w 243"/>
                  <a:gd name="T65" fmla="*/ 0 h 230"/>
                  <a:gd name="T66" fmla="*/ 0 w 243"/>
                  <a:gd name="T67" fmla="*/ 0 h 230"/>
                  <a:gd name="T68" fmla="*/ 0 w 243"/>
                  <a:gd name="T69" fmla="*/ 0 h 2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3"/>
                  <a:gd name="T106" fmla="*/ 0 h 230"/>
                  <a:gd name="T107" fmla="*/ 243 w 243"/>
                  <a:gd name="T108" fmla="*/ 230 h 2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3" h="230">
                    <a:moveTo>
                      <a:pt x="68" y="19"/>
                    </a:moveTo>
                    <a:lnTo>
                      <a:pt x="89" y="8"/>
                    </a:lnTo>
                    <a:lnTo>
                      <a:pt x="143" y="9"/>
                    </a:lnTo>
                    <a:lnTo>
                      <a:pt x="172" y="36"/>
                    </a:lnTo>
                    <a:lnTo>
                      <a:pt x="182" y="35"/>
                    </a:lnTo>
                    <a:lnTo>
                      <a:pt x="186" y="8"/>
                    </a:lnTo>
                    <a:lnTo>
                      <a:pt x="196" y="0"/>
                    </a:lnTo>
                    <a:lnTo>
                      <a:pt x="221" y="60"/>
                    </a:lnTo>
                    <a:lnTo>
                      <a:pt x="215" y="92"/>
                    </a:lnTo>
                    <a:lnTo>
                      <a:pt x="219" y="120"/>
                    </a:lnTo>
                    <a:lnTo>
                      <a:pt x="225" y="130"/>
                    </a:lnTo>
                    <a:lnTo>
                      <a:pt x="243" y="139"/>
                    </a:lnTo>
                    <a:lnTo>
                      <a:pt x="242" y="146"/>
                    </a:lnTo>
                    <a:lnTo>
                      <a:pt x="230" y="144"/>
                    </a:lnTo>
                    <a:lnTo>
                      <a:pt x="212" y="218"/>
                    </a:lnTo>
                    <a:lnTo>
                      <a:pt x="180" y="220"/>
                    </a:lnTo>
                    <a:lnTo>
                      <a:pt x="154" y="230"/>
                    </a:lnTo>
                    <a:lnTo>
                      <a:pt x="132" y="223"/>
                    </a:lnTo>
                    <a:lnTo>
                      <a:pt x="102" y="198"/>
                    </a:lnTo>
                    <a:lnTo>
                      <a:pt x="62" y="203"/>
                    </a:lnTo>
                    <a:lnTo>
                      <a:pt x="64" y="188"/>
                    </a:lnTo>
                    <a:lnTo>
                      <a:pt x="80" y="169"/>
                    </a:lnTo>
                    <a:lnTo>
                      <a:pt x="64" y="167"/>
                    </a:lnTo>
                    <a:lnTo>
                      <a:pt x="21" y="143"/>
                    </a:lnTo>
                    <a:lnTo>
                      <a:pt x="22" y="113"/>
                    </a:lnTo>
                    <a:lnTo>
                      <a:pt x="5" y="89"/>
                    </a:lnTo>
                    <a:lnTo>
                      <a:pt x="14" y="72"/>
                    </a:lnTo>
                    <a:lnTo>
                      <a:pt x="0" y="52"/>
                    </a:lnTo>
                    <a:lnTo>
                      <a:pt x="7" y="52"/>
                    </a:lnTo>
                    <a:lnTo>
                      <a:pt x="8" y="44"/>
                    </a:lnTo>
                    <a:lnTo>
                      <a:pt x="0" y="29"/>
                    </a:lnTo>
                    <a:lnTo>
                      <a:pt x="1" y="16"/>
                    </a:lnTo>
                    <a:lnTo>
                      <a:pt x="21" y="20"/>
                    </a:lnTo>
                    <a:lnTo>
                      <a:pt x="43" y="31"/>
                    </a:lnTo>
                    <a:lnTo>
                      <a:pt x="68" y="19"/>
                    </a:lnTo>
                  </a:path>
                </a:pathLst>
              </a:custGeom>
              <a:grpFill/>
              <a:ln w="6350">
                <a:noFill/>
                <a:round/>
                <a:headEnd/>
                <a:tailEnd/>
              </a:ln>
            </p:spPr>
            <p:txBody>
              <a:bodyPr/>
              <a:lstStyle/>
              <a:p>
                <a:pPr defTabSz="402174"/>
                <a:endParaRPr lang="en-GB" sz="1600" dirty="0">
                  <a:solidFill>
                    <a:srgbClr val="197AA0"/>
                  </a:solidFill>
                  <a:latin typeface="Calibri" pitchFamily="34" charset="0"/>
                </a:endParaRPr>
              </a:p>
            </p:txBody>
          </p:sp>
          <p:sp>
            <p:nvSpPr>
              <p:cNvPr id="587" name="Freeform 225"/>
              <p:cNvSpPr>
                <a:spLocks/>
              </p:cNvSpPr>
              <p:nvPr/>
            </p:nvSpPr>
            <p:spPr bwMode="auto">
              <a:xfrm>
                <a:off x="6965652" y="2217018"/>
                <a:ext cx="23079" cy="43409"/>
              </a:xfrm>
              <a:custGeom>
                <a:avLst/>
                <a:gdLst>
                  <a:gd name="T0" fmla="*/ 0 w 82"/>
                  <a:gd name="T1" fmla="*/ 0 h 170"/>
                  <a:gd name="T2" fmla="*/ 0 w 82"/>
                  <a:gd name="T3" fmla="*/ 0 h 170"/>
                  <a:gd name="T4" fmla="*/ 0 w 82"/>
                  <a:gd name="T5" fmla="*/ 0 h 170"/>
                  <a:gd name="T6" fmla="*/ 0 w 82"/>
                  <a:gd name="T7" fmla="*/ 0 h 170"/>
                  <a:gd name="T8" fmla="*/ 0 w 82"/>
                  <a:gd name="T9" fmla="*/ 0 h 170"/>
                  <a:gd name="T10" fmla="*/ 0 w 82"/>
                  <a:gd name="T11" fmla="*/ 0 h 170"/>
                  <a:gd name="T12" fmla="*/ 0 w 82"/>
                  <a:gd name="T13" fmla="*/ 0 h 170"/>
                  <a:gd name="T14" fmla="*/ 0 w 82"/>
                  <a:gd name="T15" fmla="*/ 0 h 170"/>
                  <a:gd name="T16" fmla="*/ 0 w 82"/>
                  <a:gd name="T17" fmla="*/ 0 h 170"/>
                  <a:gd name="T18" fmla="*/ 0 w 82"/>
                  <a:gd name="T19" fmla="*/ 0 h 170"/>
                  <a:gd name="T20" fmla="*/ 0 w 82"/>
                  <a:gd name="T21" fmla="*/ 0 h 170"/>
                  <a:gd name="T22" fmla="*/ 0 w 82"/>
                  <a:gd name="T23" fmla="*/ 0 h 170"/>
                  <a:gd name="T24" fmla="*/ 0 w 82"/>
                  <a:gd name="T25" fmla="*/ 0 h 170"/>
                  <a:gd name="T26" fmla="*/ 0 w 82"/>
                  <a:gd name="T27" fmla="*/ 0 h 170"/>
                  <a:gd name="T28" fmla="*/ 0 w 82"/>
                  <a:gd name="T29" fmla="*/ 0 h 1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2"/>
                  <a:gd name="T46" fmla="*/ 0 h 170"/>
                  <a:gd name="T47" fmla="*/ 82 w 82"/>
                  <a:gd name="T48" fmla="*/ 170 h 1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2" h="170">
                    <a:moveTo>
                      <a:pt x="57" y="42"/>
                    </a:moveTo>
                    <a:lnTo>
                      <a:pt x="61" y="12"/>
                    </a:lnTo>
                    <a:lnTo>
                      <a:pt x="68" y="0"/>
                    </a:lnTo>
                    <a:lnTo>
                      <a:pt x="82" y="2"/>
                    </a:lnTo>
                    <a:lnTo>
                      <a:pt x="78" y="60"/>
                    </a:lnTo>
                    <a:lnTo>
                      <a:pt x="50" y="96"/>
                    </a:lnTo>
                    <a:lnTo>
                      <a:pt x="45" y="123"/>
                    </a:lnTo>
                    <a:lnTo>
                      <a:pt x="34" y="134"/>
                    </a:lnTo>
                    <a:lnTo>
                      <a:pt x="20" y="166"/>
                    </a:lnTo>
                    <a:lnTo>
                      <a:pt x="8" y="170"/>
                    </a:lnTo>
                    <a:lnTo>
                      <a:pt x="9" y="138"/>
                    </a:lnTo>
                    <a:lnTo>
                      <a:pt x="0" y="110"/>
                    </a:lnTo>
                    <a:lnTo>
                      <a:pt x="8" y="108"/>
                    </a:lnTo>
                    <a:lnTo>
                      <a:pt x="41" y="46"/>
                    </a:lnTo>
                    <a:lnTo>
                      <a:pt x="57" y="42"/>
                    </a:lnTo>
                  </a:path>
                </a:pathLst>
              </a:custGeom>
              <a:grpFill/>
              <a:ln w="6350">
                <a:noFill/>
                <a:round/>
                <a:headEnd/>
                <a:tailEnd/>
              </a:ln>
            </p:spPr>
            <p:txBody>
              <a:bodyPr/>
              <a:lstStyle/>
              <a:p>
                <a:pPr defTabSz="402174"/>
                <a:endParaRPr lang="en-GB" sz="1600" dirty="0">
                  <a:solidFill>
                    <a:srgbClr val="197AA0"/>
                  </a:solidFill>
                  <a:latin typeface="Calibri" pitchFamily="34" charset="0"/>
                </a:endParaRPr>
              </a:p>
            </p:txBody>
          </p:sp>
          <p:sp>
            <p:nvSpPr>
              <p:cNvPr id="588" name="Freeform 227"/>
              <p:cNvSpPr>
                <a:spLocks/>
              </p:cNvSpPr>
              <p:nvPr/>
            </p:nvSpPr>
            <p:spPr bwMode="auto">
              <a:xfrm>
                <a:off x="6994161" y="2124774"/>
                <a:ext cx="101818" cy="118018"/>
              </a:xfrm>
              <a:custGeom>
                <a:avLst/>
                <a:gdLst>
                  <a:gd name="T0" fmla="*/ 0 w 389"/>
                  <a:gd name="T1" fmla="*/ 0 h 447"/>
                  <a:gd name="T2" fmla="*/ 0 w 389"/>
                  <a:gd name="T3" fmla="*/ 0 h 447"/>
                  <a:gd name="T4" fmla="*/ 0 w 389"/>
                  <a:gd name="T5" fmla="*/ 0 h 447"/>
                  <a:gd name="T6" fmla="*/ 0 w 389"/>
                  <a:gd name="T7" fmla="*/ 0 h 447"/>
                  <a:gd name="T8" fmla="*/ 0 w 389"/>
                  <a:gd name="T9" fmla="*/ 0 h 447"/>
                  <a:gd name="T10" fmla="*/ 0 w 389"/>
                  <a:gd name="T11" fmla="*/ 0 h 447"/>
                  <a:gd name="T12" fmla="*/ 0 w 389"/>
                  <a:gd name="T13" fmla="*/ 0 h 447"/>
                  <a:gd name="T14" fmla="*/ 0 w 389"/>
                  <a:gd name="T15" fmla="*/ 0 h 447"/>
                  <a:gd name="T16" fmla="*/ 0 w 389"/>
                  <a:gd name="T17" fmla="*/ 0 h 447"/>
                  <a:gd name="T18" fmla="*/ 0 w 389"/>
                  <a:gd name="T19" fmla="*/ 0 h 447"/>
                  <a:gd name="T20" fmla="*/ 0 w 389"/>
                  <a:gd name="T21" fmla="*/ 0 h 447"/>
                  <a:gd name="T22" fmla="*/ 0 w 389"/>
                  <a:gd name="T23" fmla="*/ 0 h 447"/>
                  <a:gd name="T24" fmla="*/ 0 w 389"/>
                  <a:gd name="T25" fmla="*/ 0 h 447"/>
                  <a:gd name="T26" fmla="*/ 0 w 389"/>
                  <a:gd name="T27" fmla="*/ 0 h 447"/>
                  <a:gd name="T28" fmla="*/ 0 w 389"/>
                  <a:gd name="T29" fmla="*/ 0 h 447"/>
                  <a:gd name="T30" fmla="*/ 0 w 389"/>
                  <a:gd name="T31" fmla="*/ 0 h 447"/>
                  <a:gd name="T32" fmla="*/ 0 w 389"/>
                  <a:gd name="T33" fmla="*/ 0 h 447"/>
                  <a:gd name="T34" fmla="*/ 0 w 389"/>
                  <a:gd name="T35" fmla="*/ 0 h 447"/>
                  <a:gd name="T36" fmla="*/ 0 w 389"/>
                  <a:gd name="T37" fmla="*/ 0 h 447"/>
                  <a:gd name="T38" fmla="*/ 0 w 389"/>
                  <a:gd name="T39" fmla="*/ 0 h 447"/>
                  <a:gd name="T40" fmla="*/ 0 w 389"/>
                  <a:gd name="T41" fmla="*/ 0 h 447"/>
                  <a:gd name="T42" fmla="*/ 0 w 389"/>
                  <a:gd name="T43" fmla="*/ 0 h 447"/>
                  <a:gd name="T44" fmla="*/ 0 w 389"/>
                  <a:gd name="T45" fmla="*/ 0 h 447"/>
                  <a:gd name="T46" fmla="*/ 0 w 389"/>
                  <a:gd name="T47" fmla="*/ 0 h 447"/>
                  <a:gd name="T48" fmla="*/ 0 w 389"/>
                  <a:gd name="T49" fmla="*/ 0 h 447"/>
                  <a:gd name="T50" fmla="*/ 0 w 389"/>
                  <a:gd name="T51" fmla="*/ 0 h 447"/>
                  <a:gd name="T52" fmla="*/ 0 w 389"/>
                  <a:gd name="T53" fmla="*/ 0 h 447"/>
                  <a:gd name="T54" fmla="*/ 0 w 389"/>
                  <a:gd name="T55" fmla="*/ 0 h 447"/>
                  <a:gd name="T56" fmla="*/ 0 w 389"/>
                  <a:gd name="T57" fmla="*/ 0 h 447"/>
                  <a:gd name="T58" fmla="*/ 0 w 389"/>
                  <a:gd name="T59" fmla="*/ 0 h 447"/>
                  <a:gd name="T60" fmla="*/ 0 w 389"/>
                  <a:gd name="T61" fmla="*/ 0 h 447"/>
                  <a:gd name="T62" fmla="*/ 0 w 389"/>
                  <a:gd name="T63" fmla="*/ 0 h 447"/>
                  <a:gd name="T64" fmla="*/ 0 w 389"/>
                  <a:gd name="T65" fmla="*/ 0 h 447"/>
                  <a:gd name="T66" fmla="*/ 0 w 389"/>
                  <a:gd name="T67" fmla="*/ 0 h 447"/>
                  <a:gd name="T68" fmla="*/ 0 w 389"/>
                  <a:gd name="T69" fmla="*/ 0 h 447"/>
                  <a:gd name="T70" fmla="*/ 0 w 389"/>
                  <a:gd name="T71" fmla="*/ 0 h 447"/>
                  <a:gd name="T72" fmla="*/ 0 w 389"/>
                  <a:gd name="T73" fmla="*/ 0 h 447"/>
                  <a:gd name="T74" fmla="*/ 0 w 389"/>
                  <a:gd name="T75" fmla="*/ 0 h 447"/>
                  <a:gd name="T76" fmla="*/ 0 w 389"/>
                  <a:gd name="T77" fmla="*/ 0 h 447"/>
                  <a:gd name="T78" fmla="*/ 0 w 389"/>
                  <a:gd name="T79" fmla="*/ 0 h 447"/>
                  <a:gd name="T80" fmla="*/ 0 w 389"/>
                  <a:gd name="T81" fmla="*/ 0 h 447"/>
                  <a:gd name="T82" fmla="*/ 0 w 389"/>
                  <a:gd name="T83" fmla="*/ 0 h 447"/>
                  <a:gd name="T84" fmla="*/ 0 w 389"/>
                  <a:gd name="T85" fmla="*/ 0 h 44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9"/>
                  <a:gd name="T130" fmla="*/ 0 h 447"/>
                  <a:gd name="T131" fmla="*/ 389 w 389"/>
                  <a:gd name="T132" fmla="*/ 447 h 44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9" h="447">
                    <a:moveTo>
                      <a:pt x="114" y="37"/>
                    </a:moveTo>
                    <a:lnTo>
                      <a:pt x="206" y="53"/>
                    </a:lnTo>
                    <a:lnTo>
                      <a:pt x="203" y="72"/>
                    </a:lnTo>
                    <a:lnTo>
                      <a:pt x="189" y="76"/>
                    </a:lnTo>
                    <a:lnTo>
                      <a:pt x="185" y="110"/>
                    </a:lnTo>
                    <a:lnTo>
                      <a:pt x="173" y="116"/>
                    </a:lnTo>
                    <a:lnTo>
                      <a:pt x="175" y="121"/>
                    </a:lnTo>
                    <a:lnTo>
                      <a:pt x="186" y="117"/>
                    </a:lnTo>
                    <a:lnTo>
                      <a:pt x="186" y="170"/>
                    </a:lnTo>
                    <a:lnTo>
                      <a:pt x="204" y="153"/>
                    </a:lnTo>
                    <a:lnTo>
                      <a:pt x="216" y="118"/>
                    </a:lnTo>
                    <a:lnTo>
                      <a:pt x="223" y="114"/>
                    </a:lnTo>
                    <a:lnTo>
                      <a:pt x="228" y="88"/>
                    </a:lnTo>
                    <a:lnTo>
                      <a:pt x="224" y="88"/>
                    </a:lnTo>
                    <a:lnTo>
                      <a:pt x="228" y="80"/>
                    </a:lnTo>
                    <a:lnTo>
                      <a:pt x="236" y="81"/>
                    </a:lnTo>
                    <a:lnTo>
                      <a:pt x="248" y="128"/>
                    </a:lnTo>
                    <a:lnTo>
                      <a:pt x="245" y="150"/>
                    </a:lnTo>
                    <a:lnTo>
                      <a:pt x="238" y="150"/>
                    </a:lnTo>
                    <a:lnTo>
                      <a:pt x="230" y="162"/>
                    </a:lnTo>
                    <a:lnTo>
                      <a:pt x="237" y="164"/>
                    </a:lnTo>
                    <a:lnTo>
                      <a:pt x="236" y="172"/>
                    </a:lnTo>
                    <a:lnTo>
                      <a:pt x="248" y="175"/>
                    </a:lnTo>
                    <a:lnTo>
                      <a:pt x="261" y="81"/>
                    </a:lnTo>
                    <a:lnTo>
                      <a:pt x="254" y="66"/>
                    </a:lnTo>
                    <a:lnTo>
                      <a:pt x="235" y="60"/>
                    </a:lnTo>
                    <a:lnTo>
                      <a:pt x="233" y="44"/>
                    </a:lnTo>
                    <a:lnTo>
                      <a:pt x="264" y="14"/>
                    </a:lnTo>
                    <a:lnTo>
                      <a:pt x="305" y="8"/>
                    </a:lnTo>
                    <a:lnTo>
                      <a:pt x="309" y="0"/>
                    </a:lnTo>
                    <a:lnTo>
                      <a:pt x="335" y="1"/>
                    </a:lnTo>
                    <a:lnTo>
                      <a:pt x="354" y="29"/>
                    </a:lnTo>
                    <a:lnTo>
                      <a:pt x="368" y="83"/>
                    </a:lnTo>
                    <a:lnTo>
                      <a:pt x="377" y="87"/>
                    </a:lnTo>
                    <a:lnTo>
                      <a:pt x="371" y="105"/>
                    </a:lnTo>
                    <a:lnTo>
                      <a:pt x="375" y="126"/>
                    </a:lnTo>
                    <a:lnTo>
                      <a:pt x="381" y="129"/>
                    </a:lnTo>
                    <a:lnTo>
                      <a:pt x="378" y="153"/>
                    </a:lnTo>
                    <a:lnTo>
                      <a:pt x="389" y="193"/>
                    </a:lnTo>
                    <a:lnTo>
                      <a:pt x="359" y="191"/>
                    </a:lnTo>
                    <a:lnTo>
                      <a:pt x="344" y="204"/>
                    </a:lnTo>
                    <a:lnTo>
                      <a:pt x="324" y="202"/>
                    </a:lnTo>
                    <a:lnTo>
                      <a:pt x="288" y="247"/>
                    </a:lnTo>
                    <a:lnTo>
                      <a:pt x="281" y="276"/>
                    </a:lnTo>
                    <a:lnTo>
                      <a:pt x="306" y="280"/>
                    </a:lnTo>
                    <a:lnTo>
                      <a:pt x="322" y="311"/>
                    </a:lnTo>
                    <a:lnTo>
                      <a:pt x="317" y="350"/>
                    </a:lnTo>
                    <a:lnTo>
                      <a:pt x="255" y="359"/>
                    </a:lnTo>
                    <a:lnTo>
                      <a:pt x="247" y="371"/>
                    </a:lnTo>
                    <a:lnTo>
                      <a:pt x="245" y="387"/>
                    </a:lnTo>
                    <a:lnTo>
                      <a:pt x="252" y="388"/>
                    </a:lnTo>
                    <a:lnTo>
                      <a:pt x="255" y="408"/>
                    </a:lnTo>
                    <a:lnTo>
                      <a:pt x="248" y="408"/>
                    </a:lnTo>
                    <a:lnTo>
                      <a:pt x="244" y="417"/>
                    </a:lnTo>
                    <a:lnTo>
                      <a:pt x="240" y="444"/>
                    </a:lnTo>
                    <a:lnTo>
                      <a:pt x="217" y="447"/>
                    </a:lnTo>
                    <a:lnTo>
                      <a:pt x="206" y="432"/>
                    </a:lnTo>
                    <a:lnTo>
                      <a:pt x="148" y="413"/>
                    </a:lnTo>
                    <a:lnTo>
                      <a:pt x="133" y="402"/>
                    </a:lnTo>
                    <a:lnTo>
                      <a:pt x="134" y="395"/>
                    </a:lnTo>
                    <a:lnTo>
                      <a:pt x="153" y="404"/>
                    </a:lnTo>
                    <a:lnTo>
                      <a:pt x="153" y="377"/>
                    </a:lnTo>
                    <a:lnTo>
                      <a:pt x="159" y="379"/>
                    </a:lnTo>
                    <a:lnTo>
                      <a:pt x="162" y="365"/>
                    </a:lnTo>
                    <a:lnTo>
                      <a:pt x="108" y="345"/>
                    </a:lnTo>
                    <a:lnTo>
                      <a:pt x="55" y="342"/>
                    </a:lnTo>
                    <a:lnTo>
                      <a:pt x="56" y="307"/>
                    </a:lnTo>
                    <a:lnTo>
                      <a:pt x="32" y="294"/>
                    </a:lnTo>
                    <a:lnTo>
                      <a:pt x="27" y="281"/>
                    </a:lnTo>
                    <a:lnTo>
                      <a:pt x="28" y="273"/>
                    </a:lnTo>
                    <a:lnTo>
                      <a:pt x="34" y="272"/>
                    </a:lnTo>
                    <a:lnTo>
                      <a:pt x="50" y="184"/>
                    </a:lnTo>
                    <a:lnTo>
                      <a:pt x="42" y="169"/>
                    </a:lnTo>
                    <a:lnTo>
                      <a:pt x="13" y="162"/>
                    </a:lnTo>
                    <a:lnTo>
                      <a:pt x="7" y="153"/>
                    </a:lnTo>
                    <a:lnTo>
                      <a:pt x="22" y="143"/>
                    </a:lnTo>
                    <a:lnTo>
                      <a:pt x="0" y="134"/>
                    </a:lnTo>
                    <a:lnTo>
                      <a:pt x="2" y="127"/>
                    </a:lnTo>
                    <a:lnTo>
                      <a:pt x="17" y="119"/>
                    </a:lnTo>
                    <a:lnTo>
                      <a:pt x="72" y="127"/>
                    </a:lnTo>
                    <a:lnTo>
                      <a:pt x="95" y="124"/>
                    </a:lnTo>
                    <a:lnTo>
                      <a:pt x="107" y="92"/>
                    </a:lnTo>
                    <a:lnTo>
                      <a:pt x="130" y="95"/>
                    </a:lnTo>
                    <a:lnTo>
                      <a:pt x="141" y="88"/>
                    </a:lnTo>
                    <a:lnTo>
                      <a:pt x="146" y="68"/>
                    </a:lnTo>
                    <a:lnTo>
                      <a:pt x="114" y="37"/>
                    </a:lnTo>
                  </a:path>
                </a:pathLst>
              </a:custGeom>
              <a:grpFill/>
              <a:ln w="6350">
                <a:noFill/>
                <a:round/>
                <a:headEnd/>
                <a:tailEnd/>
              </a:ln>
            </p:spPr>
            <p:txBody>
              <a:bodyPr/>
              <a:lstStyle/>
              <a:p>
                <a:pPr defTabSz="402174"/>
                <a:endParaRPr lang="en-GB" sz="1600" dirty="0">
                  <a:solidFill>
                    <a:srgbClr val="197AA0"/>
                  </a:solidFill>
                  <a:latin typeface="Calibri" pitchFamily="34" charset="0"/>
                </a:endParaRPr>
              </a:p>
            </p:txBody>
          </p:sp>
          <p:sp>
            <p:nvSpPr>
              <p:cNvPr id="589" name="Freeform 229"/>
              <p:cNvSpPr>
                <a:spLocks/>
              </p:cNvSpPr>
              <p:nvPr/>
            </p:nvSpPr>
            <p:spPr bwMode="auto">
              <a:xfrm>
                <a:off x="6824464" y="1951138"/>
                <a:ext cx="171055" cy="286228"/>
              </a:xfrm>
              <a:custGeom>
                <a:avLst/>
                <a:gdLst>
                  <a:gd name="T0" fmla="*/ 0 w 649"/>
                  <a:gd name="T1" fmla="*/ 0 h 1090"/>
                  <a:gd name="T2" fmla="*/ 0 w 649"/>
                  <a:gd name="T3" fmla="*/ 0 h 1090"/>
                  <a:gd name="T4" fmla="*/ 0 w 649"/>
                  <a:gd name="T5" fmla="*/ 0 h 1090"/>
                  <a:gd name="T6" fmla="*/ 0 w 649"/>
                  <a:gd name="T7" fmla="*/ 0 h 1090"/>
                  <a:gd name="T8" fmla="*/ 0 w 649"/>
                  <a:gd name="T9" fmla="*/ 0 h 1090"/>
                  <a:gd name="T10" fmla="*/ 0 w 649"/>
                  <a:gd name="T11" fmla="*/ 0 h 1090"/>
                  <a:gd name="T12" fmla="*/ 0 w 649"/>
                  <a:gd name="T13" fmla="*/ 0 h 1090"/>
                  <a:gd name="T14" fmla="*/ 0 w 649"/>
                  <a:gd name="T15" fmla="*/ 0 h 1090"/>
                  <a:gd name="T16" fmla="*/ 0 w 649"/>
                  <a:gd name="T17" fmla="*/ 0 h 1090"/>
                  <a:gd name="T18" fmla="*/ 0 w 649"/>
                  <a:gd name="T19" fmla="*/ 0 h 1090"/>
                  <a:gd name="T20" fmla="*/ 0 w 649"/>
                  <a:gd name="T21" fmla="*/ 0 h 1090"/>
                  <a:gd name="T22" fmla="*/ 0 w 649"/>
                  <a:gd name="T23" fmla="*/ 0 h 1090"/>
                  <a:gd name="T24" fmla="*/ 0 w 649"/>
                  <a:gd name="T25" fmla="*/ 0 h 1090"/>
                  <a:gd name="T26" fmla="*/ 0 w 649"/>
                  <a:gd name="T27" fmla="*/ 0 h 1090"/>
                  <a:gd name="T28" fmla="*/ 0 w 649"/>
                  <a:gd name="T29" fmla="*/ 0 h 1090"/>
                  <a:gd name="T30" fmla="*/ 0 w 649"/>
                  <a:gd name="T31" fmla="*/ 0 h 1090"/>
                  <a:gd name="T32" fmla="*/ 0 w 649"/>
                  <a:gd name="T33" fmla="*/ 0 h 1090"/>
                  <a:gd name="T34" fmla="*/ 0 w 649"/>
                  <a:gd name="T35" fmla="*/ 0 h 1090"/>
                  <a:gd name="T36" fmla="*/ 0 w 649"/>
                  <a:gd name="T37" fmla="*/ 0 h 1090"/>
                  <a:gd name="T38" fmla="*/ 0 w 649"/>
                  <a:gd name="T39" fmla="*/ 0 h 1090"/>
                  <a:gd name="T40" fmla="*/ 0 w 649"/>
                  <a:gd name="T41" fmla="*/ 0 h 1090"/>
                  <a:gd name="T42" fmla="*/ 0 w 649"/>
                  <a:gd name="T43" fmla="*/ 0 h 1090"/>
                  <a:gd name="T44" fmla="*/ 0 w 649"/>
                  <a:gd name="T45" fmla="*/ 0 h 1090"/>
                  <a:gd name="T46" fmla="*/ 0 w 649"/>
                  <a:gd name="T47" fmla="*/ 0 h 1090"/>
                  <a:gd name="T48" fmla="*/ 0 w 649"/>
                  <a:gd name="T49" fmla="*/ 0 h 1090"/>
                  <a:gd name="T50" fmla="*/ 0 w 649"/>
                  <a:gd name="T51" fmla="*/ 0 h 1090"/>
                  <a:gd name="T52" fmla="*/ 0 w 649"/>
                  <a:gd name="T53" fmla="*/ 0 h 1090"/>
                  <a:gd name="T54" fmla="*/ 0 w 649"/>
                  <a:gd name="T55" fmla="*/ 0 h 1090"/>
                  <a:gd name="T56" fmla="*/ 0 w 649"/>
                  <a:gd name="T57" fmla="*/ 0 h 1090"/>
                  <a:gd name="T58" fmla="*/ 0 w 649"/>
                  <a:gd name="T59" fmla="*/ 0 h 1090"/>
                  <a:gd name="T60" fmla="*/ 0 w 649"/>
                  <a:gd name="T61" fmla="*/ 0 h 1090"/>
                  <a:gd name="T62" fmla="*/ 0 w 649"/>
                  <a:gd name="T63" fmla="*/ 0 h 1090"/>
                  <a:gd name="T64" fmla="*/ 0 w 649"/>
                  <a:gd name="T65" fmla="*/ 0 h 1090"/>
                  <a:gd name="T66" fmla="*/ 0 w 649"/>
                  <a:gd name="T67" fmla="*/ 0 h 1090"/>
                  <a:gd name="T68" fmla="*/ 0 w 649"/>
                  <a:gd name="T69" fmla="*/ 0 h 1090"/>
                  <a:gd name="T70" fmla="*/ 0 w 649"/>
                  <a:gd name="T71" fmla="*/ 0 h 1090"/>
                  <a:gd name="T72" fmla="*/ 0 w 649"/>
                  <a:gd name="T73" fmla="*/ 0 h 1090"/>
                  <a:gd name="T74" fmla="*/ 0 w 649"/>
                  <a:gd name="T75" fmla="*/ 0 h 10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49"/>
                  <a:gd name="T115" fmla="*/ 0 h 1090"/>
                  <a:gd name="T116" fmla="*/ 649 w 649"/>
                  <a:gd name="T117" fmla="*/ 1090 h 10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49" h="1090">
                    <a:moveTo>
                      <a:pt x="86" y="1048"/>
                    </a:moveTo>
                    <a:lnTo>
                      <a:pt x="121" y="1050"/>
                    </a:lnTo>
                    <a:lnTo>
                      <a:pt x="212" y="1090"/>
                    </a:lnTo>
                    <a:lnTo>
                      <a:pt x="265" y="1074"/>
                    </a:lnTo>
                    <a:lnTo>
                      <a:pt x="271" y="1068"/>
                    </a:lnTo>
                    <a:lnTo>
                      <a:pt x="282" y="1066"/>
                    </a:lnTo>
                    <a:lnTo>
                      <a:pt x="287" y="1078"/>
                    </a:lnTo>
                    <a:lnTo>
                      <a:pt x="307" y="1084"/>
                    </a:lnTo>
                    <a:lnTo>
                      <a:pt x="309" y="1065"/>
                    </a:lnTo>
                    <a:lnTo>
                      <a:pt x="301" y="1047"/>
                    </a:lnTo>
                    <a:lnTo>
                      <a:pt x="287" y="1029"/>
                    </a:lnTo>
                    <a:lnTo>
                      <a:pt x="260" y="1026"/>
                    </a:lnTo>
                    <a:lnTo>
                      <a:pt x="265" y="970"/>
                    </a:lnTo>
                    <a:lnTo>
                      <a:pt x="309" y="949"/>
                    </a:lnTo>
                    <a:lnTo>
                      <a:pt x="312" y="934"/>
                    </a:lnTo>
                    <a:lnTo>
                      <a:pt x="301" y="933"/>
                    </a:lnTo>
                    <a:lnTo>
                      <a:pt x="304" y="898"/>
                    </a:lnTo>
                    <a:lnTo>
                      <a:pt x="320" y="855"/>
                    </a:lnTo>
                    <a:lnTo>
                      <a:pt x="312" y="839"/>
                    </a:lnTo>
                    <a:lnTo>
                      <a:pt x="356" y="803"/>
                    </a:lnTo>
                    <a:lnTo>
                      <a:pt x="355" y="788"/>
                    </a:lnTo>
                    <a:lnTo>
                      <a:pt x="333" y="757"/>
                    </a:lnTo>
                    <a:lnTo>
                      <a:pt x="358" y="752"/>
                    </a:lnTo>
                    <a:lnTo>
                      <a:pt x="408" y="766"/>
                    </a:lnTo>
                    <a:lnTo>
                      <a:pt x="416" y="740"/>
                    </a:lnTo>
                    <a:lnTo>
                      <a:pt x="402" y="706"/>
                    </a:lnTo>
                    <a:lnTo>
                      <a:pt x="421" y="693"/>
                    </a:lnTo>
                    <a:lnTo>
                      <a:pt x="471" y="706"/>
                    </a:lnTo>
                    <a:lnTo>
                      <a:pt x="495" y="680"/>
                    </a:lnTo>
                    <a:lnTo>
                      <a:pt x="491" y="629"/>
                    </a:lnTo>
                    <a:lnTo>
                      <a:pt x="515" y="583"/>
                    </a:lnTo>
                    <a:lnTo>
                      <a:pt x="538" y="580"/>
                    </a:lnTo>
                    <a:lnTo>
                      <a:pt x="534" y="599"/>
                    </a:lnTo>
                    <a:lnTo>
                      <a:pt x="546" y="627"/>
                    </a:lnTo>
                    <a:lnTo>
                      <a:pt x="574" y="599"/>
                    </a:lnTo>
                    <a:lnTo>
                      <a:pt x="577" y="613"/>
                    </a:lnTo>
                    <a:lnTo>
                      <a:pt x="641" y="568"/>
                    </a:lnTo>
                    <a:lnTo>
                      <a:pt x="649" y="525"/>
                    </a:lnTo>
                    <a:lnTo>
                      <a:pt x="647" y="496"/>
                    </a:lnTo>
                    <a:lnTo>
                      <a:pt x="629" y="483"/>
                    </a:lnTo>
                    <a:lnTo>
                      <a:pt x="589" y="483"/>
                    </a:lnTo>
                    <a:lnTo>
                      <a:pt x="560" y="492"/>
                    </a:lnTo>
                    <a:lnTo>
                      <a:pt x="546" y="466"/>
                    </a:lnTo>
                    <a:lnTo>
                      <a:pt x="520" y="463"/>
                    </a:lnTo>
                    <a:lnTo>
                      <a:pt x="500" y="487"/>
                    </a:lnTo>
                    <a:lnTo>
                      <a:pt x="493" y="465"/>
                    </a:lnTo>
                    <a:lnTo>
                      <a:pt x="498" y="442"/>
                    </a:lnTo>
                    <a:lnTo>
                      <a:pt x="529" y="417"/>
                    </a:lnTo>
                    <a:lnTo>
                      <a:pt x="523" y="407"/>
                    </a:lnTo>
                    <a:lnTo>
                      <a:pt x="486" y="414"/>
                    </a:lnTo>
                    <a:lnTo>
                      <a:pt x="488" y="395"/>
                    </a:lnTo>
                    <a:lnTo>
                      <a:pt x="520" y="387"/>
                    </a:lnTo>
                    <a:lnTo>
                      <a:pt x="527" y="355"/>
                    </a:lnTo>
                    <a:lnTo>
                      <a:pt x="533" y="350"/>
                    </a:lnTo>
                    <a:lnTo>
                      <a:pt x="538" y="303"/>
                    </a:lnTo>
                    <a:lnTo>
                      <a:pt x="610" y="183"/>
                    </a:lnTo>
                    <a:lnTo>
                      <a:pt x="614" y="151"/>
                    </a:lnTo>
                    <a:lnTo>
                      <a:pt x="603" y="71"/>
                    </a:lnTo>
                    <a:lnTo>
                      <a:pt x="631" y="11"/>
                    </a:lnTo>
                    <a:lnTo>
                      <a:pt x="625" y="0"/>
                    </a:lnTo>
                    <a:lnTo>
                      <a:pt x="508" y="48"/>
                    </a:lnTo>
                    <a:lnTo>
                      <a:pt x="436" y="108"/>
                    </a:lnTo>
                    <a:lnTo>
                      <a:pt x="418" y="146"/>
                    </a:lnTo>
                    <a:lnTo>
                      <a:pt x="371" y="174"/>
                    </a:lnTo>
                    <a:lnTo>
                      <a:pt x="202" y="181"/>
                    </a:lnTo>
                    <a:lnTo>
                      <a:pt x="161" y="212"/>
                    </a:lnTo>
                    <a:lnTo>
                      <a:pt x="44" y="444"/>
                    </a:lnTo>
                    <a:lnTo>
                      <a:pt x="23" y="607"/>
                    </a:lnTo>
                    <a:lnTo>
                      <a:pt x="31" y="649"/>
                    </a:lnTo>
                    <a:lnTo>
                      <a:pt x="0" y="772"/>
                    </a:lnTo>
                    <a:lnTo>
                      <a:pt x="20" y="774"/>
                    </a:lnTo>
                    <a:lnTo>
                      <a:pt x="36" y="767"/>
                    </a:lnTo>
                    <a:lnTo>
                      <a:pt x="71" y="797"/>
                    </a:lnTo>
                    <a:lnTo>
                      <a:pt x="94" y="831"/>
                    </a:lnTo>
                    <a:lnTo>
                      <a:pt x="107" y="874"/>
                    </a:lnTo>
                    <a:lnTo>
                      <a:pt x="86" y="1048"/>
                    </a:lnTo>
                  </a:path>
                </a:pathLst>
              </a:custGeom>
              <a:grpFill/>
              <a:ln w="6350">
                <a:noFill/>
                <a:round/>
                <a:headEnd/>
                <a:tailEnd/>
              </a:ln>
            </p:spPr>
            <p:txBody>
              <a:bodyPr/>
              <a:lstStyle/>
              <a:p>
                <a:pPr defTabSz="402174"/>
                <a:endParaRPr lang="en-GB" sz="1600" dirty="0">
                  <a:solidFill>
                    <a:srgbClr val="197AA0"/>
                  </a:solidFill>
                  <a:latin typeface="Calibri" pitchFamily="34" charset="0"/>
                </a:endParaRPr>
              </a:p>
            </p:txBody>
          </p:sp>
        </p:grpSp>
        <p:sp>
          <p:nvSpPr>
            <p:cNvPr id="332" name="Netherlands"/>
            <p:cNvSpPr>
              <a:spLocks/>
            </p:cNvSpPr>
            <p:nvPr/>
          </p:nvSpPr>
          <p:spPr bwMode="auto">
            <a:xfrm>
              <a:off x="5772628" y="2912400"/>
              <a:ext cx="403036" cy="413213"/>
            </a:xfrm>
            <a:custGeom>
              <a:avLst/>
              <a:gdLst>
                <a:gd name="T0" fmla="*/ 0 w 994"/>
                <a:gd name="T1" fmla="*/ 0 h 1022"/>
                <a:gd name="T2" fmla="*/ 0 w 994"/>
                <a:gd name="T3" fmla="*/ 0 h 1022"/>
                <a:gd name="T4" fmla="*/ 0 w 994"/>
                <a:gd name="T5" fmla="*/ 0 h 1022"/>
                <a:gd name="T6" fmla="*/ 0 w 994"/>
                <a:gd name="T7" fmla="*/ 0 h 1022"/>
                <a:gd name="T8" fmla="*/ 0 w 994"/>
                <a:gd name="T9" fmla="*/ 0 h 1022"/>
                <a:gd name="T10" fmla="*/ 0 w 994"/>
                <a:gd name="T11" fmla="*/ 0 h 1022"/>
                <a:gd name="T12" fmla="*/ 0 w 994"/>
                <a:gd name="T13" fmla="*/ 0 h 1022"/>
                <a:gd name="T14" fmla="*/ 0 w 994"/>
                <a:gd name="T15" fmla="*/ 0 h 1022"/>
                <a:gd name="T16" fmla="*/ 0 w 994"/>
                <a:gd name="T17" fmla="*/ 0 h 1022"/>
                <a:gd name="T18" fmla="*/ 0 w 994"/>
                <a:gd name="T19" fmla="*/ 0 h 1022"/>
                <a:gd name="T20" fmla="*/ 0 w 994"/>
                <a:gd name="T21" fmla="*/ 0 h 1022"/>
                <a:gd name="T22" fmla="*/ 0 w 994"/>
                <a:gd name="T23" fmla="*/ 0 h 1022"/>
                <a:gd name="T24" fmla="*/ 0 w 994"/>
                <a:gd name="T25" fmla="*/ 0 h 1022"/>
                <a:gd name="T26" fmla="*/ 0 w 994"/>
                <a:gd name="T27" fmla="*/ 0 h 1022"/>
                <a:gd name="T28" fmla="*/ 0 w 994"/>
                <a:gd name="T29" fmla="*/ 0 h 1022"/>
                <a:gd name="T30" fmla="*/ 0 w 994"/>
                <a:gd name="T31" fmla="*/ 0 h 1022"/>
                <a:gd name="T32" fmla="*/ 0 w 994"/>
                <a:gd name="T33" fmla="*/ 0 h 1022"/>
                <a:gd name="T34" fmla="*/ 0 w 994"/>
                <a:gd name="T35" fmla="*/ 0 h 1022"/>
                <a:gd name="T36" fmla="*/ 0 w 994"/>
                <a:gd name="T37" fmla="*/ 0 h 1022"/>
                <a:gd name="T38" fmla="*/ 0 w 994"/>
                <a:gd name="T39" fmla="*/ 0 h 1022"/>
                <a:gd name="T40" fmla="*/ 0 w 994"/>
                <a:gd name="T41" fmla="*/ 0 h 1022"/>
                <a:gd name="T42" fmla="*/ 0 w 994"/>
                <a:gd name="T43" fmla="*/ 0 h 1022"/>
                <a:gd name="T44" fmla="*/ 0 w 994"/>
                <a:gd name="T45" fmla="*/ 0 h 1022"/>
                <a:gd name="T46" fmla="*/ 0 w 994"/>
                <a:gd name="T47" fmla="*/ 0 h 1022"/>
                <a:gd name="T48" fmla="*/ 0 w 994"/>
                <a:gd name="T49" fmla="*/ 0 h 1022"/>
                <a:gd name="T50" fmla="*/ 0 w 994"/>
                <a:gd name="T51" fmla="*/ 0 h 1022"/>
                <a:gd name="T52" fmla="*/ 0 w 994"/>
                <a:gd name="T53" fmla="*/ 0 h 1022"/>
                <a:gd name="T54" fmla="*/ 0 w 994"/>
                <a:gd name="T55" fmla="*/ 0 h 1022"/>
                <a:gd name="T56" fmla="*/ 0 w 994"/>
                <a:gd name="T57" fmla="*/ 0 h 1022"/>
                <a:gd name="T58" fmla="*/ 0 w 994"/>
                <a:gd name="T59" fmla="*/ 0 h 1022"/>
                <a:gd name="T60" fmla="*/ 0 w 994"/>
                <a:gd name="T61" fmla="*/ 0 h 1022"/>
                <a:gd name="T62" fmla="*/ 0 w 994"/>
                <a:gd name="T63" fmla="*/ 0 h 1022"/>
                <a:gd name="T64" fmla="*/ 0 w 994"/>
                <a:gd name="T65" fmla="*/ 0 h 1022"/>
                <a:gd name="T66" fmla="*/ 0 w 994"/>
                <a:gd name="T67" fmla="*/ 0 h 1022"/>
                <a:gd name="T68" fmla="*/ 0 w 994"/>
                <a:gd name="T69" fmla="*/ 0 h 1022"/>
                <a:gd name="T70" fmla="*/ 0 w 994"/>
                <a:gd name="T71" fmla="*/ 0 h 1022"/>
                <a:gd name="T72" fmla="*/ 0 w 994"/>
                <a:gd name="T73" fmla="*/ 0 h 1022"/>
                <a:gd name="T74" fmla="*/ 0 w 994"/>
                <a:gd name="T75" fmla="*/ 0 h 1022"/>
                <a:gd name="T76" fmla="*/ 0 w 994"/>
                <a:gd name="T77" fmla="*/ 0 h 1022"/>
                <a:gd name="T78" fmla="*/ 0 w 994"/>
                <a:gd name="T79" fmla="*/ 0 h 1022"/>
                <a:gd name="T80" fmla="*/ 0 w 994"/>
                <a:gd name="T81" fmla="*/ 0 h 10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94"/>
                <a:gd name="T124" fmla="*/ 0 h 1022"/>
                <a:gd name="T125" fmla="*/ 994 w 994"/>
                <a:gd name="T126" fmla="*/ 1022 h 10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94" h="1022">
                  <a:moveTo>
                    <a:pt x="554" y="1022"/>
                  </a:moveTo>
                  <a:lnTo>
                    <a:pt x="503" y="1012"/>
                  </a:lnTo>
                  <a:lnTo>
                    <a:pt x="473" y="979"/>
                  </a:lnTo>
                  <a:lnTo>
                    <a:pt x="495" y="836"/>
                  </a:lnTo>
                  <a:lnTo>
                    <a:pt x="466" y="805"/>
                  </a:lnTo>
                  <a:lnTo>
                    <a:pt x="423" y="795"/>
                  </a:lnTo>
                  <a:lnTo>
                    <a:pt x="393" y="766"/>
                  </a:lnTo>
                  <a:lnTo>
                    <a:pt x="387" y="735"/>
                  </a:lnTo>
                  <a:lnTo>
                    <a:pt x="374" y="733"/>
                  </a:lnTo>
                  <a:lnTo>
                    <a:pt x="356" y="701"/>
                  </a:lnTo>
                  <a:lnTo>
                    <a:pt x="233" y="691"/>
                  </a:lnTo>
                  <a:lnTo>
                    <a:pt x="156" y="720"/>
                  </a:lnTo>
                  <a:lnTo>
                    <a:pt x="66" y="728"/>
                  </a:lnTo>
                  <a:lnTo>
                    <a:pt x="0" y="672"/>
                  </a:lnTo>
                  <a:lnTo>
                    <a:pt x="1" y="667"/>
                  </a:lnTo>
                  <a:lnTo>
                    <a:pt x="14" y="660"/>
                  </a:lnTo>
                  <a:lnTo>
                    <a:pt x="46" y="665"/>
                  </a:lnTo>
                  <a:lnTo>
                    <a:pt x="84" y="704"/>
                  </a:lnTo>
                  <a:lnTo>
                    <a:pt x="130" y="693"/>
                  </a:lnTo>
                  <a:lnTo>
                    <a:pt x="168" y="698"/>
                  </a:lnTo>
                  <a:lnTo>
                    <a:pt x="186" y="688"/>
                  </a:lnTo>
                  <a:lnTo>
                    <a:pt x="155" y="675"/>
                  </a:lnTo>
                  <a:lnTo>
                    <a:pt x="112" y="672"/>
                  </a:lnTo>
                  <a:lnTo>
                    <a:pt x="90" y="658"/>
                  </a:lnTo>
                  <a:lnTo>
                    <a:pt x="112" y="628"/>
                  </a:lnTo>
                  <a:lnTo>
                    <a:pt x="368" y="599"/>
                  </a:lnTo>
                  <a:lnTo>
                    <a:pt x="353" y="579"/>
                  </a:lnTo>
                  <a:lnTo>
                    <a:pt x="295" y="589"/>
                  </a:lnTo>
                  <a:lnTo>
                    <a:pt x="226" y="558"/>
                  </a:lnTo>
                  <a:lnTo>
                    <a:pt x="204" y="527"/>
                  </a:lnTo>
                  <a:lnTo>
                    <a:pt x="223" y="465"/>
                  </a:lnTo>
                  <a:lnTo>
                    <a:pt x="342" y="373"/>
                  </a:lnTo>
                  <a:lnTo>
                    <a:pt x="448" y="151"/>
                  </a:lnTo>
                  <a:lnTo>
                    <a:pt x="490" y="143"/>
                  </a:lnTo>
                  <a:lnTo>
                    <a:pt x="499" y="179"/>
                  </a:lnTo>
                  <a:lnTo>
                    <a:pt x="520" y="207"/>
                  </a:lnTo>
                  <a:lnTo>
                    <a:pt x="519" y="222"/>
                  </a:lnTo>
                  <a:lnTo>
                    <a:pt x="516" y="229"/>
                  </a:lnTo>
                  <a:lnTo>
                    <a:pt x="477" y="234"/>
                  </a:lnTo>
                  <a:lnTo>
                    <a:pt x="459" y="272"/>
                  </a:lnTo>
                  <a:lnTo>
                    <a:pt x="455" y="323"/>
                  </a:lnTo>
                  <a:lnTo>
                    <a:pt x="449" y="339"/>
                  </a:lnTo>
                  <a:lnTo>
                    <a:pt x="469" y="368"/>
                  </a:lnTo>
                  <a:lnTo>
                    <a:pt x="509" y="395"/>
                  </a:lnTo>
                  <a:lnTo>
                    <a:pt x="531" y="401"/>
                  </a:lnTo>
                  <a:lnTo>
                    <a:pt x="542" y="391"/>
                  </a:lnTo>
                  <a:lnTo>
                    <a:pt x="542" y="355"/>
                  </a:lnTo>
                  <a:lnTo>
                    <a:pt x="528" y="325"/>
                  </a:lnTo>
                  <a:lnTo>
                    <a:pt x="528" y="305"/>
                  </a:lnTo>
                  <a:lnTo>
                    <a:pt x="548" y="303"/>
                  </a:lnTo>
                  <a:lnTo>
                    <a:pt x="578" y="285"/>
                  </a:lnTo>
                  <a:lnTo>
                    <a:pt x="621" y="188"/>
                  </a:lnTo>
                  <a:lnTo>
                    <a:pt x="611" y="178"/>
                  </a:lnTo>
                  <a:lnTo>
                    <a:pt x="583" y="173"/>
                  </a:lnTo>
                  <a:lnTo>
                    <a:pt x="580" y="158"/>
                  </a:lnTo>
                  <a:lnTo>
                    <a:pt x="587" y="86"/>
                  </a:lnTo>
                  <a:lnTo>
                    <a:pt x="597" y="67"/>
                  </a:lnTo>
                  <a:lnTo>
                    <a:pt x="621" y="38"/>
                  </a:lnTo>
                  <a:lnTo>
                    <a:pt x="714" y="0"/>
                  </a:lnTo>
                  <a:lnTo>
                    <a:pt x="760" y="0"/>
                  </a:lnTo>
                  <a:lnTo>
                    <a:pt x="811" y="20"/>
                  </a:lnTo>
                  <a:lnTo>
                    <a:pt x="861" y="6"/>
                  </a:lnTo>
                  <a:lnTo>
                    <a:pt x="913" y="11"/>
                  </a:lnTo>
                  <a:lnTo>
                    <a:pt x="949" y="31"/>
                  </a:lnTo>
                  <a:lnTo>
                    <a:pt x="994" y="96"/>
                  </a:lnTo>
                  <a:lnTo>
                    <a:pt x="914" y="285"/>
                  </a:lnTo>
                  <a:lnTo>
                    <a:pt x="841" y="317"/>
                  </a:lnTo>
                  <a:lnTo>
                    <a:pt x="844" y="361"/>
                  </a:lnTo>
                  <a:lnTo>
                    <a:pt x="915" y="409"/>
                  </a:lnTo>
                  <a:lnTo>
                    <a:pt x="902" y="458"/>
                  </a:lnTo>
                  <a:lnTo>
                    <a:pt x="862" y="496"/>
                  </a:lnTo>
                  <a:lnTo>
                    <a:pt x="815" y="519"/>
                  </a:lnTo>
                  <a:lnTo>
                    <a:pt x="797" y="567"/>
                  </a:lnTo>
                  <a:lnTo>
                    <a:pt x="768" y="608"/>
                  </a:lnTo>
                  <a:lnTo>
                    <a:pt x="732" y="610"/>
                  </a:lnTo>
                  <a:lnTo>
                    <a:pt x="681" y="576"/>
                  </a:lnTo>
                  <a:lnTo>
                    <a:pt x="636" y="567"/>
                  </a:lnTo>
                  <a:lnTo>
                    <a:pt x="596" y="854"/>
                  </a:lnTo>
                  <a:lnTo>
                    <a:pt x="562" y="883"/>
                  </a:lnTo>
                  <a:lnTo>
                    <a:pt x="553" y="914"/>
                  </a:lnTo>
                  <a:lnTo>
                    <a:pt x="558" y="997"/>
                  </a:lnTo>
                  <a:lnTo>
                    <a:pt x="554" y="1022"/>
                  </a:lnTo>
                </a:path>
              </a:pathLst>
            </a:custGeom>
            <a:noFill/>
            <a:ln w="6350">
              <a:noFill/>
              <a:round/>
              <a:headEnd/>
              <a:tailEnd/>
            </a:ln>
          </p:spPr>
          <p:txBody>
            <a:bodyPr/>
            <a:lstStyle/>
            <a:p>
              <a:pPr defTabSz="402174"/>
              <a:endParaRPr lang="en-GB" sz="1600" dirty="0">
                <a:solidFill>
                  <a:srgbClr val="197AA0"/>
                </a:solidFill>
                <a:latin typeface="Calibri" pitchFamily="34" charset="0"/>
              </a:endParaRPr>
            </a:p>
          </p:txBody>
        </p:sp>
        <p:sp>
          <p:nvSpPr>
            <p:cNvPr id="333" name="Freeform 7"/>
            <p:cNvSpPr>
              <a:spLocks/>
            </p:cNvSpPr>
            <p:nvPr/>
          </p:nvSpPr>
          <p:spPr bwMode="auto">
            <a:xfrm>
              <a:off x="7078361" y="3641293"/>
              <a:ext cx="585661" cy="287362"/>
            </a:xfrm>
            <a:custGeom>
              <a:avLst/>
              <a:gdLst>
                <a:gd name="T0" fmla="*/ 0 w 1442"/>
                <a:gd name="T1" fmla="*/ 0 h 704"/>
                <a:gd name="T2" fmla="*/ 0 w 1442"/>
                <a:gd name="T3" fmla="*/ 0 h 704"/>
                <a:gd name="T4" fmla="*/ 0 w 1442"/>
                <a:gd name="T5" fmla="*/ 0 h 704"/>
                <a:gd name="T6" fmla="*/ 0 w 1442"/>
                <a:gd name="T7" fmla="*/ 0 h 704"/>
                <a:gd name="T8" fmla="*/ 0 w 1442"/>
                <a:gd name="T9" fmla="*/ 0 h 704"/>
                <a:gd name="T10" fmla="*/ 0 w 1442"/>
                <a:gd name="T11" fmla="*/ 0 h 704"/>
                <a:gd name="T12" fmla="*/ 0 w 1442"/>
                <a:gd name="T13" fmla="*/ 0 h 704"/>
                <a:gd name="T14" fmla="*/ 0 w 1442"/>
                <a:gd name="T15" fmla="*/ 0 h 704"/>
                <a:gd name="T16" fmla="*/ 0 w 1442"/>
                <a:gd name="T17" fmla="*/ 0 h 704"/>
                <a:gd name="T18" fmla="*/ 0 w 1442"/>
                <a:gd name="T19" fmla="*/ 0 h 704"/>
                <a:gd name="T20" fmla="*/ 0 w 1442"/>
                <a:gd name="T21" fmla="*/ 0 h 704"/>
                <a:gd name="T22" fmla="*/ 0 w 1442"/>
                <a:gd name="T23" fmla="*/ 0 h 704"/>
                <a:gd name="T24" fmla="*/ 0 w 1442"/>
                <a:gd name="T25" fmla="*/ 0 h 704"/>
                <a:gd name="T26" fmla="*/ 0 w 1442"/>
                <a:gd name="T27" fmla="*/ 0 h 704"/>
                <a:gd name="T28" fmla="*/ 0 w 1442"/>
                <a:gd name="T29" fmla="*/ 0 h 704"/>
                <a:gd name="T30" fmla="*/ 0 w 1442"/>
                <a:gd name="T31" fmla="*/ 0 h 704"/>
                <a:gd name="T32" fmla="*/ 0 w 1442"/>
                <a:gd name="T33" fmla="*/ 0 h 704"/>
                <a:gd name="T34" fmla="*/ 0 w 1442"/>
                <a:gd name="T35" fmla="*/ 0 h 704"/>
                <a:gd name="T36" fmla="*/ 0 w 1442"/>
                <a:gd name="T37" fmla="*/ 0 h 704"/>
                <a:gd name="T38" fmla="*/ 0 w 1442"/>
                <a:gd name="T39" fmla="*/ 0 h 704"/>
                <a:gd name="T40" fmla="*/ 0 w 1442"/>
                <a:gd name="T41" fmla="*/ 0 h 704"/>
                <a:gd name="T42" fmla="*/ 0 w 1442"/>
                <a:gd name="T43" fmla="*/ 0 h 704"/>
                <a:gd name="T44" fmla="*/ 0 w 1442"/>
                <a:gd name="T45" fmla="*/ 0 h 704"/>
                <a:gd name="T46" fmla="*/ 0 w 1442"/>
                <a:gd name="T47" fmla="*/ 0 h 704"/>
                <a:gd name="T48" fmla="*/ 0 w 1442"/>
                <a:gd name="T49" fmla="*/ 0 h 704"/>
                <a:gd name="T50" fmla="*/ 0 w 1442"/>
                <a:gd name="T51" fmla="*/ 0 h 704"/>
                <a:gd name="T52" fmla="*/ 0 w 1442"/>
                <a:gd name="T53" fmla="*/ 0 h 704"/>
                <a:gd name="T54" fmla="*/ 0 w 1442"/>
                <a:gd name="T55" fmla="*/ 0 h 704"/>
                <a:gd name="T56" fmla="*/ 0 w 1442"/>
                <a:gd name="T57" fmla="*/ 0 h 704"/>
                <a:gd name="T58" fmla="*/ 0 w 1442"/>
                <a:gd name="T59" fmla="*/ 0 h 704"/>
                <a:gd name="T60" fmla="*/ 0 w 1442"/>
                <a:gd name="T61" fmla="*/ 0 h 704"/>
                <a:gd name="T62" fmla="*/ 0 w 1442"/>
                <a:gd name="T63" fmla="*/ 0 h 704"/>
                <a:gd name="T64" fmla="*/ 0 w 1442"/>
                <a:gd name="T65" fmla="*/ 0 h 704"/>
                <a:gd name="T66" fmla="*/ 0 w 1442"/>
                <a:gd name="T67" fmla="*/ 0 h 704"/>
                <a:gd name="T68" fmla="*/ 0 w 1442"/>
                <a:gd name="T69" fmla="*/ 0 h 704"/>
                <a:gd name="T70" fmla="*/ 0 w 1442"/>
                <a:gd name="T71" fmla="*/ 0 h 704"/>
                <a:gd name="T72" fmla="*/ 0 w 1442"/>
                <a:gd name="T73" fmla="*/ 0 h 704"/>
                <a:gd name="T74" fmla="*/ 0 w 1442"/>
                <a:gd name="T75" fmla="*/ 0 h 704"/>
                <a:gd name="T76" fmla="*/ 0 w 1442"/>
                <a:gd name="T77" fmla="*/ 0 h 704"/>
                <a:gd name="T78" fmla="*/ 0 w 1442"/>
                <a:gd name="T79" fmla="*/ 0 h 704"/>
                <a:gd name="T80" fmla="*/ 0 w 1442"/>
                <a:gd name="T81" fmla="*/ 0 h 704"/>
                <a:gd name="T82" fmla="*/ 0 w 1442"/>
                <a:gd name="T83" fmla="*/ 0 h 70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42"/>
                <a:gd name="T127" fmla="*/ 0 h 704"/>
                <a:gd name="T128" fmla="*/ 1442 w 1442"/>
                <a:gd name="T129" fmla="*/ 704 h 70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42" h="704">
                  <a:moveTo>
                    <a:pt x="1364" y="448"/>
                  </a:moveTo>
                  <a:lnTo>
                    <a:pt x="1304" y="465"/>
                  </a:lnTo>
                  <a:lnTo>
                    <a:pt x="1224" y="414"/>
                  </a:lnTo>
                  <a:lnTo>
                    <a:pt x="1148" y="396"/>
                  </a:lnTo>
                  <a:lnTo>
                    <a:pt x="1092" y="409"/>
                  </a:lnTo>
                  <a:lnTo>
                    <a:pt x="1010" y="403"/>
                  </a:lnTo>
                  <a:lnTo>
                    <a:pt x="933" y="447"/>
                  </a:lnTo>
                  <a:lnTo>
                    <a:pt x="910" y="501"/>
                  </a:lnTo>
                  <a:lnTo>
                    <a:pt x="796" y="547"/>
                  </a:lnTo>
                  <a:lnTo>
                    <a:pt x="715" y="522"/>
                  </a:lnTo>
                  <a:lnTo>
                    <a:pt x="490" y="606"/>
                  </a:lnTo>
                  <a:lnTo>
                    <a:pt x="424" y="699"/>
                  </a:lnTo>
                  <a:lnTo>
                    <a:pt x="234" y="704"/>
                  </a:lnTo>
                  <a:lnTo>
                    <a:pt x="56" y="571"/>
                  </a:lnTo>
                  <a:lnTo>
                    <a:pt x="0" y="398"/>
                  </a:lnTo>
                  <a:lnTo>
                    <a:pt x="62" y="299"/>
                  </a:lnTo>
                  <a:lnTo>
                    <a:pt x="96" y="303"/>
                  </a:lnTo>
                  <a:lnTo>
                    <a:pt x="121" y="324"/>
                  </a:lnTo>
                  <a:lnTo>
                    <a:pt x="193" y="319"/>
                  </a:lnTo>
                  <a:lnTo>
                    <a:pt x="256" y="274"/>
                  </a:lnTo>
                  <a:lnTo>
                    <a:pt x="257" y="239"/>
                  </a:lnTo>
                  <a:lnTo>
                    <a:pt x="299" y="233"/>
                  </a:lnTo>
                  <a:lnTo>
                    <a:pt x="325" y="193"/>
                  </a:lnTo>
                  <a:lnTo>
                    <a:pt x="330" y="134"/>
                  </a:lnTo>
                  <a:lnTo>
                    <a:pt x="340" y="113"/>
                  </a:lnTo>
                  <a:lnTo>
                    <a:pt x="381" y="102"/>
                  </a:lnTo>
                  <a:lnTo>
                    <a:pt x="432" y="33"/>
                  </a:lnTo>
                  <a:lnTo>
                    <a:pt x="484" y="37"/>
                  </a:lnTo>
                  <a:lnTo>
                    <a:pt x="519" y="7"/>
                  </a:lnTo>
                  <a:lnTo>
                    <a:pt x="570" y="33"/>
                  </a:lnTo>
                  <a:lnTo>
                    <a:pt x="670" y="0"/>
                  </a:lnTo>
                  <a:lnTo>
                    <a:pt x="786" y="120"/>
                  </a:lnTo>
                  <a:lnTo>
                    <a:pt x="823" y="131"/>
                  </a:lnTo>
                  <a:lnTo>
                    <a:pt x="868" y="108"/>
                  </a:lnTo>
                  <a:lnTo>
                    <a:pt x="911" y="63"/>
                  </a:lnTo>
                  <a:lnTo>
                    <a:pt x="1001" y="63"/>
                  </a:lnTo>
                  <a:lnTo>
                    <a:pt x="1050" y="97"/>
                  </a:lnTo>
                  <a:lnTo>
                    <a:pt x="1131" y="47"/>
                  </a:lnTo>
                  <a:lnTo>
                    <a:pt x="1254" y="44"/>
                  </a:lnTo>
                  <a:lnTo>
                    <a:pt x="1396" y="151"/>
                  </a:lnTo>
                  <a:lnTo>
                    <a:pt x="1442" y="164"/>
                  </a:lnTo>
                  <a:lnTo>
                    <a:pt x="1364" y="448"/>
                  </a:lnTo>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34" name="Freeform 12"/>
            <p:cNvSpPr>
              <a:spLocks/>
            </p:cNvSpPr>
            <p:nvPr/>
          </p:nvSpPr>
          <p:spPr bwMode="auto">
            <a:xfrm>
              <a:off x="7470917" y="4794934"/>
              <a:ext cx="291781" cy="239119"/>
            </a:xfrm>
            <a:custGeom>
              <a:avLst/>
              <a:gdLst>
                <a:gd name="T0" fmla="*/ 0 w 719"/>
                <a:gd name="T1" fmla="*/ 0 h 584"/>
                <a:gd name="T2" fmla="*/ 0 w 719"/>
                <a:gd name="T3" fmla="*/ 0 h 584"/>
                <a:gd name="T4" fmla="*/ 0 w 719"/>
                <a:gd name="T5" fmla="*/ 0 h 584"/>
                <a:gd name="T6" fmla="*/ 0 w 719"/>
                <a:gd name="T7" fmla="*/ 0 h 584"/>
                <a:gd name="T8" fmla="*/ 0 w 719"/>
                <a:gd name="T9" fmla="*/ 0 h 584"/>
                <a:gd name="T10" fmla="*/ 0 w 719"/>
                <a:gd name="T11" fmla="*/ 0 h 584"/>
                <a:gd name="T12" fmla="*/ 0 w 719"/>
                <a:gd name="T13" fmla="*/ 0 h 584"/>
                <a:gd name="T14" fmla="*/ 0 w 719"/>
                <a:gd name="T15" fmla="*/ 0 h 584"/>
                <a:gd name="T16" fmla="*/ 0 w 719"/>
                <a:gd name="T17" fmla="*/ 0 h 584"/>
                <a:gd name="T18" fmla="*/ 0 w 719"/>
                <a:gd name="T19" fmla="*/ 0 h 584"/>
                <a:gd name="T20" fmla="*/ 0 w 719"/>
                <a:gd name="T21" fmla="*/ 0 h 584"/>
                <a:gd name="T22" fmla="*/ 0 w 719"/>
                <a:gd name="T23" fmla="*/ 0 h 584"/>
                <a:gd name="T24" fmla="*/ 0 w 719"/>
                <a:gd name="T25" fmla="*/ 0 h 584"/>
                <a:gd name="T26" fmla="*/ 0 w 719"/>
                <a:gd name="T27" fmla="*/ 0 h 584"/>
                <a:gd name="T28" fmla="*/ 0 w 719"/>
                <a:gd name="T29" fmla="*/ 0 h 584"/>
                <a:gd name="T30" fmla="*/ 0 w 719"/>
                <a:gd name="T31" fmla="*/ 0 h 584"/>
                <a:gd name="T32" fmla="*/ 0 w 719"/>
                <a:gd name="T33" fmla="*/ 0 h 584"/>
                <a:gd name="T34" fmla="*/ 0 w 719"/>
                <a:gd name="T35" fmla="*/ 0 h 584"/>
                <a:gd name="T36" fmla="*/ 0 w 719"/>
                <a:gd name="T37" fmla="*/ 0 h 584"/>
                <a:gd name="T38" fmla="*/ 0 w 719"/>
                <a:gd name="T39" fmla="*/ 0 h 584"/>
                <a:gd name="T40" fmla="*/ 0 w 719"/>
                <a:gd name="T41" fmla="*/ 0 h 584"/>
                <a:gd name="T42" fmla="*/ 0 w 719"/>
                <a:gd name="T43" fmla="*/ 0 h 584"/>
                <a:gd name="T44" fmla="*/ 0 w 719"/>
                <a:gd name="T45" fmla="*/ 0 h 584"/>
                <a:gd name="T46" fmla="*/ 0 w 719"/>
                <a:gd name="T47" fmla="*/ 0 h 584"/>
                <a:gd name="T48" fmla="*/ 0 w 719"/>
                <a:gd name="T49" fmla="*/ 0 h 584"/>
                <a:gd name="T50" fmla="*/ 0 w 719"/>
                <a:gd name="T51" fmla="*/ 0 h 584"/>
                <a:gd name="T52" fmla="*/ 0 w 719"/>
                <a:gd name="T53" fmla="*/ 0 h 5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19"/>
                <a:gd name="T82" fmla="*/ 0 h 584"/>
                <a:gd name="T83" fmla="*/ 719 w 719"/>
                <a:gd name="T84" fmla="*/ 584 h 5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19" h="584">
                  <a:moveTo>
                    <a:pt x="144" y="584"/>
                  </a:moveTo>
                  <a:lnTo>
                    <a:pt x="46" y="493"/>
                  </a:lnTo>
                  <a:lnTo>
                    <a:pt x="0" y="385"/>
                  </a:lnTo>
                  <a:lnTo>
                    <a:pt x="21" y="99"/>
                  </a:lnTo>
                  <a:lnTo>
                    <a:pt x="32" y="108"/>
                  </a:lnTo>
                  <a:lnTo>
                    <a:pt x="53" y="109"/>
                  </a:lnTo>
                  <a:lnTo>
                    <a:pt x="73" y="94"/>
                  </a:lnTo>
                  <a:lnTo>
                    <a:pt x="78" y="47"/>
                  </a:lnTo>
                  <a:lnTo>
                    <a:pt x="167" y="18"/>
                  </a:lnTo>
                  <a:lnTo>
                    <a:pt x="185" y="21"/>
                  </a:lnTo>
                  <a:lnTo>
                    <a:pt x="218" y="58"/>
                  </a:lnTo>
                  <a:lnTo>
                    <a:pt x="232" y="56"/>
                  </a:lnTo>
                  <a:lnTo>
                    <a:pt x="233" y="34"/>
                  </a:lnTo>
                  <a:lnTo>
                    <a:pt x="274" y="8"/>
                  </a:lnTo>
                  <a:lnTo>
                    <a:pt x="359" y="23"/>
                  </a:lnTo>
                  <a:lnTo>
                    <a:pt x="378" y="0"/>
                  </a:lnTo>
                  <a:lnTo>
                    <a:pt x="458" y="13"/>
                  </a:lnTo>
                  <a:lnTo>
                    <a:pt x="513" y="4"/>
                  </a:lnTo>
                  <a:lnTo>
                    <a:pt x="547" y="18"/>
                  </a:lnTo>
                  <a:lnTo>
                    <a:pt x="673" y="117"/>
                  </a:lnTo>
                  <a:lnTo>
                    <a:pt x="719" y="365"/>
                  </a:lnTo>
                  <a:lnTo>
                    <a:pt x="683" y="377"/>
                  </a:lnTo>
                  <a:lnTo>
                    <a:pt x="606" y="452"/>
                  </a:lnTo>
                  <a:lnTo>
                    <a:pt x="495" y="456"/>
                  </a:lnTo>
                  <a:lnTo>
                    <a:pt x="398" y="496"/>
                  </a:lnTo>
                  <a:lnTo>
                    <a:pt x="338" y="554"/>
                  </a:lnTo>
                  <a:lnTo>
                    <a:pt x="144" y="584"/>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nvGrpSpPr>
            <p:cNvPr id="335" name="Group 551"/>
            <p:cNvGrpSpPr/>
            <p:nvPr/>
          </p:nvGrpSpPr>
          <p:grpSpPr>
            <a:xfrm>
              <a:off x="7562942" y="2003122"/>
              <a:ext cx="541580" cy="327214"/>
              <a:chOff x="11776653" y="1616962"/>
              <a:chExt cx="350255" cy="211619"/>
            </a:xfrm>
            <a:noFill/>
          </p:grpSpPr>
          <p:sp>
            <p:nvSpPr>
              <p:cNvPr id="579" name="Freeform 16"/>
              <p:cNvSpPr>
                <a:spLocks/>
              </p:cNvSpPr>
              <p:nvPr/>
            </p:nvSpPr>
            <p:spPr bwMode="auto">
              <a:xfrm>
                <a:off x="11776653" y="1734981"/>
                <a:ext cx="74667" cy="69183"/>
              </a:xfrm>
              <a:custGeom>
                <a:avLst/>
                <a:gdLst>
                  <a:gd name="T0" fmla="*/ 0 w 283"/>
                  <a:gd name="T1" fmla="*/ 0 h 266"/>
                  <a:gd name="T2" fmla="*/ 0 w 283"/>
                  <a:gd name="T3" fmla="*/ 0 h 266"/>
                  <a:gd name="T4" fmla="*/ 0 w 283"/>
                  <a:gd name="T5" fmla="*/ 0 h 266"/>
                  <a:gd name="T6" fmla="*/ 0 w 283"/>
                  <a:gd name="T7" fmla="*/ 0 h 266"/>
                  <a:gd name="T8" fmla="*/ 0 w 283"/>
                  <a:gd name="T9" fmla="*/ 0 h 266"/>
                  <a:gd name="T10" fmla="*/ 0 w 283"/>
                  <a:gd name="T11" fmla="*/ 0 h 266"/>
                  <a:gd name="T12" fmla="*/ 0 w 283"/>
                  <a:gd name="T13" fmla="*/ 0 h 266"/>
                  <a:gd name="T14" fmla="*/ 0 w 283"/>
                  <a:gd name="T15" fmla="*/ 0 h 266"/>
                  <a:gd name="T16" fmla="*/ 0 w 283"/>
                  <a:gd name="T17" fmla="*/ 0 h 266"/>
                  <a:gd name="T18" fmla="*/ 0 w 283"/>
                  <a:gd name="T19" fmla="*/ 0 h 266"/>
                  <a:gd name="T20" fmla="*/ 0 w 283"/>
                  <a:gd name="T21" fmla="*/ 0 h 266"/>
                  <a:gd name="T22" fmla="*/ 0 w 283"/>
                  <a:gd name="T23" fmla="*/ 0 h 266"/>
                  <a:gd name="T24" fmla="*/ 0 w 283"/>
                  <a:gd name="T25" fmla="*/ 0 h 266"/>
                  <a:gd name="T26" fmla="*/ 0 w 283"/>
                  <a:gd name="T27" fmla="*/ 0 h 266"/>
                  <a:gd name="T28" fmla="*/ 0 w 283"/>
                  <a:gd name="T29" fmla="*/ 0 h 266"/>
                  <a:gd name="T30" fmla="*/ 0 w 283"/>
                  <a:gd name="T31" fmla="*/ 0 h 266"/>
                  <a:gd name="T32" fmla="*/ 0 w 283"/>
                  <a:gd name="T33" fmla="*/ 0 h 266"/>
                  <a:gd name="T34" fmla="*/ 0 w 283"/>
                  <a:gd name="T35" fmla="*/ 0 h 266"/>
                  <a:gd name="T36" fmla="*/ 0 w 283"/>
                  <a:gd name="T37" fmla="*/ 0 h 266"/>
                  <a:gd name="T38" fmla="*/ 0 w 283"/>
                  <a:gd name="T39" fmla="*/ 0 h 266"/>
                  <a:gd name="T40" fmla="*/ 0 w 283"/>
                  <a:gd name="T41" fmla="*/ 0 h 266"/>
                  <a:gd name="T42" fmla="*/ 0 w 283"/>
                  <a:gd name="T43" fmla="*/ 0 h 266"/>
                  <a:gd name="T44" fmla="*/ 0 w 283"/>
                  <a:gd name="T45" fmla="*/ 0 h 266"/>
                  <a:gd name="T46" fmla="*/ 0 w 283"/>
                  <a:gd name="T47" fmla="*/ 0 h 266"/>
                  <a:gd name="T48" fmla="*/ 0 w 283"/>
                  <a:gd name="T49" fmla="*/ 0 h 2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3"/>
                  <a:gd name="T76" fmla="*/ 0 h 266"/>
                  <a:gd name="T77" fmla="*/ 283 w 283"/>
                  <a:gd name="T78" fmla="*/ 266 h 2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3" h="266">
                    <a:moveTo>
                      <a:pt x="229" y="0"/>
                    </a:moveTo>
                    <a:lnTo>
                      <a:pt x="97" y="7"/>
                    </a:lnTo>
                    <a:lnTo>
                      <a:pt x="76" y="49"/>
                    </a:lnTo>
                    <a:lnTo>
                      <a:pt x="55" y="44"/>
                    </a:lnTo>
                    <a:lnTo>
                      <a:pt x="34" y="59"/>
                    </a:lnTo>
                    <a:lnTo>
                      <a:pt x="0" y="47"/>
                    </a:lnTo>
                    <a:lnTo>
                      <a:pt x="2" y="135"/>
                    </a:lnTo>
                    <a:lnTo>
                      <a:pt x="29" y="165"/>
                    </a:lnTo>
                    <a:lnTo>
                      <a:pt x="50" y="175"/>
                    </a:lnTo>
                    <a:lnTo>
                      <a:pt x="53" y="203"/>
                    </a:lnTo>
                    <a:lnTo>
                      <a:pt x="33" y="239"/>
                    </a:lnTo>
                    <a:lnTo>
                      <a:pt x="31" y="266"/>
                    </a:lnTo>
                    <a:lnTo>
                      <a:pt x="87" y="174"/>
                    </a:lnTo>
                    <a:lnTo>
                      <a:pt x="99" y="130"/>
                    </a:lnTo>
                    <a:lnTo>
                      <a:pt x="143" y="145"/>
                    </a:lnTo>
                    <a:lnTo>
                      <a:pt x="162" y="144"/>
                    </a:lnTo>
                    <a:lnTo>
                      <a:pt x="179" y="137"/>
                    </a:lnTo>
                    <a:lnTo>
                      <a:pt x="194" y="109"/>
                    </a:lnTo>
                    <a:lnTo>
                      <a:pt x="233" y="88"/>
                    </a:lnTo>
                    <a:lnTo>
                      <a:pt x="250" y="65"/>
                    </a:lnTo>
                    <a:lnTo>
                      <a:pt x="283" y="59"/>
                    </a:lnTo>
                    <a:lnTo>
                      <a:pt x="277" y="44"/>
                    </a:lnTo>
                    <a:lnTo>
                      <a:pt x="241" y="12"/>
                    </a:lnTo>
                    <a:lnTo>
                      <a:pt x="229" y="7"/>
                    </a:lnTo>
                    <a:lnTo>
                      <a:pt x="229" y="0"/>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80" name="Freeform 17"/>
              <p:cNvSpPr>
                <a:spLocks/>
              </p:cNvSpPr>
              <p:nvPr/>
            </p:nvSpPr>
            <p:spPr bwMode="auto">
              <a:xfrm>
                <a:off x="11776653" y="1734981"/>
                <a:ext cx="74667" cy="69183"/>
              </a:xfrm>
              <a:custGeom>
                <a:avLst/>
                <a:gdLst>
                  <a:gd name="T0" fmla="*/ 0 w 283"/>
                  <a:gd name="T1" fmla="*/ 0 h 266"/>
                  <a:gd name="T2" fmla="*/ 0 w 283"/>
                  <a:gd name="T3" fmla="*/ 0 h 266"/>
                  <a:gd name="T4" fmla="*/ 0 w 283"/>
                  <a:gd name="T5" fmla="*/ 0 h 266"/>
                  <a:gd name="T6" fmla="*/ 0 w 283"/>
                  <a:gd name="T7" fmla="*/ 0 h 266"/>
                  <a:gd name="T8" fmla="*/ 0 w 283"/>
                  <a:gd name="T9" fmla="*/ 0 h 266"/>
                  <a:gd name="T10" fmla="*/ 0 w 283"/>
                  <a:gd name="T11" fmla="*/ 0 h 266"/>
                  <a:gd name="T12" fmla="*/ 0 w 283"/>
                  <a:gd name="T13" fmla="*/ 0 h 266"/>
                  <a:gd name="T14" fmla="*/ 0 w 283"/>
                  <a:gd name="T15" fmla="*/ 0 h 266"/>
                  <a:gd name="T16" fmla="*/ 0 w 283"/>
                  <a:gd name="T17" fmla="*/ 0 h 266"/>
                  <a:gd name="T18" fmla="*/ 0 w 283"/>
                  <a:gd name="T19" fmla="*/ 0 h 266"/>
                  <a:gd name="T20" fmla="*/ 0 w 283"/>
                  <a:gd name="T21" fmla="*/ 0 h 266"/>
                  <a:gd name="T22" fmla="*/ 0 w 283"/>
                  <a:gd name="T23" fmla="*/ 0 h 266"/>
                  <a:gd name="T24" fmla="*/ 0 w 283"/>
                  <a:gd name="T25" fmla="*/ 0 h 266"/>
                  <a:gd name="T26" fmla="*/ 0 w 283"/>
                  <a:gd name="T27" fmla="*/ 0 h 266"/>
                  <a:gd name="T28" fmla="*/ 0 w 283"/>
                  <a:gd name="T29" fmla="*/ 0 h 266"/>
                  <a:gd name="T30" fmla="*/ 0 w 283"/>
                  <a:gd name="T31" fmla="*/ 0 h 266"/>
                  <a:gd name="T32" fmla="*/ 0 w 283"/>
                  <a:gd name="T33" fmla="*/ 0 h 266"/>
                  <a:gd name="T34" fmla="*/ 0 w 283"/>
                  <a:gd name="T35" fmla="*/ 0 h 266"/>
                  <a:gd name="T36" fmla="*/ 0 w 283"/>
                  <a:gd name="T37" fmla="*/ 0 h 266"/>
                  <a:gd name="T38" fmla="*/ 0 w 283"/>
                  <a:gd name="T39" fmla="*/ 0 h 266"/>
                  <a:gd name="T40" fmla="*/ 0 w 283"/>
                  <a:gd name="T41" fmla="*/ 0 h 266"/>
                  <a:gd name="T42" fmla="*/ 0 w 283"/>
                  <a:gd name="T43" fmla="*/ 0 h 266"/>
                  <a:gd name="T44" fmla="*/ 0 w 283"/>
                  <a:gd name="T45" fmla="*/ 0 h 266"/>
                  <a:gd name="T46" fmla="*/ 0 w 283"/>
                  <a:gd name="T47" fmla="*/ 0 h 266"/>
                  <a:gd name="T48" fmla="*/ 0 w 283"/>
                  <a:gd name="T49" fmla="*/ 0 h 2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3"/>
                  <a:gd name="T76" fmla="*/ 0 h 266"/>
                  <a:gd name="T77" fmla="*/ 283 w 283"/>
                  <a:gd name="T78" fmla="*/ 266 h 2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3" h="266">
                    <a:moveTo>
                      <a:pt x="229" y="0"/>
                    </a:moveTo>
                    <a:lnTo>
                      <a:pt x="97" y="7"/>
                    </a:lnTo>
                    <a:lnTo>
                      <a:pt x="76" y="49"/>
                    </a:lnTo>
                    <a:lnTo>
                      <a:pt x="55" y="44"/>
                    </a:lnTo>
                    <a:lnTo>
                      <a:pt x="34" y="59"/>
                    </a:lnTo>
                    <a:lnTo>
                      <a:pt x="0" y="47"/>
                    </a:lnTo>
                    <a:lnTo>
                      <a:pt x="2" y="135"/>
                    </a:lnTo>
                    <a:lnTo>
                      <a:pt x="29" y="165"/>
                    </a:lnTo>
                    <a:lnTo>
                      <a:pt x="50" y="175"/>
                    </a:lnTo>
                    <a:lnTo>
                      <a:pt x="53" y="203"/>
                    </a:lnTo>
                    <a:lnTo>
                      <a:pt x="33" y="239"/>
                    </a:lnTo>
                    <a:lnTo>
                      <a:pt x="31" y="266"/>
                    </a:lnTo>
                    <a:lnTo>
                      <a:pt x="87" y="174"/>
                    </a:lnTo>
                    <a:lnTo>
                      <a:pt x="99" y="130"/>
                    </a:lnTo>
                    <a:lnTo>
                      <a:pt x="143" y="145"/>
                    </a:lnTo>
                    <a:lnTo>
                      <a:pt x="162" y="144"/>
                    </a:lnTo>
                    <a:lnTo>
                      <a:pt x="179" y="137"/>
                    </a:lnTo>
                    <a:lnTo>
                      <a:pt x="194" y="109"/>
                    </a:lnTo>
                    <a:lnTo>
                      <a:pt x="233" y="88"/>
                    </a:lnTo>
                    <a:lnTo>
                      <a:pt x="250" y="65"/>
                    </a:lnTo>
                    <a:lnTo>
                      <a:pt x="283" y="59"/>
                    </a:lnTo>
                    <a:lnTo>
                      <a:pt x="277" y="44"/>
                    </a:lnTo>
                    <a:lnTo>
                      <a:pt x="241" y="12"/>
                    </a:lnTo>
                    <a:lnTo>
                      <a:pt x="229" y="7"/>
                    </a:lnTo>
                    <a:lnTo>
                      <a:pt x="229" y="0"/>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81" name="Freeform 18"/>
              <p:cNvSpPr>
                <a:spLocks/>
              </p:cNvSpPr>
              <p:nvPr/>
            </p:nvSpPr>
            <p:spPr bwMode="auto">
              <a:xfrm>
                <a:off x="11784798" y="1687502"/>
                <a:ext cx="50230" cy="37983"/>
              </a:xfrm>
              <a:custGeom>
                <a:avLst/>
                <a:gdLst>
                  <a:gd name="T0" fmla="*/ 0 w 189"/>
                  <a:gd name="T1" fmla="*/ 0 h 148"/>
                  <a:gd name="T2" fmla="*/ 0 w 189"/>
                  <a:gd name="T3" fmla="*/ 0 h 148"/>
                  <a:gd name="T4" fmla="*/ 0 w 189"/>
                  <a:gd name="T5" fmla="*/ 0 h 148"/>
                  <a:gd name="T6" fmla="*/ 0 w 189"/>
                  <a:gd name="T7" fmla="*/ 0 h 148"/>
                  <a:gd name="T8" fmla="*/ 0 w 189"/>
                  <a:gd name="T9" fmla="*/ 0 h 148"/>
                  <a:gd name="T10" fmla="*/ 0 w 189"/>
                  <a:gd name="T11" fmla="*/ 0 h 148"/>
                  <a:gd name="T12" fmla="*/ 0 w 189"/>
                  <a:gd name="T13" fmla="*/ 0 h 148"/>
                  <a:gd name="T14" fmla="*/ 0 w 189"/>
                  <a:gd name="T15" fmla="*/ 0 h 148"/>
                  <a:gd name="T16" fmla="*/ 0 w 189"/>
                  <a:gd name="T17" fmla="*/ 0 h 148"/>
                  <a:gd name="T18" fmla="*/ 0 w 189"/>
                  <a:gd name="T19" fmla="*/ 0 h 148"/>
                  <a:gd name="T20" fmla="*/ 0 w 189"/>
                  <a:gd name="T21" fmla="*/ 0 h 148"/>
                  <a:gd name="T22" fmla="*/ 0 w 189"/>
                  <a:gd name="T23" fmla="*/ 0 h 148"/>
                  <a:gd name="T24" fmla="*/ 0 w 189"/>
                  <a:gd name="T25" fmla="*/ 0 h 148"/>
                  <a:gd name="T26" fmla="*/ 0 w 189"/>
                  <a:gd name="T27" fmla="*/ 0 h 148"/>
                  <a:gd name="T28" fmla="*/ 0 w 189"/>
                  <a:gd name="T29" fmla="*/ 0 h 148"/>
                  <a:gd name="T30" fmla="*/ 0 w 189"/>
                  <a:gd name="T31" fmla="*/ 0 h 1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9"/>
                  <a:gd name="T49" fmla="*/ 0 h 148"/>
                  <a:gd name="T50" fmla="*/ 189 w 189"/>
                  <a:gd name="T51" fmla="*/ 148 h 1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9" h="148">
                    <a:moveTo>
                      <a:pt x="62" y="56"/>
                    </a:moveTo>
                    <a:lnTo>
                      <a:pt x="13" y="63"/>
                    </a:lnTo>
                    <a:lnTo>
                      <a:pt x="0" y="76"/>
                    </a:lnTo>
                    <a:lnTo>
                      <a:pt x="14" y="85"/>
                    </a:lnTo>
                    <a:lnTo>
                      <a:pt x="47" y="83"/>
                    </a:lnTo>
                    <a:lnTo>
                      <a:pt x="80" y="148"/>
                    </a:lnTo>
                    <a:lnTo>
                      <a:pt x="106" y="145"/>
                    </a:lnTo>
                    <a:lnTo>
                      <a:pt x="122" y="110"/>
                    </a:lnTo>
                    <a:lnTo>
                      <a:pt x="189" y="85"/>
                    </a:lnTo>
                    <a:lnTo>
                      <a:pt x="186" y="49"/>
                    </a:lnTo>
                    <a:lnTo>
                      <a:pt x="166" y="29"/>
                    </a:lnTo>
                    <a:lnTo>
                      <a:pt x="142" y="22"/>
                    </a:lnTo>
                    <a:lnTo>
                      <a:pt x="122" y="5"/>
                    </a:lnTo>
                    <a:lnTo>
                      <a:pt x="101" y="0"/>
                    </a:lnTo>
                    <a:lnTo>
                      <a:pt x="82" y="41"/>
                    </a:lnTo>
                    <a:lnTo>
                      <a:pt x="62" y="56"/>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82" name="Freeform 19"/>
              <p:cNvSpPr>
                <a:spLocks/>
              </p:cNvSpPr>
              <p:nvPr/>
            </p:nvSpPr>
            <p:spPr bwMode="auto">
              <a:xfrm>
                <a:off x="11784798" y="1687502"/>
                <a:ext cx="50230" cy="37983"/>
              </a:xfrm>
              <a:custGeom>
                <a:avLst/>
                <a:gdLst>
                  <a:gd name="T0" fmla="*/ 0 w 189"/>
                  <a:gd name="T1" fmla="*/ 0 h 148"/>
                  <a:gd name="T2" fmla="*/ 0 w 189"/>
                  <a:gd name="T3" fmla="*/ 0 h 148"/>
                  <a:gd name="T4" fmla="*/ 0 w 189"/>
                  <a:gd name="T5" fmla="*/ 0 h 148"/>
                  <a:gd name="T6" fmla="*/ 0 w 189"/>
                  <a:gd name="T7" fmla="*/ 0 h 148"/>
                  <a:gd name="T8" fmla="*/ 0 w 189"/>
                  <a:gd name="T9" fmla="*/ 0 h 148"/>
                  <a:gd name="T10" fmla="*/ 0 w 189"/>
                  <a:gd name="T11" fmla="*/ 0 h 148"/>
                  <a:gd name="T12" fmla="*/ 0 w 189"/>
                  <a:gd name="T13" fmla="*/ 0 h 148"/>
                  <a:gd name="T14" fmla="*/ 0 w 189"/>
                  <a:gd name="T15" fmla="*/ 0 h 148"/>
                  <a:gd name="T16" fmla="*/ 0 w 189"/>
                  <a:gd name="T17" fmla="*/ 0 h 148"/>
                  <a:gd name="T18" fmla="*/ 0 w 189"/>
                  <a:gd name="T19" fmla="*/ 0 h 148"/>
                  <a:gd name="T20" fmla="*/ 0 w 189"/>
                  <a:gd name="T21" fmla="*/ 0 h 148"/>
                  <a:gd name="T22" fmla="*/ 0 w 189"/>
                  <a:gd name="T23" fmla="*/ 0 h 148"/>
                  <a:gd name="T24" fmla="*/ 0 w 189"/>
                  <a:gd name="T25" fmla="*/ 0 h 148"/>
                  <a:gd name="T26" fmla="*/ 0 w 189"/>
                  <a:gd name="T27" fmla="*/ 0 h 148"/>
                  <a:gd name="T28" fmla="*/ 0 w 189"/>
                  <a:gd name="T29" fmla="*/ 0 h 148"/>
                  <a:gd name="T30" fmla="*/ 0 w 189"/>
                  <a:gd name="T31" fmla="*/ 0 h 1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9"/>
                  <a:gd name="T49" fmla="*/ 0 h 148"/>
                  <a:gd name="T50" fmla="*/ 189 w 189"/>
                  <a:gd name="T51" fmla="*/ 148 h 1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9" h="148">
                    <a:moveTo>
                      <a:pt x="62" y="56"/>
                    </a:moveTo>
                    <a:lnTo>
                      <a:pt x="13" y="63"/>
                    </a:lnTo>
                    <a:lnTo>
                      <a:pt x="0" y="76"/>
                    </a:lnTo>
                    <a:lnTo>
                      <a:pt x="14" y="85"/>
                    </a:lnTo>
                    <a:lnTo>
                      <a:pt x="47" y="83"/>
                    </a:lnTo>
                    <a:lnTo>
                      <a:pt x="80" y="148"/>
                    </a:lnTo>
                    <a:lnTo>
                      <a:pt x="106" y="145"/>
                    </a:lnTo>
                    <a:lnTo>
                      <a:pt x="122" y="110"/>
                    </a:lnTo>
                    <a:lnTo>
                      <a:pt x="189" y="85"/>
                    </a:lnTo>
                    <a:lnTo>
                      <a:pt x="186" y="49"/>
                    </a:lnTo>
                    <a:lnTo>
                      <a:pt x="166" y="29"/>
                    </a:lnTo>
                    <a:lnTo>
                      <a:pt x="142" y="22"/>
                    </a:lnTo>
                    <a:lnTo>
                      <a:pt x="122" y="5"/>
                    </a:lnTo>
                    <a:lnTo>
                      <a:pt x="101" y="0"/>
                    </a:lnTo>
                    <a:lnTo>
                      <a:pt x="82" y="41"/>
                    </a:lnTo>
                    <a:lnTo>
                      <a:pt x="62" y="56"/>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83" name="Freeform 21"/>
              <p:cNvSpPr>
                <a:spLocks/>
              </p:cNvSpPr>
              <p:nvPr/>
            </p:nvSpPr>
            <p:spPr bwMode="auto">
              <a:xfrm>
                <a:off x="11859465" y="1616962"/>
                <a:ext cx="267443" cy="211619"/>
              </a:xfrm>
              <a:custGeom>
                <a:avLst/>
                <a:gdLst>
                  <a:gd name="T0" fmla="*/ 0 w 1020"/>
                  <a:gd name="T1" fmla="*/ 0 h 804"/>
                  <a:gd name="T2" fmla="*/ 0 w 1020"/>
                  <a:gd name="T3" fmla="*/ 0 h 804"/>
                  <a:gd name="T4" fmla="*/ 0 w 1020"/>
                  <a:gd name="T5" fmla="*/ 0 h 804"/>
                  <a:gd name="T6" fmla="*/ 0 w 1020"/>
                  <a:gd name="T7" fmla="*/ 0 h 804"/>
                  <a:gd name="T8" fmla="*/ 0 w 1020"/>
                  <a:gd name="T9" fmla="*/ 0 h 804"/>
                  <a:gd name="T10" fmla="*/ 0 w 1020"/>
                  <a:gd name="T11" fmla="*/ 0 h 804"/>
                  <a:gd name="T12" fmla="*/ 0 w 1020"/>
                  <a:gd name="T13" fmla="*/ 0 h 804"/>
                  <a:gd name="T14" fmla="*/ 0 w 1020"/>
                  <a:gd name="T15" fmla="*/ 0 h 804"/>
                  <a:gd name="T16" fmla="*/ 0 w 1020"/>
                  <a:gd name="T17" fmla="*/ 0 h 804"/>
                  <a:gd name="T18" fmla="*/ 0 w 1020"/>
                  <a:gd name="T19" fmla="*/ 0 h 804"/>
                  <a:gd name="T20" fmla="*/ 0 w 1020"/>
                  <a:gd name="T21" fmla="*/ 0 h 804"/>
                  <a:gd name="T22" fmla="*/ 0 w 1020"/>
                  <a:gd name="T23" fmla="*/ 0 h 804"/>
                  <a:gd name="T24" fmla="*/ 0 w 1020"/>
                  <a:gd name="T25" fmla="*/ 0 h 804"/>
                  <a:gd name="T26" fmla="*/ 0 w 1020"/>
                  <a:gd name="T27" fmla="*/ 0 h 804"/>
                  <a:gd name="T28" fmla="*/ 0 w 1020"/>
                  <a:gd name="T29" fmla="*/ 0 h 804"/>
                  <a:gd name="T30" fmla="*/ 0 w 1020"/>
                  <a:gd name="T31" fmla="*/ 0 h 804"/>
                  <a:gd name="T32" fmla="*/ 0 w 1020"/>
                  <a:gd name="T33" fmla="*/ 0 h 804"/>
                  <a:gd name="T34" fmla="*/ 0 w 1020"/>
                  <a:gd name="T35" fmla="*/ 0 h 804"/>
                  <a:gd name="T36" fmla="*/ 0 w 1020"/>
                  <a:gd name="T37" fmla="*/ 0 h 804"/>
                  <a:gd name="T38" fmla="*/ 0 w 1020"/>
                  <a:gd name="T39" fmla="*/ 0 h 804"/>
                  <a:gd name="T40" fmla="*/ 0 w 1020"/>
                  <a:gd name="T41" fmla="*/ 0 h 804"/>
                  <a:gd name="T42" fmla="*/ 0 w 1020"/>
                  <a:gd name="T43" fmla="*/ 0 h 804"/>
                  <a:gd name="T44" fmla="*/ 0 w 1020"/>
                  <a:gd name="T45" fmla="*/ 0 h 804"/>
                  <a:gd name="T46" fmla="*/ 0 w 1020"/>
                  <a:gd name="T47" fmla="*/ 0 h 804"/>
                  <a:gd name="T48" fmla="*/ 0 w 1020"/>
                  <a:gd name="T49" fmla="*/ 0 h 804"/>
                  <a:gd name="T50" fmla="*/ 0 w 1020"/>
                  <a:gd name="T51" fmla="*/ 0 h 804"/>
                  <a:gd name="T52" fmla="*/ 0 w 1020"/>
                  <a:gd name="T53" fmla="*/ 0 h 804"/>
                  <a:gd name="T54" fmla="*/ 0 w 1020"/>
                  <a:gd name="T55" fmla="*/ 0 h 804"/>
                  <a:gd name="T56" fmla="*/ 0 w 1020"/>
                  <a:gd name="T57" fmla="*/ 0 h 804"/>
                  <a:gd name="T58" fmla="*/ 0 w 1020"/>
                  <a:gd name="T59" fmla="*/ 0 h 804"/>
                  <a:gd name="T60" fmla="*/ 0 w 1020"/>
                  <a:gd name="T61" fmla="*/ 0 h 804"/>
                  <a:gd name="T62" fmla="*/ 0 w 1020"/>
                  <a:gd name="T63" fmla="*/ 0 h 804"/>
                  <a:gd name="T64" fmla="*/ 0 w 1020"/>
                  <a:gd name="T65" fmla="*/ 0 h 804"/>
                  <a:gd name="T66" fmla="*/ 0 w 1020"/>
                  <a:gd name="T67" fmla="*/ 0 h 804"/>
                  <a:gd name="T68" fmla="*/ 0 w 1020"/>
                  <a:gd name="T69" fmla="*/ 0 h 804"/>
                  <a:gd name="T70" fmla="*/ 0 w 1020"/>
                  <a:gd name="T71" fmla="*/ 0 h 804"/>
                  <a:gd name="T72" fmla="*/ 0 w 1020"/>
                  <a:gd name="T73" fmla="*/ 0 h 804"/>
                  <a:gd name="T74" fmla="*/ 0 w 1020"/>
                  <a:gd name="T75" fmla="*/ 0 h 804"/>
                  <a:gd name="T76" fmla="*/ 0 w 1020"/>
                  <a:gd name="T77" fmla="*/ 0 h 8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20"/>
                  <a:gd name="T118" fmla="*/ 0 h 804"/>
                  <a:gd name="T119" fmla="*/ 1020 w 1020"/>
                  <a:gd name="T120" fmla="*/ 804 h 8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20" h="804">
                    <a:moveTo>
                      <a:pt x="430" y="19"/>
                    </a:moveTo>
                    <a:lnTo>
                      <a:pt x="437" y="0"/>
                    </a:lnTo>
                    <a:lnTo>
                      <a:pt x="468" y="29"/>
                    </a:lnTo>
                    <a:lnTo>
                      <a:pt x="498" y="15"/>
                    </a:lnTo>
                    <a:lnTo>
                      <a:pt x="645" y="37"/>
                    </a:lnTo>
                    <a:lnTo>
                      <a:pt x="665" y="58"/>
                    </a:lnTo>
                    <a:lnTo>
                      <a:pt x="711" y="68"/>
                    </a:lnTo>
                    <a:lnTo>
                      <a:pt x="870" y="54"/>
                    </a:lnTo>
                    <a:lnTo>
                      <a:pt x="911" y="34"/>
                    </a:lnTo>
                    <a:lnTo>
                      <a:pt x="917" y="5"/>
                    </a:lnTo>
                    <a:lnTo>
                      <a:pt x="941" y="8"/>
                    </a:lnTo>
                    <a:lnTo>
                      <a:pt x="964" y="30"/>
                    </a:lnTo>
                    <a:lnTo>
                      <a:pt x="976" y="58"/>
                    </a:lnTo>
                    <a:lnTo>
                      <a:pt x="968" y="88"/>
                    </a:lnTo>
                    <a:lnTo>
                      <a:pt x="932" y="133"/>
                    </a:lnTo>
                    <a:lnTo>
                      <a:pt x="888" y="244"/>
                    </a:lnTo>
                    <a:lnTo>
                      <a:pt x="907" y="294"/>
                    </a:lnTo>
                    <a:lnTo>
                      <a:pt x="905" y="361"/>
                    </a:lnTo>
                    <a:lnTo>
                      <a:pt x="926" y="402"/>
                    </a:lnTo>
                    <a:lnTo>
                      <a:pt x="928" y="425"/>
                    </a:lnTo>
                    <a:lnTo>
                      <a:pt x="922" y="454"/>
                    </a:lnTo>
                    <a:lnTo>
                      <a:pt x="875" y="505"/>
                    </a:lnTo>
                    <a:lnTo>
                      <a:pt x="868" y="534"/>
                    </a:lnTo>
                    <a:lnTo>
                      <a:pt x="884" y="562"/>
                    </a:lnTo>
                    <a:lnTo>
                      <a:pt x="970" y="550"/>
                    </a:lnTo>
                    <a:lnTo>
                      <a:pt x="1017" y="613"/>
                    </a:lnTo>
                    <a:lnTo>
                      <a:pt x="1020" y="672"/>
                    </a:lnTo>
                    <a:lnTo>
                      <a:pt x="983" y="675"/>
                    </a:lnTo>
                    <a:lnTo>
                      <a:pt x="911" y="613"/>
                    </a:lnTo>
                    <a:lnTo>
                      <a:pt x="919" y="668"/>
                    </a:lnTo>
                    <a:lnTo>
                      <a:pt x="885" y="758"/>
                    </a:lnTo>
                    <a:lnTo>
                      <a:pt x="895" y="788"/>
                    </a:lnTo>
                    <a:lnTo>
                      <a:pt x="892" y="785"/>
                    </a:lnTo>
                    <a:lnTo>
                      <a:pt x="825" y="773"/>
                    </a:lnTo>
                    <a:lnTo>
                      <a:pt x="765" y="787"/>
                    </a:lnTo>
                    <a:lnTo>
                      <a:pt x="737" y="803"/>
                    </a:lnTo>
                    <a:lnTo>
                      <a:pt x="706" y="804"/>
                    </a:lnTo>
                    <a:lnTo>
                      <a:pt x="615" y="737"/>
                    </a:lnTo>
                    <a:lnTo>
                      <a:pt x="592" y="704"/>
                    </a:lnTo>
                    <a:lnTo>
                      <a:pt x="531" y="686"/>
                    </a:lnTo>
                    <a:lnTo>
                      <a:pt x="480" y="651"/>
                    </a:lnTo>
                    <a:lnTo>
                      <a:pt x="415" y="642"/>
                    </a:lnTo>
                    <a:lnTo>
                      <a:pt x="317" y="663"/>
                    </a:lnTo>
                    <a:lnTo>
                      <a:pt x="270" y="704"/>
                    </a:lnTo>
                    <a:lnTo>
                      <a:pt x="240" y="711"/>
                    </a:lnTo>
                    <a:lnTo>
                      <a:pt x="218" y="734"/>
                    </a:lnTo>
                    <a:lnTo>
                      <a:pt x="243" y="549"/>
                    </a:lnTo>
                    <a:lnTo>
                      <a:pt x="238" y="529"/>
                    </a:lnTo>
                    <a:lnTo>
                      <a:pt x="184" y="525"/>
                    </a:lnTo>
                    <a:lnTo>
                      <a:pt x="174" y="555"/>
                    </a:lnTo>
                    <a:lnTo>
                      <a:pt x="145" y="576"/>
                    </a:lnTo>
                    <a:lnTo>
                      <a:pt x="120" y="544"/>
                    </a:lnTo>
                    <a:lnTo>
                      <a:pt x="98" y="548"/>
                    </a:lnTo>
                    <a:lnTo>
                      <a:pt x="69" y="541"/>
                    </a:lnTo>
                    <a:lnTo>
                      <a:pt x="52" y="498"/>
                    </a:lnTo>
                    <a:lnTo>
                      <a:pt x="26" y="468"/>
                    </a:lnTo>
                    <a:lnTo>
                      <a:pt x="21" y="428"/>
                    </a:lnTo>
                    <a:lnTo>
                      <a:pt x="32" y="392"/>
                    </a:lnTo>
                    <a:lnTo>
                      <a:pt x="73" y="383"/>
                    </a:lnTo>
                    <a:lnTo>
                      <a:pt x="65" y="370"/>
                    </a:lnTo>
                    <a:lnTo>
                      <a:pt x="12" y="366"/>
                    </a:lnTo>
                    <a:lnTo>
                      <a:pt x="15" y="316"/>
                    </a:lnTo>
                    <a:lnTo>
                      <a:pt x="23" y="304"/>
                    </a:lnTo>
                    <a:lnTo>
                      <a:pt x="16" y="287"/>
                    </a:lnTo>
                    <a:lnTo>
                      <a:pt x="0" y="286"/>
                    </a:lnTo>
                    <a:lnTo>
                      <a:pt x="9" y="208"/>
                    </a:lnTo>
                    <a:lnTo>
                      <a:pt x="24" y="193"/>
                    </a:lnTo>
                    <a:lnTo>
                      <a:pt x="123" y="158"/>
                    </a:lnTo>
                    <a:lnTo>
                      <a:pt x="124" y="142"/>
                    </a:lnTo>
                    <a:lnTo>
                      <a:pt x="136" y="129"/>
                    </a:lnTo>
                    <a:lnTo>
                      <a:pt x="168" y="118"/>
                    </a:lnTo>
                    <a:lnTo>
                      <a:pt x="191" y="95"/>
                    </a:lnTo>
                    <a:lnTo>
                      <a:pt x="264" y="92"/>
                    </a:lnTo>
                    <a:lnTo>
                      <a:pt x="271" y="55"/>
                    </a:lnTo>
                    <a:lnTo>
                      <a:pt x="309" y="75"/>
                    </a:lnTo>
                    <a:lnTo>
                      <a:pt x="384" y="63"/>
                    </a:lnTo>
                    <a:lnTo>
                      <a:pt x="403" y="46"/>
                    </a:lnTo>
                    <a:lnTo>
                      <a:pt x="397" y="23"/>
                    </a:lnTo>
                    <a:lnTo>
                      <a:pt x="430" y="19"/>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sp>
          <p:nvSpPr>
            <p:cNvPr id="336" name="Freeform 102"/>
            <p:cNvSpPr>
              <a:spLocks/>
            </p:cNvSpPr>
            <p:nvPr/>
          </p:nvSpPr>
          <p:spPr bwMode="auto">
            <a:xfrm>
              <a:off x="7627949" y="3064473"/>
              <a:ext cx="1885033" cy="1256420"/>
            </a:xfrm>
            <a:custGeom>
              <a:avLst/>
              <a:gdLst>
                <a:gd name="T0" fmla="*/ 0 w 4645"/>
                <a:gd name="T1" fmla="*/ 0 h 3096"/>
                <a:gd name="T2" fmla="*/ 0 w 4645"/>
                <a:gd name="T3" fmla="*/ 0 h 3096"/>
                <a:gd name="T4" fmla="*/ 0 w 4645"/>
                <a:gd name="T5" fmla="*/ 0 h 3096"/>
                <a:gd name="T6" fmla="*/ 0 w 4645"/>
                <a:gd name="T7" fmla="*/ 0 h 3096"/>
                <a:gd name="T8" fmla="*/ 0 w 4645"/>
                <a:gd name="T9" fmla="*/ 0 h 3096"/>
                <a:gd name="T10" fmla="*/ 0 w 4645"/>
                <a:gd name="T11" fmla="*/ 0 h 3096"/>
                <a:gd name="T12" fmla="*/ 0 w 4645"/>
                <a:gd name="T13" fmla="*/ 0 h 3096"/>
                <a:gd name="T14" fmla="*/ 0 w 4645"/>
                <a:gd name="T15" fmla="*/ 0 h 3096"/>
                <a:gd name="T16" fmla="*/ 0 w 4645"/>
                <a:gd name="T17" fmla="*/ 0 h 3096"/>
                <a:gd name="T18" fmla="*/ 0 w 4645"/>
                <a:gd name="T19" fmla="*/ 0 h 3096"/>
                <a:gd name="T20" fmla="*/ 0 w 4645"/>
                <a:gd name="T21" fmla="*/ 0 h 3096"/>
                <a:gd name="T22" fmla="*/ 0 w 4645"/>
                <a:gd name="T23" fmla="*/ 0 h 3096"/>
                <a:gd name="T24" fmla="*/ 0 w 4645"/>
                <a:gd name="T25" fmla="*/ 0 h 3096"/>
                <a:gd name="T26" fmla="*/ 0 w 4645"/>
                <a:gd name="T27" fmla="*/ 0 h 3096"/>
                <a:gd name="T28" fmla="*/ 0 w 4645"/>
                <a:gd name="T29" fmla="*/ 0 h 3096"/>
                <a:gd name="T30" fmla="*/ 0 w 4645"/>
                <a:gd name="T31" fmla="*/ 0 h 3096"/>
                <a:gd name="T32" fmla="*/ 0 w 4645"/>
                <a:gd name="T33" fmla="*/ 0 h 3096"/>
                <a:gd name="T34" fmla="*/ 0 w 4645"/>
                <a:gd name="T35" fmla="*/ 0 h 3096"/>
                <a:gd name="T36" fmla="*/ 0 w 4645"/>
                <a:gd name="T37" fmla="*/ 0 h 3096"/>
                <a:gd name="T38" fmla="*/ 0 w 4645"/>
                <a:gd name="T39" fmla="*/ 0 h 3096"/>
                <a:gd name="T40" fmla="*/ 0 w 4645"/>
                <a:gd name="T41" fmla="*/ 0 h 3096"/>
                <a:gd name="T42" fmla="*/ 0 w 4645"/>
                <a:gd name="T43" fmla="*/ 0 h 3096"/>
                <a:gd name="T44" fmla="*/ 0 w 4645"/>
                <a:gd name="T45" fmla="*/ 0 h 3096"/>
                <a:gd name="T46" fmla="*/ 0 w 4645"/>
                <a:gd name="T47" fmla="*/ 0 h 3096"/>
                <a:gd name="T48" fmla="*/ 0 w 4645"/>
                <a:gd name="T49" fmla="*/ 0 h 3096"/>
                <a:gd name="T50" fmla="*/ 0 w 4645"/>
                <a:gd name="T51" fmla="*/ 0 h 3096"/>
                <a:gd name="T52" fmla="*/ 0 w 4645"/>
                <a:gd name="T53" fmla="*/ 0 h 3096"/>
                <a:gd name="T54" fmla="*/ 0 w 4645"/>
                <a:gd name="T55" fmla="*/ 0 h 3096"/>
                <a:gd name="T56" fmla="*/ 0 w 4645"/>
                <a:gd name="T57" fmla="*/ 0 h 3096"/>
                <a:gd name="T58" fmla="*/ 0 w 4645"/>
                <a:gd name="T59" fmla="*/ 0 h 3096"/>
                <a:gd name="T60" fmla="*/ 0 w 4645"/>
                <a:gd name="T61" fmla="*/ 0 h 3096"/>
                <a:gd name="T62" fmla="*/ 0 w 4645"/>
                <a:gd name="T63" fmla="*/ 0 h 3096"/>
                <a:gd name="T64" fmla="*/ 0 w 4645"/>
                <a:gd name="T65" fmla="*/ 0 h 3096"/>
                <a:gd name="T66" fmla="*/ 0 w 4645"/>
                <a:gd name="T67" fmla="*/ 0 h 3096"/>
                <a:gd name="T68" fmla="*/ 0 w 4645"/>
                <a:gd name="T69" fmla="*/ 0 h 3096"/>
                <a:gd name="T70" fmla="*/ 0 w 4645"/>
                <a:gd name="T71" fmla="*/ 0 h 3096"/>
                <a:gd name="T72" fmla="*/ 0 w 4645"/>
                <a:gd name="T73" fmla="*/ 0 h 3096"/>
                <a:gd name="T74" fmla="*/ 0 w 4645"/>
                <a:gd name="T75" fmla="*/ 0 h 3096"/>
                <a:gd name="T76" fmla="*/ 0 w 4645"/>
                <a:gd name="T77" fmla="*/ 0 h 3096"/>
                <a:gd name="T78" fmla="*/ 0 w 4645"/>
                <a:gd name="T79" fmla="*/ 0 h 3096"/>
                <a:gd name="T80" fmla="*/ 0 w 4645"/>
                <a:gd name="T81" fmla="*/ 0 h 3096"/>
                <a:gd name="T82" fmla="*/ 0 w 4645"/>
                <a:gd name="T83" fmla="*/ 0 h 3096"/>
                <a:gd name="T84" fmla="*/ 0 w 4645"/>
                <a:gd name="T85" fmla="*/ 0 h 3096"/>
                <a:gd name="T86" fmla="*/ 0 w 4645"/>
                <a:gd name="T87" fmla="*/ 0 h 3096"/>
                <a:gd name="T88" fmla="*/ 0 w 4645"/>
                <a:gd name="T89" fmla="*/ 0 h 3096"/>
                <a:gd name="T90" fmla="*/ 0 w 4645"/>
                <a:gd name="T91" fmla="*/ 0 h 3096"/>
                <a:gd name="T92" fmla="*/ 0 w 4645"/>
                <a:gd name="T93" fmla="*/ 0 h 3096"/>
                <a:gd name="T94" fmla="*/ 0 w 4645"/>
                <a:gd name="T95" fmla="*/ 0 h 3096"/>
                <a:gd name="T96" fmla="*/ 0 w 4645"/>
                <a:gd name="T97" fmla="*/ 0 h 3096"/>
                <a:gd name="T98" fmla="*/ 0 w 4645"/>
                <a:gd name="T99" fmla="*/ 0 h 3096"/>
                <a:gd name="T100" fmla="*/ 0 w 4645"/>
                <a:gd name="T101" fmla="*/ 0 h 3096"/>
                <a:gd name="T102" fmla="*/ 0 w 4645"/>
                <a:gd name="T103" fmla="*/ 0 h 3096"/>
                <a:gd name="T104" fmla="*/ 0 w 4645"/>
                <a:gd name="T105" fmla="*/ 0 h 3096"/>
                <a:gd name="T106" fmla="*/ 0 w 4645"/>
                <a:gd name="T107" fmla="*/ 0 h 3096"/>
                <a:gd name="T108" fmla="*/ 0 w 4645"/>
                <a:gd name="T109" fmla="*/ 0 h 3096"/>
                <a:gd name="T110" fmla="*/ 0 w 4645"/>
                <a:gd name="T111" fmla="*/ 0 h 309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645"/>
                <a:gd name="T169" fmla="*/ 0 h 3096"/>
                <a:gd name="T170" fmla="*/ 4645 w 4645"/>
                <a:gd name="T171" fmla="*/ 3096 h 309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645" h="3096">
                  <a:moveTo>
                    <a:pt x="1193" y="1864"/>
                  </a:moveTo>
                  <a:lnTo>
                    <a:pt x="1158" y="1863"/>
                  </a:lnTo>
                  <a:lnTo>
                    <a:pt x="1000" y="1976"/>
                  </a:lnTo>
                  <a:lnTo>
                    <a:pt x="843" y="2010"/>
                  </a:lnTo>
                  <a:lnTo>
                    <a:pt x="767" y="2071"/>
                  </a:lnTo>
                  <a:lnTo>
                    <a:pt x="661" y="2005"/>
                  </a:lnTo>
                  <a:lnTo>
                    <a:pt x="229" y="2027"/>
                  </a:lnTo>
                  <a:lnTo>
                    <a:pt x="195" y="2042"/>
                  </a:lnTo>
                  <a:lnTo>
                    <a:pt x="173" y="1990"/>
                  </a:lnTo>
                  <a:lnTo>
                    <a:pt x="0" y="1874"/>
                  </a:lnTo>
                  <a:lnTo>
                    <a:pt x="78" y="1590"/>
                  </a:lnTo>
                  <a:lnTo>
                    <a:pt x="101" y="1596"/>
                  </a:lnTo>
                  <a:lnTo>
                    <a:pt x="150" y="1585"/>
                  </a:lnTo>
                  <a:lnTo>
                    <a:pt x="136" y="1525"/>
                  </a:lnTo>
                  <a:lnTo>
                    <a:pt x="141" y="1458"/>
                  </a:lnTo>
                  <a:lnTo>
                    <a:pt x="284" y="1185"/>
                  </a:lnTo>
                  <a:lnTo>
                    <a:pt x="450" y="1049"/>
                  </a:lnTo>
                  <a:lnTo>
                    <a:pt x="468" y="983"/>
                  </a:lnTo>
                  <a:lnTo>
                    <a:pt x="437" y="915"/>
                  </a:lnTo>
                  <a:lnTo>
                    <a:pt x="439" y="864"/>
                  </a:lnTo>
                  <a:lnTo>
                    <a:pt x="381" y="798"/>
                  </a:lnTo>
                  <a:lnTo>
                    <a:pt x="306" y="606"/>
                  </a:lnTo>
                  <a:lnTo>
                    <a:pt x="333" y="579"/>
                  </a:lnTo>
                  <a:lnTo>
                    <a:pt x="370" y="571"/>
                  </a:lnTo>
                  <a:lnTo>
                    <a:pt x="406" y="575"/>
                  </a:lnTo>
                  <a:lnTo>
                    <a:pt x="474" y="539"/>
                  </a:lnTo>
                  <a:lnTo>
                    <a:pt x="500" y="512"/>
                  </a:lnTo>
                  <a:lnTo>
                    <a:pt x="509" y="476"/>
                  </a:lnTo>
                  <a:lnTo>
                    <a:pt x="721" y="420"/>
                  </a:lnTo>
                  <a:lnTo>
                    <a:pt x="756" y="432"/>
                  </a:lnTo>
                  <a:lnTo>
                    <a:pt x="869" y="417"/>
                  </a:lnTo>
                  <a:lnTo>
                    <a:pt x="1007" y="466"/>
                  </a:lnTo>
                  <a:lnTo>
                    <a:pt x="1080" y="458"/>
                  </a:lnTo>
                  <a:lnTo>
                    <a:pt x="1113" y="473"/>
                  </a:lnTo>
                  <a:lnTo>
                    <a:pt x="1150" y="478"/>
                  </a:lnTo>
                  <a:lnTo>
                    <a:pt x="1183" y="492"/>
                  </a:lnTo>
                  <a:lnTo>
                    <a:pt x="1195" y="529"/>
                  </a:lnTo>
                  <a:lnTo>
                    <a:pt x="1225" y="551"/>
                  </a:lnTo>
                  <a:lnTo>
                    <a:pt x="1297" y="538"/>
                  </a:lnTo>
                  <a:lnTo>
                    <a:pt x="1306" y="575"/>
                  </a:lnTo>
                  <a:lnTo>
                    <a:pt x="1336" y="595"/>
                  </a:lnTo>
                  <a:lnTo>
                    <a:pt x="1363" y="569"/>
                  </a:lnTo>
                  <a:lnTo>
                    <a:pt x="1397" y="553"/>
                  </a:lnTo>
                  <a:lnTo>
                    <a:pt x="1434" y="548"/>
                  </a:lnTo>
                  <a:lnTo>
                    <a:pt x="1459" y="515"/>
                  </a:lnTo>
                  <a:lnTo>
                    <a:pt x="1491" y="536"/>
                  </a:lnTo>
                  <a:lnTo>
                    <a:pt x="1527" y="544"/>
                  </a:lnTo>
                  <a:lnTo>
                    <a:pt x="1562" y="531"/>
                  </a:lnTo>
                  <a:lnTo>
                    <a:pt x="1586" y="558"/>
                  </a:lnTo>
                  <a:lnTo>
                    <a:pt x="1620" y="576"/>
                  </a:lnTo>
                  <a:lnTo>
                    <a:pt x="1684" y="484"/>
                  </a:lnTo>
                  <a:lnTo>
                    <a:pt x="1749" y="521"/>
                  </a:lnTo>
                  <a:lnTo>
                    <a:pt x="1768" y="556"/>
                  </a:lnTo>
                  <a:lnTo>
                    <a:pt x="1799" y="576"/>
                  </a:lnTo>
                  <a:lnTo>
                    <a:pt x="1828" y="549"/>
                  </a:lnTo>
                  <a:lnTo>
                    <a:pt x="1974" y="520"/>
                  </a:lnTo>
                  <a:lnTo>
                    <a:pt x="2011" y="531"/>
                  </a:lnTo>
                  <a:lnTo>
                    <a:pt x="2037" y="557"/>
                  </a:lnTo>
                  <a:lnTo>
                    <a:pt x="2071" y="543"/>
                  </a:lnTo>
                  <a:lnTo>
                    <a:pt x="2084" y="506"/>
                  </a:lnTo>
                  <a:lnTo>
                    <a:pt x="2063" y="433"/>
                  </a:lnTo>
                  <a:lnTo>
                    <a:pt x="2068" y="396"/>
                  </a:lnTo>
                  <a:lnTo>
                    <a:pt x="2062" y="357"/>
                  </a:lnTo>
                  <a:lnTo>
                    <a:pt x="2071" y="321"/>
                  </a:lnTo>
                  <a:lnTo>
                    <a:pt x="2136" y="228"/>
                  </a:lnTo>
                  <a:lnTo>
                    <a:pt x="2168" y="207"/>
                  </a:lnTo>
                  <a:lnTo>
                    <a:pt x="2205" y="201"/>
                  </a:lnTo>
                  <a:lnTo>
                    <a:pt x="2235" y="177"/>
                  </a:lnTo>
                  <a:lnTo>
                    <a:pt x="2323" y="161"/>
                  </a:lnTo>
                  <a:lnTo>
                    <a:pt x="2321" y="161"/>
                  </a:lnTo>
                  <a:lnTo>
                    <a:pt x="2352" y="181"/>
                  </a:lnTo>
                  <a:lnTo>
                    <a:pt x="2385" y="185"/>
                  </a:lnTo>
                  <a:lnTo>
                    <a:pt x="2416" y="164"/>
                  </a:lnTo>
                  <a:lnTo>
                    <a:pt x="2434" y="133"/>
                  </a:lnTo>
                  <a:lnTo>
                    <a:pt x="2436" y="96"/>
                  </a:lnTo>
                  <a:lnTo>
                    <a:pt x="2463" y="69"/>
                  </a:lnTo>
                  <a:lnTo>
                    <a:pt x="2576" y="65"/>
                  </a:lnTo>
                  <a:lnTo>
                    <a:pt x="2640" y="31"/>
                  </a:lnTo>
                  <a:lnTo>
                    <a:pt x="2711" y="29"/>
                  </a:lnTo>
                  <a:lnTo>
                    <a:pt x="2777" y="0"/>
                  </a:lnTo>
                  <a:lnTo>
                    <a:pt x="2840" y="33"/>
                  </a:lnTo>
                  <a:lnTo>
                    <a:pt x="2863" y="61"/>
                  </a:lnTo>
                  <a:lnTo>
                    <a:pt x="2871" y="98"/>
                  </a:lnTo>
                  <a:lnTo>
                    <a:pt x="2962" y="161"/>
                  </a:lnTo>
                  <a:lnTo>
                    <a:pt x="2970" y="200"/>
                  </a:lnTo>
                  <a:lnTo>
                    <a:pt x="2938" y="227"/>
                  </a:lnTo>
                  <a:lnTo>
                    <a:pt x="2905" y="236"/>
                  </a:lnTo>
                  <a:lnTo>
                    <a:pt x="2966" y="365"/>
                  </a:lnTo>
                  <a:lnTo>
                    <a:pt x="3037" y="389"/>
                  </a:lnTo>
                  <a:lnTo>
                    <a:pt x="3111" y="394"/>
                  </a:lnTo>
                  <a:lnTo>
                    <a:pt x="3141" y="373"/>
                  </a:lnTo>
                  <a:lnTo>
                    <a:pt x="3176" y="366"/>
                  </a:lnTo>
                  <a:lnTo>
                    <a:pt x="3198" y="396"/>
                  </a:lnTo>
                  <a:lnTo>
                    <a:pt x="3255" y="441"/>
                  </a:lnTo>
                  <a:lnTo>
                    <a:pt x="3314" y="556"/>
                  </a:lnTo>
                  <a:lnTo>
                    <a:pt x="3309" y="594"/>
                  </a:lnTo>
                  <a:lnTo>
                    <a:pt x="3329" y="626"/>
                  </a:lnTo>
                  <a:lnTo>
                    <a:pt x="3400" y="657"/>
                  </a:lnTo>
                  <a:lnTo>
                    <a:pt x="3429" y="633"/>
                  </a:lnTo>
                  <a:lnTo>
                    <a:pt x="3462" y="617"/>
                  </a:lnTo>
                  <a:lnTo>
                    <a:pt x="3499" y="617"/>
                  </a:lnTo>
                  <a:lnTo>
                    <a:pt x="3562" y="655"/>
                  </a:lnTo>
                  <a:lnTo>
                    <a:pt x="3596" y="636"/>
                  </a:lnTo>
                  <a:lnTo>
                    <a:pt x="3633" y="644"/>
                  </a:lnTo>
                  <a:lnTo>
                    <a:pt x="3793" y="535"/>
                  </a:lnTo>
                  <a:lnTo>
                    <a:pt x="3829" y="539"/>
                  </a:lnTo>
                  <a:lnTo>
                    <a:pt x="3994" y="695"/>
                  </a:lnTo>
                  <a:lnTo>
                    <a:pt x="4031" y="685"/>
                  </a:lnTo>
                  <a:lnTo>
                    <a:pt x="4036" y="644"/>
                  </a:lnTo>
                  <a:lnTo>
                    <a:pt x="4074" y="638"/>
                  </a:lnTo>
                  <a:lnTo>
                    <a:pt x="4103" y="663"/>
                  </a:lnTo>
                  <a:lnTo>
                    <a:pt x="4140" y="658"/>
                  </a:lnTo>
                  <a:lnTo>
                    <a:pt x="4179" y="665"/>
                  </a:lnTo>
                  <a:lnTo>
                    <a:pt x="4211" y="685"/>
                  </a:lnTo>
                  <a:lnTo>
                    <a:pt x="4283" y="662"/>
                  </a:lnTo>
                  <a:lnTo>
                    <a:pt x="4352" y="688"/>
                  </a:lnTo>
                  <a:lnTo>
                    <a:pt x="4388" y="677"/>
                  </a:lnTo>
                  <a:lnTo>
                    <a:pt x="4457" y="710"/>
                  </a:lnTo>
                  <a:lnTo>
                    <a:pt x="4533" y="695"/>
                  </a:lnTo>
                  <a:lnTo>
                    <a:pt x="4568" y="707"/>
                  </a:lnTo>
                  <a:lnTo>
                    <a:pt x="4540" y="735"/>
                  </a:lnTo>
                  <a:lnTo>
                    <a:pt x="4605" y="832"/>
                  </a:lnTo>
                  <a:lnTo>
                    <a:pt x="4587" y="910"/>
                  </a:lnTo>
                  <a:lnTo>
                    <a:pt x="4519" y="945"/>
                  </a:lnTo>
                  <a:lnTo>
                    <a:pt x="4550" y="970"/>
                  </a:lnTo>
                  <a:lnTo>
                    <a:pt x="4589" y="967"/>
                  </a:lnTo>
                  <a:lnTo>
                    <a:pt x="4618" y="992"/>
                  </a:lnTo>
                  <a:lnTo>
                    <a:pt x="4551" y="1032"/>
                  </a:lnTo>
                  <a:lnTo>
                    <a:pt x="4544" y="1069"/>
                  </a:lnTo>
                  <a:lnTo>
                    <a:pt x="4550" y="1108"/>
                  </a:lnTo>
                  <a:lnTo>
                    <a:pt x="4580" y="1131"/>
                  </a:lnTo>
                  <a:lnTo>
                    <a:pt x="4604" y="1163"/>
                  </a:lnTo>
                  <a:lnTo>
                    <a:pt x="4605" y="1203"/>
                  </a:lnTo>
                  <a:lnTo>
                    <a:pt x="4641" y="1212"/>
                  </a:lnTo>
                  <a:lnTo>
                    <a:pt x="4645" y="1411"/>
                  </a:lnTo>
                  <a:lnTo>
                    <a:pt x="4612" y="1436"/>
                  </a:lnTo>
                  <a:lnTo>
                    <a:pt x="4536" y="1438"/>
                  </a:lnTo>
                  <a:lnTo>
                    <a:pt x="4500" y="1454"/>
                  </a:lnTo>
                  <a:lnTo>
                    <a:pt x="4423" y="1434"/>
                  </a:lnTo>
                  <a:lnTo>
                    <a:pt x="4377" y="1543"/>
                  </a:lnTo>
                  <a:lnTo>
                    <a:pt x="4311" y="1590"/>
                  </a:lnTo>
                  <a:lnTo>
                    <a:pt x="4295" y="1667"/>
                  </a:lnTo>
                  <a:lnTo>
                    <a:pt x="4327" y="1778"/>
                  </a:lnTo>
                  <a:lnTo>
                    <a:pt x="4159" y="1852"/>
                  </a:lnTo>
                  <a:lnTo>
                    <a:pt x="4124" y="1910"/>
                  </a:lnTo>
                  <a:lnTo>
                    <a:pt x="4088" y="1915"/>
                  </a:lnTo>
                  <a:lnTo>
                    <a:pt x="4006" y="1973"/>
                  </a:lnTo>
                  <a:lnTo>
                    <a:pt x="4005" y="2034"/>
                  </a:lnTo>
                  <a:lnTo>
                    <a:pt x="3939" y="2012"/>
                  </a:lnTo>
                  <a:lnTo>
                    <a:pt x="3842" y="2090"/>
                  </a:lnTo>
                  <a:lnTo>
                    <a:pt x="3832" y="2116"/>
                  </a:lnTo>
                  <a:lnTo>
                    <a:pt x="3820" y="2093"/>
                  </a:lnTo>
                  <a:lnTo>
                    <a:pt x="3773" y="2122"/>
                  </a:lnTo>
                  <a:lnTo>
                    <a:pt x="3735" y="2132"/>
                  </a:lnTo>
                  <a:lnTo>
                    <a:pt x="3673" y="2220"/>
                  </a:lnTo>
                  <a:lnTo>
                    <a:pt x="3657" y="2226"/>
                  </a:lnTo>
                  <a:lnTo>
                    <a:pt x="3613" y="2347"/>
                  </a:lnTo>
                  <a:lnTo>
                    <a:pt x="3581" y="2371"/>
                  </a:lnTo>
                  <a:lnTo>
                    <a:pt x="3587" y="2342"/>
                  </a:lnTo>
                  <a:lnTo>
                    <a:pt x="3615" y="2318"/>
                  </a:lnTo>
                  <a:lnTo>
                    <a:pt x="3633" y="2290"/>
                  </a:lnTo>
                  <a:lnTo>
                    <a:pt x="3597" y="2221"/>
                  </a:lnTo>
                  <a:lnTo>
                    <a:pt x="3574" y="2227"/>
                  </a:lnTo>
                  <a:lnTo>
                    <a:pt x="3564" y="2304"/>
                  </a:lnTo>
                  <a:lnTo>
                    <a:pt x="3527" y="2364"/>
                  </a:lnTo>
                  <a:lnTo>
                    <a:pt x="3561" y="2478"/>
                  </a:lnTo>
                  <a:lnTo>
                    <a:pt x="3538" y="2482"/>
                  </a:lnTo>
                  <a:lnTo>
                    <a:pt x="3533" y="2464"/>
                  </a:lnTo>
                  <a:lnTo>
                    <a:pt x="3496" y="2413"/>
                  </a:lnTo>
                  <a:lnTo>
                    <a:pt x="3498" y="2394"/>
                  </a:lnTo>
                  <a:lnTo>
                    <a:pt x="3483" y="2376"/>
                  </a:lnTo>
                  <a:lnTo>
                    <a:pt x="3454" y="2406"/>
                  </a:lnTo>
                  <a:lnTo>
                    <a:pt x="3440" y="2443"/>
                  </a:lnTo>
                  <a:lnTo>
                    <a:pt x="3430" y="2436"/>
                  </a:lnTo>
                  <a:lnTo>
                    <a:pt x="3436" y="2402"/>
                  </a:lnTo>
                  <a:lnTo>
                    <a:pt x="3421" y="2388"/>
                  </a:lnTo>
                  <a:lnTo>
                    <a:pt x="3356" y="2400"/>
                  </a:lnTo>
                  <a:lnTo>
                    <a:pt x="3348" y="2389"/>
                  </a:lnTo>
                  <a:lnTo>
                    <a:pt x="3336" y="2349"/>
                  </a:lnTo>
                  <a:lnTo>
                    <a:pt x="3314" y="2328"/>
                  </a:lnTo>
                  <a:lnTo>
                    <a:pt x="3319" y="2399"/>
                  </a:lnTo>
                  <a:lnTo>
                    <a:pt x="3307" y="2407"/>
                  </a:lnTo>
                  <a:lnTo>
                    <a:pt x="3213" y="2396"/>
                  </a:lnTo>
                  <a:lnTo>
                    <a:pt x="3240" y="2409"/>
                  </a:lnTo>
                  <a:lnTo>
                    <a:pt x="3269" y="2435"/>
                  </a:lnTo>
                  <a:lnTo>
                    <a:pt x="3290" y="2425"/>
                  </a:lnTo>
                  <a:lnTo>
                    <a:pt x="3306" y="2431"/>
                  </a:lnTo>
                  <a:lnTo>
                    <a:pt x="3322" y="2457"/>
                  </a:lnTo>
                  <a:lnTo>
                    <a:pt x="3331" y="2486"/>
                  </a:lnTo>
                  <a:lnTo>
                    <a:pt x="3352" y="2503"/>
                  </a:lnTo>
                  <a:lnTo>
                    <a:pt x="3363" y="2489"/>
                  </a:lnTo>
                  <a:lnTo>
                    <a:pt x="3359" y="2454"/>
                  </a:lnTo>
                  <a:lnTo>
                    <a:pt x="3408" y="2455"/>
                  </a:lnTo>
                  <a:lnTo>
                    <a:pt x="3436" y="2468"/>
                  </a:lnTo>
                  <a:lnTo>
                    <a:pt x="3462" y="2462"/>
                  </a:lnTo>
                  <a:lnTo>
                    <a:pt x="3451" y="2527"/>
                  </a:lnTo>
                  <a:lnTo>
                    <a:pt x="3465" y="2534"/>
                  </a:lnTo>
                  <a:lnTo>
                    <a:pt x="3494" y="2512"/>
                  </a:lnTo>
                  <a:lnTo>
                    <a:pt x="3507" y="2519"/>
                  </a:lnTo>
                  <a:lnTo>
                    <a:pt x="3506" y="2563"/>
                  </a:lnTo>
                  <a:lnTo>
                    <a:pt x="3568" y="2545"/>
                  </a:lnTo>
                  <a:lnTo>
                    <a:pt x="3606" y="2578"/>
                  </a:lnTo>
                  <a:lnTo>
                    <a:pt x="3641" y="2679"/>
                  </a:lnTo>
                  <a:lnTo>
                    <a:pt x="3652" y="2656"/>
                  </a:lnTo>
                  <a:lnTo>
                    <a:pt x="3747" y="2662"/>
                  </a:lnTo>
                  <a:lnTo>
                    <a:pt x="3747" y="2629"/>
                  </a:lnTo>
                  <a:lnTo>
                    <a:pt x="3810" y="2662"/>
                  </a:lnTo>
                  <a:lnTo>
                    <a:pt x="3854" y="2583"/>
                  </a:lnTo>
                  <a:lnTo>
                    <a:pt x="3874" y="2575"/>
                  </a:lnTo>
                  <a:lnTo>
                    <a:pt x="3891" y="2599"/>
                  </a:lnTo>
                  <a:lnTo>
                    <a:pt x="3926" y="2570"/>
                  </a:lnTo>
                  <a:lnTo>
                    <a:pt x="3989" y="2541"/>
                  </a:lnTo>
                  <a:lnTo>
                    <a:pt x="4046" y="2534"/>
                  </a:lnTo>
                  <a:lnTo>
                    <a:pt x="4046" y="2578"/>
                  </a:lnTo>
                  <a:lnTo>
                    <a:pt x="4030" y="2602"/>
                  </a:lnTo>
                  <a:lnTo>
                    <a:pt x="4044" y="2697"/>
                  </a:lnTo>
                  <a:lnTo>
                    <a:pt x="3953" y="2719"/>
                  </a:lnTo>
                  <a:lnTo>
                    <a:pt x="3940" y="2741"/>
                  </a:lnTo>
                  <a:lnTo>
                    <a:pt x="3773" y="2726"/>
                  </a:lnTo>
                  <a:lnTo>
                    <a:pt x="3666" y="2887"/>
                  </a:lnTo>
                  <a:lnTo>
                    <a:pt x="3603" y="2885"/>
                  </a:lnTo>
                  <a:lnTo>
                    <a:pt x="3533" y="2921"/>
                  </a:lnTo>
                  <a:lnTo>
                    <a:pt x="3563" y="2932"/>
                  </a:lnTo>
                  <a:lnTo>
                    <a:pt x="3532" y="2945"/>
                  </a:lnTo>
                  <a:lnTo>
                    <a:pt x="3513" y="2985"/>
                  </a:lnTo>
                  <a:lnTo>
                    <a:pt x="3512" y="3011"/>
                  </a:lnTo>
                  <a:lnTo>
                    <a:pt x="3501" y="3030"/>
                  </a:lnTo>
                  <a:lnTo>
                    <a:pt x="3468" y="3042"/>
                  </a:lnTo>
                  <a:lnTo>
                    <a:pt x="3416" y="3089"/>
                  </a:lnTo>
                  <a:lnTo>
                    <a:pt x="3316" y="3096"/>
                  </a:lnTo>
                  <a:lnTo>
                    <a:pt x="3248" y="3057"/>
                  </a:lnTo>
                  <a:lnTo>
                    <a:pt x="3264" y="3016"/>
                  </a:lnTo>
                  <a:lnTo>
                    <a:pt x="3242" y="2876"/>
                  </a:lnTo>
                  <a:lnTo>
                    <a:pt x="3208" y="2824"/>
                  </a:lnTo>
                  <a:lnTo>
                    <a:pt x="3173" y="2819"/>
                  </a:lnTo>
                  <a:lnTo>
                    <a:pt x="3138" y="2831"/>
                  </a:lnTo>
                  <a:lnTo>
                    <a:pt x="3031" y="2772"/>
                  </a:lnTo>
                  <a:lnTo>
                    <a:pt x="2950" y="2786"/>
                  </a:lnTo>
                  <a:lnTo>
                    <a:pt x="2944" y="2773"/>
                  </a:lnTo>
                  <a:lnTo>
                    <a:pt x="2957" y="2738"/>
                  </a:lnTo>
                  <a:lnTo>
                    <a:pt x="3001" y="2705"/>
                  </a:lnTo>
                  <a:lnTo>
                    <a:pt x="3093" y="2588"/>
                  </a:lnTo>
                  <a:lnTo>
                    <a:pt x="3224" y="2523"/>
                  </a:lnTo>
                  <a:lnTo>
                    <a:pt x="3242" y="2504"/>
                  </a:lnTo>
                  <a:lnTo>
                    <a:pt x="3219" y="2497"/>
                  </a:lnTo>
                  <a:lnTo>
                    <a:pt x="3208" y="2459"/>
                  </a:lnTo>
                  <a:lnTo>
                    <a:pt x="3170" y="2435"/>
                  </a:lnTo>
                  <a:lnTo>
                    <a:pt x="3150" y="2473"/>
                  </a:lnTo>
                  <a:lnTo>
                    <a:pt x="3097" y="2454"/>
                  </a:lnTo>
                  <a:lnTo>
                    <a:pt x="3091" y="2433"/>
                  </a:lnTo>
                  <a:lnTo>
                    <a:pt x="3048" y="2454"/>
                  </a:lnTo>
                  <a:lnTo>
                    <a:pt x="3045" y="2469"/>
                  </a:lnTo>
                  <a:lnTo>
                    <a:pt x="2906" y="2520"/>
                  </a:lnTo>
                  <a:lnTo>
                    <a:pt x="2820" y="2504"/>
                  </a:lnTo>
                  <a:lnTo>
                    <a:pt x="2785" y="2476"/>
                  </a:lnTo>
                  <a:lnTo>
                    <a:pt x="2755" y="2473"/>
                  </a:lnTo>
                  <a:lnTo>
                    <a:pt x="2698" y="2487"/>
                  </a:lnTo>
                  <a:lnTo>
                    <a:pt x="2690" y="2468"/>
                  </a:lnTo>
                  <a:lnTo>
                    <a:pt x="2747" y="2409"/>
                  </a:lnTo>
                  <a:lnTo>
                    <a:pt x="2737" y="2395"/>
                  </a:lnTo>
                  <a:lnTo>
                    <a:pt x="2658" y="2399"/>
                  </a:lnTo>
                  <a:lnTo>
                    <a:pt x="2629" y="2391"/>
                  </a:lnTo>
                  <a:lnTo>
                    <a:pt x="2665" y="2367"/>
                  </a:lnTo>
                  <a:lnTo>
                    <a:pt x="2790" y="2365"/>
                  </a:lnTo>
                  <a:lnTo>
                    <a:pt x="2799" y="2355"/>
                  </a:lnTo>
                  <a:lnTo>
                    <a:pt x="2785" y="2342"/>
                  </a:lnTo>
                  <a:lnTo>
                    <a:pt x="2755" y="2340"/>
                  </a:lnTo>
                  <a:lnTo>
                    <a:pt x="2685" y="2257"/>
                  </a:lnTo>
                  <a:lnTo>
                    <a:pt x="2679" y="2296"/>
                  </a:lnTo>
                  <a:lnTo>
                    <a:pt x="2601" y="2341"/>
                  </a:lnTo>
                  <a:lnTo>
                    <a:pt x="2601" y="2290"/>
                  </a:lnTo>
                  <a:lnTo>
                    <a:pt x="2523" y="2356"/>
                  </a:lnTo>
                  <a:lnTo>
                    <a:pt x="2382" y="2418"/>
                  </a:lnTo>
                  <a:lnTo>
                    <a:pt x="2382" y="2462"/>
                  </a:lnTo>
                  <a:lnTo>
                    <a:pt x="2338" y="2555"/>
                  </a:lnTo>
                  <a:lnTo>
                    <a:pt x="2318" y="2553"/>
                  </a:lnTo>
                  <a:lnTo>
                    <a:pt x="2295" y="2516"/>
                  </a:lnTo>
                  <a:lnTo>
                    <a:pt x="2251" y="2513"/>
                  </a:lnTo>
                  <a:lnTo>
                    <a:pt x="2230" y="2495"/>
                  </a:lnTo>
                  <a:lnTo>
                    <a:pt x="2248" y="2526"/>
                  </a:lnTo>
                  <a:lnTo>
                    <a:pt x="2297" y="2559"/>
                  </a:lnTo>
                  <a:lnTo>
                    <a:pt x="2314" y="2611"/>
                  </a:lnTo>
                  <a:lnTo>
                    <a:pt x="2270" y="2700"/>
                  </a:lnTo>
                  <a:lnTo>
                    <a:pt x="2201" y="2712"/>
                  </a:lnTo>
                  <a:lnTo>
                    <a:pt x="2193" y="2738"/>
                  </a:lnTo>
                  <a:lnTo>
                    <a:pt x="2165" y="2757"/>
                  </a:lnTo>
                  <a:lnTo>
                    <a:pt x="2166" y="2794"/>
                  </a:lnTo>
                  <a:lnTo>
                    <a:pt x="2141" y="2785"/>
                  </a:lnTo>
                  <a:lnTo>
                    <a:pt x="2129" y="2737"/>
                  </a:lnTo>
                  <a:lnTo>
                    <a:pt x="2117" y="2716"/>
                  </a:lnTo>
                  <a:lnTo>
                    <a:pt x="2148" y="2888"/>
                  </a:lnTo>
                  <a:lnTo>
                    <a:pt x="2133" y="2896"/>
                  </a:lnTo>
                  <a:lnTo>
                    <a:pt x="2104" y="2885"/>
                  </a:lnTo>
                  <a:lnTo>
                    <a:pt x="2061" y="2887"/>
                  </a:lnTo>
                  <a:lnTo>
                    <a:pt x="1943" y="2932"/>
                  </a:lnTo>
                  <a:lnTo>
                    <a:pt x="1895" y="2977"/>
                  </a:lnTo>
                  <a:lnTo>
                    <a:pt x="1842" y="2987"/>
                  </a:lnTo>
                  <a:lnTo>
                    <a:pt x="1768" y="2909"/>
                  </a:lnTo>
                  <a:lnTo>
                    <a:pt x="1726" y="2919"/>
                  </a:lnTo>
                  <a:lnTo>
                    <a:pt x="1725" y="2902"/>
                  </a:lnTo>
                  <a:lnTo>
                    <a:pt x="1772" y="2896"/>
                  </a:lnTo>
                  <a:lnTo>
                    <a:pt x="1797" y="2865"/>
                  </a:lnTo>
                  <a:lnTo>
                    <a:pt x="1795" y="2823"/>
                  </a:lnTo>
                  <a:lnTo>
                    <a:pt x="1807" y="2785"/>
                  </a:lnTo>
                  <a:lnTo>
                    <a:pt x="1843" y="2758"/>
                  </a:lnTo>
                  <a:lnTo>
                    <a:pt x="1843" y="2717"/>
                  </a:lnTo>
                  <a:lnTo>
                    <a:pt x="1866" y="2684"/>
                  </a:lnTo>
                  <a:lnTo>
                    <a:pt x="1902" y="2662"/>
                  </a:lnTo>
                  <a:lnTo>
                    <a:pt x="1902" y="2540"/>
                  </a:lnTo>
                  <a:lnTo>
                    <a:pt x="1916" y="2500"/>
                  </a:lnTo>
                  <a:lnTo>
                    <a:pt x="1951" y="2478"/>
                  </a:lnTo>
                  <a:lnTo>
                    <a:pt x="1976" y="2510"/>
                  </a:lnTo>
                  <a:lnTo>
                    <a:pt x="2008" y="2486"/>
                  </a:lnTo>
                  <a:lnTo>
                    <a:pt x="2127" y="2500"/>
                  </a:lnTo>
                  <a:lnTo>
                    <a:pt x="2158" y="2474"/>
                  </a:lnTo>
                  <a:lnTo>
                    <a:pt x="2170" y="2435"/>
                  </a:lnTo>
                  <a:lnTo>
                    <a:pt x="2148" y="2398"/>
                  </a:lnTo>
                  <a:lnTo>
                    <a:pt x="2151" y="2358"/>
                  </a:lnTo>
                  <a:lnTo>
                    <a:pt x="2140" y="2321"/>
                  </a:lnTo>
                  <a:lnTo>
                    <a:pt x="2115" y="2289"/>
                  </a:lnTo>
                  <a:lnTo>
                    <a:pt x="2040" y="2262"/>
                  </a:lnTo>
                  <a:lnTo>
                    <a:pt x="1998" y="2195"/>
                  </a:lnTo>
                  <a:lnTo>
                    <a:pt x="2002" y="2154"/>
                  </a:lnTo>
                  <a:lnTo>
                    <a:pt x="1986" y="2118"/>
                  </a:lnTo>
                  <a:lnTo>
                    <a:pt x="1945" y="2117"/>
                  </a:lnTo>
                  <a:lnTo>
                    <a:pt x="1922" y="2085"/>
                  </a:lnTo>
                  <a:lnTo>
                    <a:pt x="1888" y="2061"/>
                  </a:lnTo>
                  <a:lnTo>
                    <a:pt x="1885" y="1905"/>
                  </a:lnTo>
                  <a:lnTo>
                    <a:pt x="1862" y="1873"/>
                  </a:lnTo>
                  <a:lnTo>
                    <a:pt x="1824" y="1885"/>
                  </a:lnTo>
                  <a:lnTo>
                    <a:pt x="1763" y="1838"/>
                  </a:lnTo>
                  <a:lnTo>
                    <a:pt x="1724" y="1832"/>
                  </a:lnTo>
                  <a:lnTo>
                    <a:pt x="1648" y="1854"/>
                  </a:lnTo>
                  <a:lnTo>
                    <a:pt x="1611" y="1847"/>
                  </a:lnTo>
                  <a:lnTo>
                    <a:pt x="1477" y="1765"/>
                  </a:lnTo>
                  <a:lnTo>
                    <a:pt x="1397" y="1749"/>
                  </a:lnTo>
                  <a:lnTo>
                    <a:pt x="1284" y="1790"/>
                  </a:lnTo>
                  <a:lnTo>
                    <a:pt x="1246" y="1786"/>
                  </a:lnTo>
                  <a:lnTo>
                    <a:pt x="1215" y="1809"/>
                  </a:lnTo>
                  <a:lnTo>
                    <a:pt x="1193" y="1864"/>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37" name="Freeform 104"/>
            <p:cNvSpPr>
              <a:spLocks/>
            </p:cNvSpPr>
            <p:nvPr/>
          </p:nvSpPr>
          <p:spPr bwMode="auto">
            <a:xfrm>
              <a:off x="6579863" y="3368614"/>
              <a:ext cx="705313" cy="436287"/>
            </a:xfrm>
            <a:custGeom>
              <a:avLst/>
              <a:gdLst>
                <a:gd name="T0" fmla="*/ 0 w 1740"/>
                <a:gd name="T1" fmla="*/ 0 h 1071"/>
                <a:gd name="T2" fmla="*/ 0 w 1740"/>
                <a:gd name="T3" fmla="*/ 0 h 1071"/>
                <a:gd name="T4" fmla="*/ 0 w 1740"/>
                <a:gd name="T5" fmla="*/ 0 h 1071"/>
                <a:gd name="T6" fmla="*/ 0 w 1740"/>
                <a:gd name="T7" fmla="*/ 0 h 1071"/>
                <a:gd name="T8" fmla="*/ 0 w 1740"/>
                <a:gd name="T9" fmla="*/ 0 h 1071"/>
                <a:gd name="T10" fmla="*/ 0 w 1740"/>
                <a:gd name="T11" fmla="*/ 0 h 1071"/>
                <a:gd name="T12" fmla="*/ 0 w 1740"/>
                <a:gd name="T13" fmla="*/ 0 h 1071"/>
                <a:gd name="T14" fmla="*/ 0 w 1740"/>
                <a:gd name="T15" fmla="*/ 0 h 1071"/>
                <a:gd name="T16" fmla="*/ 0 w 1740"/>
                <a:gd name="T17" fmla="*/ 0 h 1071"/>
                <a:gd name="T18" fmla="*/ 0 w 1740"/>
                <a:gd name="T19" fmla="*/ 0 h 1071"/>
                <a:gd name="T20" fmla="*/ 0 w 1740"/>
                <a:gd name="T21" fmla="*/ 0 h 1071"/>
                <a:gd name="T22" fmla="*/ 0 w 1740"/>
                <a:gd name="T23" fmla="*/ 0 h 1071"/>
                <a:gd name="T24" fmla="*/ 0 w 1740"/>
                <a:gd name="T25" fmla="*/ 0 h 1071"/>
                <a:gd name="T26" fmla="*/ 0 w 1740"/>
                <a:gd name="T27" fmla="*/ 0 h 1071"/>
                <a:gd name="T28" fmla="*/ 0 w 1740"/>
                <a:gd name="T29" fmla="*/ 0 h 1071"/>
                <a:gd name="T30" fmla="*/ 0 w 1740"/>
                <a:gd name="T31" fmla="*/ 0 h 1071"/>
                <a:gd name="T32" fmla="*/ 0 w 1740"/>
                <a:gd name="T33" fmla="*/ 0 h 1071"/>
                <a:gd name="T34" fmla="*/ 0 w 1740"/>
                <a:gd name="T35" fmla="*/ 0 h 1071"/>
                <a:gd name="T36" fmla="*/ 0 w 1740"/>
                <a:gd name="T37" fmla="*/ 0 h 1071"/>
                <a:gd name="T38" fmla="*/ 0 w 1740"/>
                <a:gd name="T39" fmla="*/ 0 h 1071"/>
                <a:gd name="T40" fmla="*/ 0 w 1740"/>
                <a:gd name="T41" fmla="*/ 0 h 1071"/>
                <a:gd name="T42" fmla="*/ 0 w 1740"/>
                <a:gd name="T43" fmla="*/ 0 h 1071"/>
                <a:gd name="T44" fmla="*/ 0 w 1740"/>
                <a:gd name="T45" fmla="*/ 0 h 1071"/>
                <a:gd name="T46" fmla="*/ 0 w 1740"/>
                <a:gd name="T47" fmla="*/ 0 h 1071"/>
                <a:gd name="T48" fmla="*/ 0 w 1740"/>
                <a:gd name="T49" fmla="*/ 0 h 1071"/>
                <a:gd name="T50" fmla="*/ 0 w 1740"/>
                <a:gd name="T51" fmla="*/ 0 h 1071"/>
                <a:gd name="T52" fmla="*/ 0 w 1740"/>
                <a:gd name="T53" fmla="*/ 0 h 1071"/>
                <a:gd name="T54" fmla="*/ 0 w 1740"/>
                <a:gd name="T55" fmla="*/ 0 h 1071"/>
                <a:gd name="T56" fmla="*/ 0 w 1740"/>
                <a:gd name="T57" fmla="*/ 0 h 1071"/>
                <a:gd name="T58" fmla="*/ 0 w 1740"/>
                <a:gd name="T59" fmla="*/ 0 h 1071"/>
                <a:gd name="T60" fmla="*/ 0 w 1740"/>
                <a:gd name="T61" fmla="*/ 0 h 1071"/>
                <a:gd name="T62" fmla="*/ 0 w 1740"/>
                <a:gd name="T63" fmla="*/ 0 h 1071"/>
                <a:gd name="T64" fmla="*/ 0 w 1740"/>
                <a:gd name="T65" fmla="*/ 0 h 1071"/>
                <a:gd name="T66" fmla="*/ 0 w 1740"/>
                <a:gd name="T67" fmla="*/ 0 h 1071"/>
                <a:gd name="T68" fmla="*/ 0 w 1740"/>
                <a:gd name="T69" fmla="*/ 0 h 107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40"/>
                <a:gd name="T106" fmla="*/ 0 h 1071"/>
                <a:gd name="T107" fmla="*/ 1740 w 1740"/>
                <a:gd name="T108" fmla="*/ 1071 h 107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40" h="1071">
                  <a:moveTo>
                    <a:pt x="1740" y="680"/>
                  </a:moveTo>
                  <a:lnTo>
                    <a:pt x="1705" y="710"/>
                  </a:lnTo>
                  <a:lnTo>
                    <a:pt x="1653" y="706"/>
                  </a:lnTo>
                  <a:lnTo>
                    <a:pt x="1602" y="775"/>
                  </a:lnTo>
                  <a:lnTo>
                    <a:pt x="1561" y="786"/>
                  </a:lnTo>
                  <a:lnTo>
                    <a:pt x="1551" y="807"/>
                  </a:lnTo>
                  <a:lnTo>
                    <a:pt x="1546" y="866"/>
                  </a:lnTo>
                  <a:lnTo>
                    <a:pt x="1520" y="906"/>
                  </a:lnTo>
                  <a:lnTo>
                    <a:pt x="1478" y="912"/>
                  </a:lnTo>
                  <a:lnTo>
                    <a:pt x="1477" y="947"/>
                  </a:lnTo>
                  <a:lnTo>
                    <a:pt x="1414" y="992"/>
                  </a:lnTo>
                  <a:lnTo>
                    <a:pt x="1342" y="997"/>
                  </a:lnTo>
                  <a:lnTo>
                    <a:pt x="1317" y="976"/>
                  </a:lnTo>
                  <a:lnTo>
                    <a:pt x="1283" y="972"/>
                  </a:lnTo>
                  <a:lnTo>
                    <a:pt x="1221" y="1071"/>
                  </a:lnTo>
                  <a:lnTo>
                    <a:pt x="1223" y="1005"/>
                  </a:lnTo>
                  <a:lnTo>
                    <a:pt x="1188" y="955"/>
                  </a:lnTo>
                  <a:lnTo>
                    <a:pt x="1018" y="961"/>
                  </a:lnTo>
                  <a:lnTo>
                    <a:pt x="955" y="897"/>
                  </a:lnTo>
                  <a:lnTo>
                    <a:pt x="916" y="875"/>
                  </a:lnTo>
                  <a:lnTo>
                    <a:pt x="757" y="856"/>
                  </a:lnTo>
                  <a:lnTo>
                    <a:pt x="708" y="942"/>
                  </a:lnTo>
                  <a:lnTo>
                    <a:pt x="660" y="978"/>
                  </a:lnTo>
                  <a:lnTo>
                    <a:pt x="618" y="993"/>
                  </a:lnTo>
                  <a:lnTo>
                    <a:pt x="509" y="985"/>
                  </a:lnTo>
                  <a:lnTo>
                    <a:pt x="504" y="983"/>
                  </a:lnTo>
                  <a:lnTo>
                    <a:pt x="495" y="976"/>
                  </a:lnTo>
                  <a:lnTo>
                    <a:pt x="480" y="967"/>
                  </a:lnTo>
                  <a:lnTo>
                    <a:pt x="464" y="955"/>
                  </a:lnTo>
                  <a:lnTo>
                    <a:pt x="448" y="945"/>
                  </a:lnTo>
                  <a:lnTo>
                    <a:pt x="432" y="935"/>
                  </a:lnTo>
                  <a:lnTo>
                    <a:pt x="422" y="928"/>
                  </a:lnTo>
                  <a:lnTo>
                    <a:pt x="419" y="926"/>
                  </a:lnTo>
                  <a:lnTo>
                    <a:pt x="85" y="544"/>
                  </a:lnTo>
                  <a:lnTo>
                    <a:pt x="87" y="402"/>
                  </a:lnTo>
                  <a:lnTo>
                    <a:pt x="35" y="371"/>
                  </a:lnTo>
                  <a:lnTo>
                    <a:pt x="0" y="320"/>
                  </a:lnTo>
                  <a:lnTo>
                    <a:pt x="5" y="279"/>
                  </a:lnTo>
                  <a:lnTo>
                    <a:pt x="13" y="260"/>
                  </a:lnTo>
                  <a:lnTo>
                    <a:pt x="78" y="333"/>
                  </a:lnTo>
                  <a:lnTo>
                    <a:pt x="89" y="332"/>
                  </a:lnTo>
                  <a:lnTo>
                    <a:pt x="117" y="274"/>
                  </a:lnTo>
                  <a:lnTo>
                    <a:pt x="356" y="199"/>
                  </a:lnTo>
                  <a:lnTo>
                    <a:pt x="392" y="150"/>
                  </a:lnTo>
                  <a:lnTo>
                    <a:pt x="570" y="101"/>
                  </a:lnTo>
                  <a:lnTo>
                    <a:pt x="594" y="0"/>
                  </a:lnTo>
                  <a:lnTo>
                    <a:pt x="636" y="15"/>
                  </a:lnTo>
                  <a:lnTo>
                    <a:pt x="693" y="116"/>
                  </a:lnTo>
                  <a:lnTo>
                    <a:pt x="723" y="118"/>
                  </a:lnTo>
                  <a:lnTo>
                    <a:pt x="751" y="139"/>
                  </a:lnTo>
                  <a:lnTo>
                    <a:pt x="823" y="72"/>
                  </a:lnTo>
                  <a:lnTo>
                    <a:pt x="867" y="100"/>
                  </a:lnTo>
                  <a:lnTo>
                    <a:pt x="889" y="146"/>
                  </a:lnTo>
                  <a:lnTo>
                    <a:pt x="1021" y="169"/>
                  </a:lnTo>
                  <a:lnTo>
                    <a:pt x="1060" y="227"/>
                  </a:lnTo>
                  <a:lnTo>
                    <a:pt x="1111" y="238"/>
                  </a:lnTo>
                  <a:lnTo>
                    <a:pt x="1116" y="246"/>
                  </a:lnTo>
                  <a:lnTo>
                    <a:pt x="1115" y="260"/>
                  </a:lnTo>
                  <a:lnTo>
                    <a:pt x="1091" y="308"/>
                  </a:lnTo>
                  <a:lnTo>
                    <a:pt x="1177" y="396"/>
                  </a:lnTo>
                  <a:lnTo>
                    <a:pt x="1209" y="411"/>
                  </a:lnTo>
                  <a:lnTo>
                    <a:pt x="1264" y="378"/>
                  </a:lnTo>
                  <a:lnTo>
                    <a:pt x="1251" y="350"/>
                  </a:lnTo>
                  <a:lnTo>
                    <a:pt x="1258" y="322"/>
                  </a:lnTo>
                  <a:lnTo>
                    <a:pt x="1458" y="382"/>
                  </a:lnTo>
                  <a:lnTo>
                    <a:pt x="1459" y="456"/>
                  </a:lnTo>
                  <a:lnTo>
                    <a:pt x="1500" y="489"/>
                  </a:lnTo>
                  <a:lnTo>
                    <a:pt x="1522" y="482"/>
                  </a:lnTo>
                  <a:lnTo>
                    <a:pt x="1564" y="505"/>
                  </a:lnTo>
                  <a:lnTo>
                    <a:pt x="1651" y="639"/>
                  </a:lnTo>
                  <a:lnTo>
                    <a:pt x="1740" y="680"/>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38" name="Freeform 109"/>
            <p:cNvSpPr>
              <a:spLocks/>
            </p:cNvSpPr>
            <p:nvPr/>
          </p:nvSpPr>
          <p:spPr bwMode="auto">
            <a:xfrm>
              <a:off x="5865072" y="3844754"/>
              <a:ext cx="497498" cy="293653"/>
            </a:xfrm>
            <a:custGeom>
              <a:avLst/>
              <a:gdLst>
                <a:gd name="T0" fmla="*/ 0 w 1229"/>
                <a:gd name="T1" fmla="*/ 0 h 727"/>
                <a:gd name="T2" fmla="*/ 0 w 1229"/>
                <a:gd name="T3" fmla="*/ 0 h 727"/>
                <a:gd name="T4" fmla="*/ 0 w 1229"/>
                <a:gd name="T5" fmla="*/ 0 h 727"/>
                <a:gd name="T6" fmla="*/ 0 w 1229"/>
                <a:gd name="T7" fmla="*/ 0 h 727"/>
                <a:gd name="T8" fmla="*/ 0 w 1229"/>
                <a:gd name="T9" fmla="*/ 0 h 727"/>
                <a:gd name="T10" fmla="*/ 0 w 1229"/>
                <a:gd name="T11" fmla="*/ 0 h 727"/>
                <a:gd name="T12" fmla="*/ 0 w 1229"/>
                <a:gd name="T13" fmla="*/ 0 h 727"/>
                <a:gd name="T14" fmla="*/ 0 w 1229"/>
                <a:gd name="T15" fmla="*/ 0 h 727"/>
                <a:gd name="T16" fmla="*/ 0 w 1229"/>
                <a:gd name="T17" fmla="*/ 0 h 727"/>
                <a:gd name="T18" fmla="*/ 0 w 1229"/>
                <a:gd name="T19" fmla="*/ 0 h 727"/>
                <a:gd name="T20" fmla="*/ 0 w 1229"/>
                <a:gd name="T21" fmla="*/ 0 h 727"/>
                <a:gd name="T22" fmla="*/ 0 w 1229"/>
                <a:gd name="T23" fmla="*/ 0 h 727"/>
                <a:gd name="T24" fmla="*/ 0 w 1229"/>
                <a:gd name="T25" fmla="*/ 0 h 727"/>
                <a:gd name="T26" fmla="*/ 0 w 1229"/>
                <a:gd name="T27" fmla="*/ 0 h 727"/>
                <a:gd name="T28" fmla="*/ 0 w 1229"/>
                <a:gd name="T29" fmla="*/ 0 h 727"/>
                <a:gd name="T30" fmla="*/ 0 w 1229"/>
                <a:gd name="T31" fmla="*/ 0 h 727"/>
                <a:gd name="T32" fmla="*/ 0 w 1229"/>
                <a:gd name="T33" fmla="*/ 0 h 727"/>
                <a:gd name="T34" fmla="*/ 0 w 1229"/>
                <a:gd name="T35" fmla="*/ 0 h 727"/>
                <a:gd name="T36" fmla="*/ 0 w 1229"/>
                <a:gd name="T37" fmla="*/ 0 h 727"/>
                <a:gd name="T38" fmla="*/ 0 w 1229"/>
                <a:gd name="T39" fmla="*/ 0 h 727"/>
                <a:gd name="T40" fmla="*/ 0 w 1229"/>
                <a:gd name="T41" fmla="*/ 0 h 727"/>
                <a:gd name="T42" fmla="*/ 0 w 1229"/>
                <a:gd name="T43" fmla="*/ 0 h 727"/>
                <a:gd name="T44" fmla="*/ 0 w 1229"/>
                <a:gd name="T45" fmla="*/ 0 h 727"/>
                <a:gd name="T46" fmla="*/ 0 w 1229"/>
                <a:gd name="T47" fmla="*/ 0 h 727"/>
                <a:gd name="T48" fmla="*/ 0 w 1229"/>
                <a:gd name="T49" fmla="*/ 0 h 727"/>
                <a:gd name="T50" fmla="*/ 0 w 1229"/>
                <a:gd name="T51" fmla="*/ 0 h 727"/>
                <a:gd name="T52" fmla="*/ 0 w 1229"/>
                <a:gd name="T53" fmla="*/ 0 h 727"/>
                <a:gd name="T54" fmla="*/ 0 w 1229"/>
                <a:gd name="T55" fmla="*/ 0 h 727"/>
                <a:gd name="T56" fmla="*/ 0 w 1229"/>
                <a:gd name="T57" fmla="*/ 0 h 727"/>
                <a:gd name="T58" fmla="*/ 0 w 1229"/>
                <a:gd name="T59" fmla="*/ 0 h 727"/>
                <a:gd name="T60" fmla="*/ 0 w 1229"/>
                <a:gd name="T61" fmla="*/ 0 h 727"/>
                <a:gd name="T62" fmla="*/ 0 w 1229"/>
                <a:gd name="T63" fmla="*/ 0 h 727"/>
                <a:gd name="T64" fmla="*/ 0 w 1229"/>
                <a:gd name="T65" fmla="*/ 0 h 727"/>
                <a:gd name="T66" fmla="*/ 0 w 1229"/>
                <a:gd name="T67" fmla="*/ 0 h 727"/>
                <a:gd name="T68" fmla="*/ 0 w 1229"/>
                <a:gd name="T69" fmla="*/ 0 h 727"/>
                <a:gd name="T70" fmla="*/ 0 w 1229"/>
                <a:gd name="T71" fmla="*/ 0 h 727"/>
                <a:gd name="T72" fmla="*/ 0 w 1229"/>
                <a:gd name="T73" fmla="*/ 0 h 727"/>
                <a:gd name="T74" fmla="*/ 0 w 1229"/>
                <a:gd name="T75" fmla="*/ 0 h 727"/>
                <a:gd name="T76" fmla="*/ 0 w 1229"/>
                <a:gd name="T77" fmla="*/ 0 h 727"/>
                <a:gd name="T78" fmla="*/ 0 w 1229"/>
                <a:gd name="T79" fmla="*/ 0 h 727"/>
                <a:gd name="T80" fmla="*/ 0 w 1229"/>
                <a:gd name="T81" fmla="*/ 0 h 727"/>
                <a:gd name="T82" fmla="*/ 0 w 1229"/>
                <a:gd name="T83" fmla="*/ 0 h 727"/>
                <a:gd name="T84" fmla="*/ 0 w 1229"/>
                <a:gd name="T85" fmla="*/ 0 h 727"/>
                <a:gd name="T86" fmla="*/ 0 w 1229"/>
                <a:gd name="T87" fmla="*/ 0 h 727"/>
                <a:gd name="T88" fmla="*/ 0 w 1229"/>
                <a:gd name="T89" fmla="*/ 0 h 727"/>
                <a:gd name="T90" fmla="*/ 0 w 1229"/>
                <a:gd name="T91" fmla="*/ 0 h 727"/>
                <a:gd name="T92" fmla="*/ 0 w 1229"/>
                <a:gd name="T93" fmla="*/ 0 h 727"/>
                <a:gd name="T94" fmla="*/ 0 w 1229"/>
                <a:gd name="T95" fmla="*/ 0 h 727"/>
                <a:gd name="T96" fmla="*/ 0 w 1229"/>
                <a:gd name="T97" fmla="*/ 0 h 727"/>
                <a:gd name="T98" fmla="*/ 0 w 1229"/>
                <a:gd name="T99" fmla="*/ 0 h 727"/>
                <a:gd name="T100" fmla="*/ 0 w 1229"/>
                <a:gd name="T101" fmla="*/ 0 h 727"/>
                <a:gd name="T102" fmla="*/ 0 w 1229"/>
                <a:gd name="T103" fmla="*/ 0 h 727"/>
                <a:gd name="T104" fmla="*/ 0 w 1229"/>
                <a:gd name="T105" fmla="*/ 0 h 727"/>
                <a:gd name="T106" fmla="*/ 0 w 1229"/>
                <a:gd name="T107" fmla="*/ 0 h 727"/>
                <a:gd name="T108" fmla="*/ 0 w 1229"/>
                <a:gd name="T109" fmla="*/ 0 h 7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29"/>
                <a:gd name="T166" fmla="*/ 0 h 727"/>
                <a:gd name="T167" fmla="*/ 1229 w 1229"/>
                <a:gd name="T168" fmla="*/ 727 h 7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29" h="727">
                  <a:moveTo>
                    <a:pt x="250" y="656"/>
                  </a:moveTo>
                  <a:lnTo>
                    <a:pt x="244" y="600"/>
                  </a:lnTo>
                  <a:lnTo>
                    <a:pt x="209" y="584"/>
                  </a:lnTo>
                  <a:lnTo>
                    <a:pt x="221" y="444"/>
                  </a:lnTo>
                  <a:lnTo>
                    <a:pt x="208" y="434"/>
                  </a:lnTo>
                  <a:lnTo>
                    <a:pt x="122" y="418"/>
                  </a:lnTo>
                  <a:lnTo>
                    <a:pt x="54" y="491"/>
                  </a:lnTo>
                  <a:lnTo>
                    <a:pt x="17" y="506"/>
                  </a:lnTo>
                  <a:lnTo>
                    <a:pt x="0" y="492"/>
                  </a:lnTo>
                  <a:lnTo>
                    <a:pt x="56" y="327"/>
                  </a:lnTo>
                  <a:lnTo>
                    <a:pt x="79" y="312"/>
                  </a:lnTo>
                  <a:lnTo>
                    <a:pt x="102" y="283"/>
                  </a:lnTo>
                  <a:lnTo>
                    <a:pt x="139" y="268"/>
                  </a:lnTo>
                  <a:lnTo>
                    <a:pt x="151" y="257"/>
                  </a:lnTo>
                  <a:lnTo>
                    <a:pt x="171" y="210"/>
                  </a:lnTo>
                  <a:lnTo>
                    <a:pt x="340" y="71"/>
                  </a:lnTo>
                  <a:lnTo>
                    <a:pt x="327" y="42"/>
                  </a:lnTo>
                  <a:lnTo>
                    <a:pt x="353" y="13"/>
                  </a:lnTo>
                  <a:lnTo>
                    <a:pt x="436" y="34"/>
                  </a:lnTo>
                  <a:lnTo>
                    <a:pt x="470" y="25"/>
                  </a:lnTo>
                  <a:lnTo>
                    <a:pt x="510" y="0"/>
                  </a:lnTo>
                  <a:lnTo>
                    <a:pt x="541" y="36"/>
                  </a:lnTo>
                  <a:lnTo>
                    <a:pt x="837" y="34"/>
                  </a:lnTo>
                  <a:lnTo>
                    <a:pt x="1009" y="128"/>
                  </a:lnTo>
                  <a:lnTo>
                    <a:pt x="1040" y="171"/>
                  </a:lnTo>
                  <a:lnTo>
                    <a:pt x="1005" y="259"/>
                  </a:lnTo>
                  <a:lnTo>
                    <a:pt x="1034" y="324"/>
                  </a:lnTo>
                  <a:lnTo>
                    <a:pt x="1111" y="379"/>
                  </a:lnTo>
                  <a:lnTo>
                    <a:pt x="1155" y="391"/>
                  </a:lnTo>
                  <a:lnTo>
                    <a:pt x="1194" y="375"/>
                  </a:lnTo>
                  <a:lnTo>
                    <a:pt x="1229" y="407"/>
                  </a:lnTo>
                  <a:lnTo>
                    <a:pt x="1207" y="459"/>
                  </a:lnTo>
                  <a:lnTo>
                    <a:pt x="1206" y="492"/>
                  </a:lnTo>
                  <a:lnTo>
                    <a:pt x="1184" y="505"/>
                  </a:lnTo>
                  <a:lnTo>
                    <a:pt x="1131" y="500"/>
                  </a:lnTo>
                  <a:lnTo>
                    <a:pt x="1117" y="531"/>
                  </a:lnTo>
                  <a:lnTo>
                    <a:pt x="1118" y="567"/>
                  </a:lnTo>
                  <a:lnTo>
                    <a:pt x="1131" y="598"/>
                  </a:lnTo>
                  <a:lnTo>
                    <a:pt x="1118" y="619"/>
                  </a:lnTo>
                  <a:lnTo>
                    <a:pt x="962" y="574"/>
                  </a:lnTo>
                  <a:lnTo>
                    <a:pt x="937" y="543"/>
                  </a:lnTo>
                  <a:lnTo>
                    <a:pt x="903" y="521"/>
                  </a:lnTo>
                  <a:lnTo>
                    <a:pt x="884" y="572"/>
                  </a:lnTo>
                  <a:lnTo>
                    <a:pt x="819" y="661"/>
                  </a:lnTo>
                  <a:lnTo>
                    <a:pt x="801" y="707"/>
                  </a:lnTo>
                  <a:lnTo>
                    <a:pt x="786" y="727"/>
                  </a:lnTo>
                  <a:lnTo>
                    <a:pt x="755" y="700"/>
                  </a:lnTo>
                  <a:lnTo>
                    <a:pt x="732" y="656"/>
                  </a:lnTo>
                  <a:lnTo>
                    <a:pt x="681" y="606"/>
                  </a:lnTo>
                  <a:lnTo>
                    <a:pt x="666" y="507"/>
                  </a:lnTo>
                  <a:lnTo>
                    <a:pt x="607" y="528"/>
                  </a:lnTo>
                  <a:lnTo>
                    <a:pt x="572" y="562"/>
                  </a:lnTo>
                  <a:lnTo>
                    <a:pt x="565" y="606"/>
                  </a:lnTo>
                  <a:lnTo>
                    <a:pt x="481" y="664"/>
                  </a:lnTo>
                  <a:lnTo>
                    <a:pt x="250" y="656"/>
                  </a:lnTo>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39" name="Freeform 114"/>
            <p:cNvSpPr>
              <a:spLocks/>
            </p:cNvSpPr>
            <p:nvPr/>
          </p:nvSpPr>
          <p:spPr bwMode="auto">
            <a:xfrm>
              <a:off x="7687131" y="4474011"/>
              <a:ext cx="726305" cy="469846"/>
            </a:xfrm>
            <a:custGeom>
              <a:avLst/>
              <a:gdLst>
                <a:gd name="T0" fmla="*/ 0 w 1784"/>
                <a:gd name="T1" fmla="*/ 0 h 1159"/>
                <a:gd name="T2" fmla="*/ 0 w 1784"/>
                <a:gd name="T3" fmla="*/ 0 h 1159"/>
                <a:gd name="T4" fmla="*/ 0 w 1784"/>
                <a:gd name="T5" fmla="*/ 0 h 1159"/>
                <a:gd name="T6" fmla="*/ 0 w 1784"/>
                <a:gd name="T7" fmla="*/ 0 h 1159"/>
                <a:gd name="T8" fmla="*/ 0 w 1784"/>
                <a:gd name="T9" fmla="*/ 0 h 1159"/>
                <a:gd name="T10" fmla="*/ 0 w 1784"/>
                <a:gd name="T11" fmla="*/ 0 h 1159"/>
                <a:gd name="T12" fmla="*/ 0 w 1784"/>
                <a:gd name="T13" fmla="*/ 0 h 1159"/>
                <a:gd name="T14" fmla="*/ 0 w 1784"/>
                <a:gd name="T15" fmla="*/ 0 h 1159"/>
                <a:gd name="T16" fmla="*/ 0 w 1784"/>
                <a:gd name="T17" fmla="*/ 0 h 1159"/>
                <a:gd name="T18" fmla="*/ 0 w 1784"/>
                <a:gd name="T19" fmla="*/ 0 h 1159"/>
                <a:gd name="T20" fmla="*/ 0 w 1784"/>
                <a:gd name="T21" fmla="*/ 0 h 1159"/>
                <a:gd name="T22" fmla="*/ 0 w 1784"/>
                <a:gd name="T23" fmla="*/ 0 h 1159"/>
                <a:gd name="T24" fmla="*/ 0 w 1784"/>
                <a:gd name="T25" fmla="*/ 0 h 1159"/>
                <a:gd name="T26" fmla="*/ 0 w 1784"/>
                <a:gd name="T27" fmla="*/ 0 h 1159"/>
                <a:gd name="T28" fmla="*/ 0 w 1784"/>
                <a:gd name="T29" fmla="*/ 0 h 1159"/>
                <a:gd name="T30" fmla="*/ 0 w 1784"/>
                <a:gd name="T31" fmla="*/ 0 h 1159"/>
                <a:gd name="T32" fmla="*/ 0 w 1784"/>
                <a:gd name="T33" fmla="*/ 0 h 1159"/>
                <a:gd name="T34" fmla="*/ 0 w 1784"/>
                <a:gd name="T35" fmla="*/ 0 h 1159"/>
                <a:gd name="T36" fmla="*/ 0 w 1784"/>
                <a:gd name="T37" fmla="*/ 0 h 1159"/>
                <a:gd name="T38" fmla="*/ 0 w 1784"/>
                <a:gd name="T39" fmla="*/ 0 h 1159"/>
                <a:gd name="T40" fmla="*/ 0 w 1784"/>
                <a:gd name="T41" fmla="*/ 0 h 1159"/>
                <a:gd name="T42" fmla="*/ 0 w 1784"/>
                <a:gd name="T43" fmla="*/ 0 h 1159"/>
                <a:gd name="T44" fmla="*/ 0 w 1784"/>
                <a:gd name="T45" fmla="*/ 0 h 1159"/>
                <a:gd name="T46" fmla="*/ 0 w 1784"/>
                <a:gd name="T47" fmla="*/ 0 h 1159"/>
                <a:gd name="T48" fmla="*/ 0 w 1784"/>
                <a:gd name="T49" fmla="*/ 0 h 1159"/>
                <a:gd name="T50" fmla="*/ 0 w 1784"/>
                <a:gd name="T51" fmla="*/ 0 h 1159"/>
                <a:gd name="T52" fmla="*/ 0 w 1784"/>
                <a:gd name="T53" fmla="*/ 0 h 1159"/>
                <a:gd name="T54" fmla="*/ 0 w 1784"/>
                <a:gd name="T55" fmla="*/ 0 h 1159"/>
                <a:gd name="T56" fmla="*/ 0 w 1784"/>
                <a:gd name="T57" fmla="*/ 0 h 1159"/>
                <a:gd name="T58" fmla="*/ 0 w 1784"/>
                <a:gd name="T59" fmla="*/ 0 h 1159"/>
                <a:gd name="T60" fmla="*/ 0 w 1784"/>
                <a:gd name="T61" fmla="*/ 0 h 1159"/>
                <a:gd name="T62" fmla="*/ 0 w 1784"/>
                <a:gd name="T63" fmla="*/ 0 h 1159"/>
                <a:gd name="T64" fmla="*/ 0 w 1784"/>
                <a:gd name="T65" fmla="*/ 0 h 1159"/>
                <a:gd name="T66" fmla="*/ 0 w 1784"/>
                <a:gd name="T67" fmla="*/ 0 h 1159"/>
                <a:gd name="T68" fmla="*/ 0 w 1784"/>
                <a:gd name="T69" fmla="*/ 0 h 1159"/>
                <a:gd name="T70" fmla="*/ 0 w 1784"/>
                <a:gd name="T71" fmla="*/ 0 h 1159"/>
                <a:gd name="T72" fmla="*/ 0 w 1784"/>
                <a:gd name="T73" fmla="*/ 0 h 1159"/>
                <a:gd name="T74" fmla="*/ 0 w 1784"/>
                <a:gd name="T75" fmla="*/ 0 h 1159"/>
                <a:gd name="T76" fmla="*/ 0 w 1784"/>
                <a:gd name="T77" fmla="*/ 0 h 1159"/>
                <a:gd name="T78" fmla="*/ 0 w 1784"/>
                <a:gd name="T79" fmla="*/ 0 h 1159"/>
                <a:gd name="T80" fmla="*/ 0 w 1784"/>
                <a:gd name="T81" fmla="*/ 0 h 1159"/>
                <a:gd name="T82" fmla="*/ 0 w 1784"/>
                <a:gd name="T83" fmla="*/ 0 h 1159"/>
                <a:gd name="T84" fmla="*/ 0 w 1784"/>
                <a:gd name="T85" fmla="*/ 0 h 11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84"/>
                <a:gd name="T130" fmla="*/ 0 h 1159"/>
                <a:gd name="T131" fmla="*/ 1784 w 1784"/>
                <a:gd name="T132" fmla="*/ 1159 h 11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84" h="1159">
                  <a:moveTo>
                    <a:pt x="189" y="1159"/>
                  </a:moveTo>
                  <a:lnTo>
                    <a:pt x="143" y="911"/>
                  </a:lnTo>
                  <a:lnTo>
                    <a:pt x="17" y="812"/>
                  </a:lnTo>
                  <a:lnTo>
                    <a:pt x="14" y="684"/>
                  </a:lnTo>
                  <a:lnTo>
                    <a:pt x="74" y="547"/>
                  </a:lnTo>
                  <a:lnTo>
                    <a:pt x="132" y="485"/>
                  </a:lnTo>
                  <a:lnTo>
                    <a:pt x="2" y="324"/>
                  </a:lnTo>
                  <a:lnTo>
                    <a:pt x="0" y="104"/>
                  </a:lnTo>
                  <a:lnTo>
                    <a:pt x="85" y="61"/>
                  </a:lnTo>
                  <a:lnTo>
                    <a:pt x="152" y="80"/>
                  </a:lnTo>
                  <a:lnTo>
                    <a:pt x="120" y="156"/>
                  </a:lnTo>
                  <a:lnTo>
                    <a:pt x="178" y="201"/>
                  </a:lnTo>
                  <a:lnTo>
                    <a:pt x="875" y="223"/>
                  </a:lnTo>
                  <a:lnTo>
                    <a:pt x="1289" y="6"/>
                  </a:lnTo>
                  <a:lnTo>
                    <a:pt x="1388" y="0"/>
                  </a:lnTo>
                  <a:lnTo>
                    <a:pt x="1424" y="25"/>
                  </a:lnTo>
                  <a:lnTo>
                    <a:pt x="1580" y="50"/>
                  </a:lnTo>
                  <a:lnTo>
                    <a:pt x="1693" y="114"/>
                  </a:lnTo>
                  <a:lnTo>
                    <a:pt x="1784" y="94"/>
                  </a:lnTo>
                  <a:lnTo>
                    <a:pt x="1780" y="178"/>
                  </a:lnTo>
                  <a:lnTo>
                    <a:pt x="1758" y="240"/>
                  </a:lnTo>
                  <a:lnTo>
                    <a:pt x="1662" y="276"/>
                  </a:lnTo>
                  <a:lnTo>
                    <a:pt x="1606" y="359"/>
                  </a:lnTo>
                  <a:lnTo>
                    <a:pt x="1619" y="515"/>
                  </a:lnTo>
                  <a:lnTo>
                    <a:pt x="1576" y="536"/>
                  </a:lnTo>
                  <a:lnTo>
                    <a:pt x="1563" y="566"/>
                  </a:lnTo>
                  <a:lnTo>
                    <a:pt x="1510" y="623"/>
                  </a:lnTo>
                  <a:lnTo>
                    <a:pt x="1529" y="644"/>
                  </a:lnTo>
                  <a:lnTo>
                    <a:pt x="1555" y="649"/>
                  </a:lnTo>
                  <a:lnTo>
                    <a:pt x="1671" y="807"/>
                  </a:lnTo>
                  <a:lnTo>
                    <a:pt x="1678" y="842"/>
                  </a:lnTo>
                  <a:lnTo>
                    <a:pt x="1635" y="840"/>
                  </a:lnTo>
                  <a:lnTo>
                    <a:pt x="1513" y="868"/>
                  </a:lnTo>
                  <a:lnTo>
                    <a:pt x="1415" y="826"/>
                  </a:lnTo>
                  <a:lnTo>
                    <a:pt x="1235" y="896"/>
                  </a:lnTo>
                  <a:lnTo>
                    <a:pt x="1189" y="937"/>
                  </a:lnTo>
                  <a:lnTo>
                    <a:pt x="1127" y="947"/>
                  </a:lnTo>
                  <a:lnTo>
                    <a:pt x="1125" y="1056"/>
                  </a:lnTo>
                  <a:lnTo>
                    <a:pt x="1056" y="1127"/>
                  </a:lnTo>
                  <a:lnTo>
                    <a:pt x="948" y="1158"/>
                  </a:lnTo>
                  <a:lnTo>
                    <a:pt x="751" y="1103"/>
                  </a:lnTo>
                  <a:lnTo>
                    <a:pt x="696" y="1060"/>
                  </a:lnTo>
                  <a:lnTo>
                    <a:pt x="189" y="1159"/>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40" name="Freeform 129"/>
            <p:cNvSpPr>
              <a:spLocks/>
            </p:cNvSpPr>
            <p:nvPr/>
          </p:nvSpPr>
          <p:spPr bwMode="auto">
            <a:xfrm>
              <a:off x="7329777" y="4748788"/>
              <a:ext cx="218311" cy="476139"/>
            </a:xfrm>
            <a:custGeom>
              <a:avLst/>
              <a:gdLst>
                <a:gd name="T0" fmla="*/ 0 w 533"/>
                <a:gd name="T1" fmla="*/ 0 h 1170"/>
                <a:gd name="T2" fmla="*/ 0 w 533"/>
                <a:gd name="T3" fmla="*/ 0 h 1170"/>
                <a:gd name="T4" fmla="*/ 0 w 533"/>
                <a:gd name="T5" fmla="*/ 0 h 1170"/>
                <a:gd name="T6" fmla="*/ 0 w 533"/>
                <a:gd name="T7" fmla="*/ 0 h 1170"/>
                <a:gd name="T8" fmla="*/ 0 w 533"/>
                <a:gd name="T9" fmla="*/ 0 h 1170"/>
                <a:gd name="T10" fmla="*/ 0 w 533"/>
                <a:gd name="T11" fmla="*/ 0 h 1170"/>
                <a:gd name="T12" fmla="*/ 0 w 533"/>
                <a:gd name="T13" fmla="*/ 0 h 1170"/>
                <a:gd name="T14" fmla="*/ 0 w 533"/>
                <a:gd name="T15" fmla="*/ 0 h 1170"/>
                <a:gd name="T16" fmla="*/ 0 w 533"/>
                <a:gd name="T17" fmla="*/ 0 h 1170"/>
                <a:gd name="T18" fmla="*/ 0 w 533"/>
                <a:gd name="T19" fmla="*/ 0 h 1170"/>
                <a:gd name="T20" fmla="*/ 0 w 533"/>
                <a:gd name="T21" fmla="*/ 0 h 1170"/>
                <a:gd name="T22" fmla="*/ 0 w 533"/>
                <a:gd name="T23" fmla="*/ 0 h 1170"/>
                <a:gd name="T24" fmla="*/ 0 w 533"/>
                <a:gd name="T25" fmla="*/ 0 h 1170"/>
                <a:gd name="T26" fmla="*/ 0 w 533"/>
                <a:gd name="T27" fmla="*/ 0 h 1170"/>
                <a:gd name="T28" fmla="*/ 0 w 533"/>
                <a:gd name="T29" fmla="*/ 0 h 1170"/>
                <a:gd name="T30" fmla="*/ 0 w 533"/>
                <a:gd name="T31" fmla="*/ 0 h 1170"/>
                <a:gd name="T32" fmla="*/ 0 w 533"/>
                <a:gd name="T33" fmla="*/ 0 h 1170"/>
                <a:gd name="T34" fmla="*/ 0 w 533"/>
                <a:gd name="T35" fmla="*/ 0 h 1170"/>
                <a:gd name="T36" fmla="*/ 0 w 533"/>
                <a:gd name="T37" fmla="*/ 0 h 1170"/>
                <a:gd name="T38" fmla="*/ 0 w 533"/>
                <a:gd name="T39" fmla="*/ 0 h 1170"/>
                <a:gd name="T40" fmla="*/ 0 w 533"/>
                <a:gd name="T41" fmla="*/ 0 h 1170"/>
                <a:gd name="T42" fmla="*/ 0 w 533"/>
                <a:gd name="T43" fmla="*/ 0 h 1170"/>
                <a:gd name="T44" fmla="*/ 0 w 533"/>
                <a:gd name="T45" fmla="*/ 0 h 1170"/>
                <a:gd name="T46" fmla="*/ 0 w 533"/>
                <a:gd name="T47" fmla="*/ 0 h 1170"/>
                <a:gd name="T48" fmla="*/ 0 w 533"/>
                <a:gd name="T49" fmla="*/ 0 h 1170"/>
                <a:gd name="T50" fmla="*/ 0 w 533"/>
                <a:gd name="T51" fmla="*/ 0 h 1170"/>
                <a:gd name="T52" fmla="*/ 0 w 533"/>
                <a:gd name="T53" fmla="*/ 0 h 1170"/>
                <a:gd name="T54" fmla="*/ 0 w 533"/>
                <a:gd name="T55" fmla="*/ 0 h 1170"/>
                <a:gd name="T56" fmla="*/ 0 w 533"/>
                <a:gd name="T57" fmla="*/ 0 h 1170"/>
                <a:gd name="T58" fmla="*/ 0 w 533"/>
                <a:gd name="T59" fmla="*/ 0 h 1170"/>
                <a:gd name="T60" fmla="*/ 0 w 533"/>
                <a:gd name="T61" fmla="*/ 0 h 1170"/>
                <a:gd name="T62" fmla="*/ 0 w 533"/>
                <a:gd name="T63" fmla="*/ 0 h 1170"/>
                <a:gd name="T64" fmla="*/ 0 w 533"/>
                <a:gd name="T65" fmla="*/ 0 h 1170"/>
                <a:gd name="T66" fmla="*/ 0 w 533"/>
                <a:gd name="T67" fmla="*/ 0 h 1170"/>
                <a:gd name="T68" fmla="*/ 0 w 533"/>
                <a:gd name="T69" fmla="*/ 0 h 1170"/>
                <a:gd name="T70" fmla="*/ 0 w 533"/>
                <a:gd name="T71" fmla="*/ 0 h 1170"/>
                <a:gd name="T72" fmla="*/ 0 w 533"/>
                <a:gd name="T73" fmla="*/ 0 h 1170"/>
                <a:gd name="T74" fmla="*/ 0 w 533"/>
                <a:gd name="T75" fmla="*/ 0 h 11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3"/>
                <a:gd name="T115" fmla="*/ 0 h 1170"/>
                <a:gd name="T116" fmla="*/ 533 w 533"/>
                <a:gd name="T117" fmla="*/ 1170 h 117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3" h="1170">
                  <a:moveTo>
                    <a:pt x="268" y="1166"/>
                  </a:moveTo>
                  <a:lnTo>
                    <a:pt x="217" y="1143"/>
                  </a:lnTo>
                  <a:lnTo>
                    <a:pt x="208" y="1083"/>
                  </a:lnTo>
                  <a:lnTo>
                    <a:pt x="170" y="1030"/>
                  </a:lnTo>
                  <a:lnTo>
                    <a:pt x="73" y="992"/>
                  </a:lnTo>
                  <a:lnTo>
                    <a:pt x="0" y="861"/>
                  </a:lnTo>
                  <a:lnTo>
                    <a:pt x="41" y="870"/>
                  </a:lnTo>
                  <a:lnTo>
                    <a:pt x="41" y="822"/>
                  </a:lnTo>
                  <a:lnTo>
                    <a:pt x="21" y="747"/>
                  </a:lnTo>
                  <a:lnTo>
                    <a:pt x="42" y="677"/>
                  </a:lnTo>
                  <a:lnTo>
                    <a:pt x="52" y="666"/>
                  </a:lnTo>
                  <a:lnTo>
                    <a:pt x="49" y="612"/>
                  </a:lnTo>
                  <a:lnTo>
                    <a:pt x="59" y="566"/>
                  </a:lnTo>
                  <a:lnTo>
                    <a:pt x="36" y="508"/>
                  </a:lnTo>
                  <a:lnTo>
                    <a:pt x="86" y="341"/>
                  </a:lnTo>
                  <a:lnTo>
                    <a:pt x="62" y="312"/>
                  </a:lnTo>
                  <a:lnTo>
                    <a:pt x="15" y="303"/>
                  </a:lnTo>
                  <a:lnTo>
                    <a:pt x="45" y="218"/>
                  </a:lnTo>
                  <a:lnTo>
                    <a:pt x="36" y="160"/>
                  </a:lnTo>
                  <a:lnTo>
                    <a:pt x="59" y="83"/>
                  </a:lnTo>
                  <a:lnTo>
                    <a:pt x="99" y="51"/>
                  </a:lnTo>
                  <a:lnTo>
                    <a:pt x="133" y="0"/>
                  </a:lnTo>
                  <a:lnTo>
                    <a:pt x="173" y="40"/>
                  </a:lnTo>
                  <a:lnTo>
                    <a:pt x="249" y="48"/>
                  </a:lnTo>
                  <a:lnTo>
                    <a:pt x="282" y="109"/>
                  </a:lnTo>
                  <a:lnTo>
                    <a:pt x="336" y="131"/>
                  </a:lnTo>
                  <a:lnTo>
                    <a:pt x="399" y="215"/>
                  </a:lnTo>
                  <a:lnTo>
                    <a:pt x="378" y="501"/>
                  </a:lnTo>
                  <a:lnTo>
                    <a:pt x="424" y="609"/>
                  </a:lnTo>
                  <a:lnTo>
                    <a:pt x="522" y="700"/>
                  </a:lnTo>
                  <a:lnTo>
                    <a:pt x="533" y="831"/>
                  </a:lnTo>
                  <a:lnTo>
                    <a:pt x="464" y="897"/>
                  </a:lnTo>
                  <a:lnTo>
                    <a:pt x="415" y="992"/>
                  </a:lnTo>
                  <a:lnTo>
                    <a:pt x="362" y="1032"/>
                  </a:lnTo>
                  <a:lnTo>
                    <a:pt x="344" y="1097"/>
                  </a:lnTo>
                  <a:lnTo>
                    <a:pt x="321" y="1133"/>
                  </a:lnTo>
                  <a:lnTo>
                    <a:pt x="275" y="1170"/>
                  </a:lnTo>
                  <a:lnTo>
                    <a:pt x="268" y="1166"/>
                  </a:lnTo>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41" name="Freeform 130"/>
            <p:cNvSpPr>
              <a:spLocks/>
            </p:cNvSpPr>
            <p:nvPr/>
          </p:nvSpPr>
          <p:spPr bwMode="auto">
            <a:xfrm>
              <a:off x="7497570" y="2517017"/>
              <a:ext cx="531084" cy="413213"/>
            </a:xfrm>
            <a:custGeom>
              <a:avLst/>
              <a:gdLst>
                <a:gd name="T0" fmla="*/ 0 w 1306"/>
                <a:gd name="T1" fmla="*/ 0 h 1020"/>
                <a:gd name="T2" fmla="*/ 0 w 1306"/>
                <a:gd name="T3" fmla="*/ 0 h 1020"/>
                <a:gd name="T4" fmla="*/ 0 w 1306"/>
                <a:gd name="T5" fmla="*/ 0 h 1020"/>
                <a:gd name="T6" fmla="*/ 0 w 1306"/>
                <a:gd name="T7" fmla="*/ 0 h 1020"/>
                <a:gd name="T8" fmla="*/ 0 w 1306"/>
                <a:gd name="T9" fmla="*/ 0 h 1020"/>
                <a:gd name="T10" fmla="*/ 0 w 1306"/>
                <a:gd name="T11" fmla="*/ 0 h 1020"/>
                <a:gd name="T12" fmla="*/ 0 w 1306"/>
                <a:gd name="T13" fmla="*/ 0 h 1020"/>
                <a:gd name="T14" fmla="*/ 0 w 1306"/>
                <a:gd name="T15" fmla="*/ 0 h 1020"/>
                <a:gd name="T16" fmla="*/ 0 w 1306"/>
                <a:gd name="T17" fmla="*/ 0 h 1020"/>
                <a:gd name="T18" fmla="*/ 0 w 1306"/>
                <a:gd name="T19" fmla="*/ 0 h 1020"/>
                <a:gd name="T20" fmla="*/ 0 w 1306"/>
                <a:gd name="T21" fmla="*/ 0 h 1020"/>
                <a:gd name="T22" fmla="*/ 0 w 1306"/>
                <a:gd name="T23" fmla="*/ 0 h 1020"/>
                <a:gd name="T24" fmla="*/ 0 w 1306"/>
                <a:gd name="T25" fmla="*/ 0 h 1020"/>
                <a:gd name="T26" fmla="*/ 0 w 1306"/>
                <a:gd name="T27" fmla="*/ 0 h 1020"/>
                <a:gd name="T28" fmla="*/ 0 w 1306"/>
                <a:gd name="T29" fmla="*/ 0 h 1020"/>
                <a:gd name="T30" fmla="*/ 0 w 1306"/>
                <a:gd name="T31" fmla="*/ 0 h 1020"/>
                <a:gd name="T32" fmla="*/ 0 w 1306"/>
                <a:gd name="T33" fmla="*/ 0 h 1020"/>
                <a:gd name="T34" fmla="*/ 0 w 1306"/>
                <a:gd name="T35" fmla="*/ 0 h 1020"/>
                <a:gd name="T36" fmla="*/ 0 w 1306"/>
                <a:gd name="T37" fmla="*/ 0 h 1020"/>
                <a:gd name="T38" fmla="*/ 0 w 1306"/>
                <a:gd name="T39" fmla="*/ 0 h 1020"/>
                <a:gd name="T40" fmla="*/ 0 w 1306"/>
                <a:gd name="T41" fmla="*/ 0 h 1020"/>
                <a:gd name="T42" fmla="*/ 0 w 1306"/>
                <a:gd name="T43" fmla="*/ 0 h 1020"/>
                <a:gd name="T44" fmla="*/ 0 w 1306"/>
                <a:gd name="T45" fmla="*/ 0 h 1020"/>
                <a:gd name="T46" fmla="*/ 0 w 1306"/>
                <a:gd name="T47" fmla="*/ 0 h 1020"/>
                <a:gd name="T48" fmla="*/ 0 w 1306"/>
                <a:gd name="T49" fmla="*/ 0 h 1020"/>
                <a:gd name="T50" fmla="*/ 0 w 1306"/>
                <a:gd name="T51" fmla="*/ 0 h 1020"/>
                <a:gd name="T52" fmla="*/ 0 w 1306"/>
                <a:gd name="T53" fmla="*/ 0 h 1020"/>
                <a:gd name="T54" fmla="*/ 0 w 1306"/>
                <a:gd name="T55" fmla="*/ 0 h 1020"/>
                <a:gd name="T56" fmla="*/ 0 w 1306"/>
                <a:gd name="T57" fmla="*/ 0 h 1020"/>
                <a:gd name="T58" fmla="*/ 0 w 1306"/>
                <a:gd name="T59" fmla="*/ 0 h 1020"/>
                <a:gd name="T60" fmla="*/ 0 w 1306"/>
                <a:gd name="T61" fmla="*/ 0 h 1020"/>
                <a:gd name="T62" fmla="*/ 0 w 1306"/>
                <a:gd name="T63" fmla="*/ 0 h 1020"/>
                <a:gd name="T64" fmla="*/ 0 w 1306"/>
                <a:gd name="T65" fmla="*/ 0 h 1020"/>
                <a:gd name="T66" fmla="*/ 0 w 1306"/>
                <a:gd name="T67" fmla="*/ 0 h 1020"/>
                <a:gd name="T68" fmla="*/ 0 w 1306"/>
                <a:gd name="T69" fmla="*/ 0 h 1020"/>
                <a:gd name="T70" fmla="*/ 0 w 1306"/>
                <a:gd name="T71" fmla="*/ 0 h 1020"/>
                <a:gd name="T72" fmla="*/ 0 w 1306"/>
                <a:gd name="T73" fmla="*/ 0 h 10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06"/>
                <a:gd name="T112" fmla="*/ 0 h 1020"/>
                <a:gd name="T113" fmla="*/ 1306 w 1306"/>
                <a:gd name="T114" fmla="*/ 1020 h 10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06" h="1020">
                  <a:moveTo>
                    <a:pt x="0" y="181"/>
                  </a:moveTo>
                  <a:lnTo>
                    <a:pt x="22" y="351"/>
                  </a:lnTo>
                  <a:lnTo>
                    <a:pt x="14" y="256"/>
                  </a:lnTo>
                  <a:lnTo>
                    <a:pt x="49" y="482"/>
                  </a:lnTo>
                  <a:lnTo>
                    <a:pt x="60" y="482"/>
                  </a:lnTo>
                  <a:lnTo>
                    <a:pt x="68" y="514"/>
                  </a:lnTo>
                  <a:lnTo>
                    <a:pt x="108" y="501"/>
                  </a:lnTo>
                  <a:lnTo>
                    <a:pt x="133" y="524"/>
                  </a:lnTo>
                  <a:lnTo>
                    <a:pt x="165" y="532"/>
                  </a:lnTo>
                  <a:lnTo>
                    <a:pt x="191" y="553"/>
                  </a:lnTo>
                  <a:lnTo>
                    <a:pt x="289" y="573"/>
                  </a:lnTo>
                  <a:lnTo>
                    <a:pt x="356" y="565"/>
                  </a:lnTo>
                  <a:lnTo>
                    <a:pt x="384" y="582"/>
                  </a:lnTo>
                  <a:lnTo>
                    <a:pt x="433" y="673"/>
                  </a:lnTo>
                  <a:lnTo>
                    <a:pt x="411" y="738"/>
                  </a:lnTo>
                  <a:lnTo>
                    <a:pt x="425" y="851"/>
                  </a:lnTo>
                  <a:lnTo>
                    <a:pt x="568" y="931"/>
                  </a:lnTo>
                  <a:lnTo>
                    <a:pt x="588" y="979"/>
                  </a:lnTo>
                  <a:lnTo>
                    <a:pt x="593" y="1007"/>
                  </a:lnTo>
                  <a:lnTo>
                    <a:pt x="658" y="1020"/>
                  </a:lnTo>
                  <a:lnTo>
                    <a:pt x="723" y="1001"/>
                  </a:lnTo>
                  <a:lnTo>
                    <a:pt x="791" y="1010"/>
                  </a:lnTo>
                  <a:lnTo>
                    <a:pt x="821" y="993"/>
                  </a:lnTo>
                  <a:lnTo>
                    <a:pt x="844" y="969"/>
                  </a:lnTo>
                  <a:lnTo>
                    <a:pt x="876" y="983"/>
                  </a:lnTo>
                  <a:lnTo>
                    <a:pt x="909" y="977"/>
                  </a:lnTo>
                  <a:lnTo>
                    <a:pt x="892" y="917"/>
                  </a:lnTo>
                  <a:lnTo>
                    <a:pt x="922" y="899"/>
                  </a:lnTo>
                  <a:lnTo>
                    <a:pt x="954" y="899"/>
                  </a:lnTo>
                  <a:lnTo>
                    <a:pt x="975" y="872"/>
                  </a:lnTo>
                  <a:lnTo>
                    <a:pt x="1005" y="851"/>
                  </a:lnTo>
                  <a:lnTo>
                    <a:pt x="1038" y="860"/>
                  </a:lnTo>
                  <a:lnTo>
                    <a:pt x="1058" y="887"/>
                  </a:lnTo>
                  <a:lnTo>
                    <a:pt x="1090" y="901"/>
                  </a:lnTo>
                  <a:lnTo>
                    <a:pt x="1121" y="886"/>
                  </a:lnTo>
                  <a:lnTo>
                    <a:pt x="1112" y="853"/>
                  </a:lnTo>
                  <a:lnTo>
                    <a:pt x="1088" y="828"/>
                  </a:lnTo>
                  <a:lnTo>
                    <a:pt x="1071" y="797"/>
                  </a:lnTo>
                  <a:lnTo>
                    <a:pt x="1076" y="764"/>
                  </a:lnTo>
                  <a:lnTo>
                    <a:pt x="1107" y="705"/>
                  </a:lnTo>
                  <a:lnTo>
                    <a:pt x="1112" y="568"/>
                  </a:lnTo>
                  <a:lnTo>
                    <a:pt x="1140" y="548"/>
                  </a:lnTo>
                  <a:lnTo>
                    <a:pt x="1172" y="540"/>
                  </a:lnTo>
                  <a:lnTo>
                    <a:pt x="1222" y="496"/>
                  </a:lnTo>
                  <a:lnTo>
                    <a:pt x="1274" y="493"/>
                  </a:lnTo>
                  <a:lnTo>
                    <a:pt x="1306" y="415"/>
                  </a:lnTo>
                  <a:lnTo>
                    <a:pt x="1273" y="402"/>
                  </a:lnTo>
                  <a:lnTo>
                    <a:pt x="1240" y="406"/>
                  </a:lnTo>
                  <a:lnTo>
                    <a:pt x="1234" y="341"/>
                  </a:lnTo>
                  <a:lnTo>
                    <a:pt x="1262" y="323"/>
                  </a:lnTo>
                  <a:lnTo>
                    <a:pt x="1281" y="297"/>
                  </a:lnTo>
                  <a:lnTo>
                    <a:pt x="1279" y="289"/>
                  </a:lnTo>
                  <a:lnTo>
                    <a:pt x="1280" y="285"/>
                  </a:lnTo>
                  <a:lnTo>
                    <a:pt x="1219" y="260"/>
                  </a:lnTo>
                  <a:lnTo>
                    <a:pt x="1135" y="175"/>
                  </a:lnTo>
                  <a:lnTo>
                    <a:pt x="1025" y="110"/>
                  </a:lnTo>
                  <a:lnTo>
                    <a:pt x="960" y="117"/>
                  </a:lnTo>
                  <a:lnTo>
                    <a:pt x="929" y="109"/>
                  </a:lnTo>
                  <a:lnTo>
                    <a:pt x="883" y="21"/>
                  </a:lnTo>
                  <a:lnTo>
                    <a:pt x="858" y="0"/>
                  </a:lnTo>
                  <a:lnTo>
                    <a:pt x="828" y="13"/>
                  </a:lnTo>
                  <a:lnTo>
                    <a:pt x="785" y="63"/>
                  </a:lnTo>
                  <a:lnTo>
                    <a:pt x="724" y="81"/>
                  </a:lnTo>
                  <a:lnTo>
                    <a:pt x="599" y="41"/>
                  </a:lnTo>
                  <a:lnTo>
                    <a:pt x="502" y="38"/>
                  </a:lnTo>
                  <a:lnTo>
                    <a:pt x="472" y="49"/>
                  </a:lnTo>
                  <a:lnTo>
                    <a:pt x="442" y="41"/>
                  </a:lnTo>
                  <a:lnTo>
                    <a:pt x="413" y="56"/>
                  </a:lnTo>
                  <a:lnTo>
                    <a:pt x="379" y="57"/>
                  </a:lnTo>
                  <a:lnTo>
                    <a:pt x="350" y="42"/>
                  </a:lnTo>
                  <a:lnTo>
                    <a:pt x="253" y="45"/>
                  </a:lnTo>
                  <a:lnTo>
                    <a:pt x="104" y="113"/>
                  </a:lnTo>
                  <a:lnTo>
                    <a:pt x="70" y="169"/>
                  </a:lnTo>
                  <a:lnTo>
                    <a:pt x="42" y="188"/>
                  </a:lnTo>
                  <a:lnTo>
                    <a:pt x="0" y="181"/>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42" name="Freeform 151"/>
            <p:cNvSpPr>
              <a:spLocks/>
            </p:cNvSpPr>
            <p:nvPr/>
          </p:nvSpPr>
          <p:spPr bwMode="auto">
            <a:xfrm>
              <a:off x="8106961" y="3773436"/>
              <a:ext cx="396738" cy="467749"/>
            </a:xfrm>
            <a:custGeom>
              <a:avLst/>
              <a:gdLst>
                <a:gd name="T0" fmla="*/ 0 w 977"/>
                <a:gd name="T1" fmla="*/ 0 h 1155"/>
                <a:gd name="T2" fmla="*/ 0 w 977"/>
                <a:gd name="T3" fmla="*/ 0 h 1155"/>
                <a:gd name="T4" fmla="*/ 0 w 977"/>
                <a:gd name="T5" fmla="*/ 0 h 1155"/>
                <a:gd name="T6" fmla="*/ 0 w 977"/>
                <a:gd name="T7" fmla="*/ 0 h 1155"/>
                <a:gd name="T8" fmla="*/ 0 w 977"/>
                <a:gd name="T9" fmla="*/ 0 h 1155"/>
                <a:gd name="T10" fmla="*/ 0 w 977"/>
                <a:gd name="T11" fmla="*/ 0 h 1155"/>
                <a:gd name="T12" fmla="*/ 0 w 977"/>
                <a:gd name="T13" fmla="*/ 0 h 1155"/>
                <a:gd name="T14" fmla="*/ 0 w 977"/>
                <a:gd name="T15" fmla="*/ 0 h 1155"/>
                <a:gd name="T16" fmla="*/ 0 w 977"/>
                <a:gd name="T17" fmla="*/ 0 h 1155"/>
                <a:gd name="T18" fmla="*/ 0 w 977"/>
                <a:gd name="T19" fmla="*/ 0 h 1155"/>
                <a:gd name="T20" fmla="*/ 0 w 977"/>
                <a:gd name="T21" fmla="*/ 0 h 1155"/>
                <a:gd name="T22" fmla="*/ 0 w 977"/>
                <a:gd name="T23" fmla="*/ 0 h 1155"/>
                <a:gd name="T24" fmla="*/ 0 w 977"/>
                <a:gd name="T25" fmla="*/ 0 h 1155"/>
                <a:gd name="T26" fmla="*/ 0 w 977"/>
                <a:gd name="T27" fmla="*/ 0 h 1155"/>
                <a:gd name="T28" fmla="*/ 0 w 977"/>
                <a:gd name="T29" fmla="*/ 0 h 1155"/>
                <a:gd name="T30" fmla="*/ 0 w 977"/>
                <a:gd name="T31" fmla="*/ 0 h 1155"/>
                <a:gd name="T32" fmla="*/ 0 w 977"/>
                <a:gd name="T33" fmla="*/ 0 h 1155"/>
                <a:gd name="T34" fmla="*/ 0 w 977"/>
                <a:gd name="T35" fmla="*/ 0 h 1155"/>
                <a:gd name="T36" fmla="*/ 0 w 977"/>
                <a:gd name="T37" fmla="*/ 0 h 1155"/>
                <a:gd name="T38" fmla="*/ 0 w 977"/>
                <a:gd name="T39" fmla="*/ 0 h 1155"/>
                <a:gd name="T40" fmla="*/ 0 w 977"/>
                <a:gd name="T41" fmla="*/ 0 h 1155"/>
                <a:gd name="T42" fmla="*/ 0 w 977"/>
                <a:gd name="T43" fmla="*/ 0 h 1155"/>
                <a:gd name="T44" fmla="*/ 0 w 977"/>
                <a:gd name="T45" fmla="*/ 0 h 1155"/>
                <a:gd name="T46" fmla="*/ 0 w 977"/>
                <a:gd name="T47" fmla="*/ 0 h 1155"/>
                <a:gd name="T48" fmla="*/ 0 w 977"/>
                <a:gd name="T49" fmla="*/ 0 h 1155"/>
                <a:gd name="T50" fmla="*/ 0 w 977"/>
                <a:gd name="T51" fmla="*/ 0 h 1155"/>
                <a:gd name="T52" fmla="*/ 0 w 977"/>
                <a:gd name="T53" fmla="*/ 0 h 1155"/>
                <a:gd name="T54" fmla="*/ 0 w 977"/>
                <a:gd name="T55" fmla="*/ 0 h 1155"/>
                <a:gd name="T56" fmla="*/ 0 w 977"/>
                <a:gd name="T57" fmla="*/ 0 h 1155"/>
                <a:gd name="T58" fmla="*/ 0 w 977"/>
                <a:gd name="T59" fmla="*/ 0 h 1155"/>
                <a:gd name="T60" fmla="*/ 0 w 977"/>
                <a:gd name="T61" fmla="*/ 0 h 1155"/>
                <a:gd name="T62" fmla="*/ 0 w 977"/>
                <a:gd name="T63" fmla="*/ 0 h 1155"/>
                <a:gd name="T64" fmla="*/ 0 w 977"/>
                <a:gd name="T65" fmla="*/ 0 h 1155"/>
                <a:gd name="T66" fmla="*/ 0 w 977"/>
                <a:gd name="T67" fmla="*/ 0 h 1155"/>
                <a:gd name="T68" fmla="*/ 0 w 977"/>
                <a:gd name="T69" fmla="*/ 0 h 1155"/>
                <a:gd name="T70" fmla="*/ 0 w 977"/>
                <a:gd name="T71" fmla="*/ 0 h 1155"/>
                <a:gd name="T72" fmla="*/ 0 w 977"/>
                <a:gd name="T73" fmla="*/ 0 h 1155"/>
                <a:gd name="T74" fmla="*/ 0 w 977"/>
                <a:gd name="T75" fmla="*/ 0 h 1155"/>
                <a:gd name="T76" fmla="*/ 0 w 977"/>
                <a:gd name="T77" fmla="*/ 0 h 1155"/>
                <a:gd name="T78" fmla="*/ 0 w 977"/>
                <a:gd name="T79" fmla="*/ 0 h 1155"/>
                <a:gd name="T80" fmla="*/ 0 w 977"/>
                <a:gd name="T81" fmla="*/ 0 h 1155"/>
                <a:gd name="T82" fmla="*/ 0 w 977"/>
                <a:gd name="T83" fmla="*/ 0 h 1155"/>
                <a:gd name="T84" fmla="*/ 0 w 977"/>
                <a:gd name="T85" fmla="*/ 0 h 1155"/>
                <a:gd name="T86" fmla="*/ 0 w 977"/>
                <a:gd name="T87" fmla="*/ 0 h 1155"/>
                <a:gd name="T88" fmla="*/ 0 w 977"/>
                <a:gd name="T89" fmla="*/ 0 h 1155"/>
                <a:gd name="T90" fmla="*/ 0 w 977"/>
                <a:gd name="T91" fmla="*/ 0 h 1155"/>
                <a:gd name="T92" fmla="*/ 0 w 977"/>
                <a:gd name="T93" fmla="*/ 0 h 1155"/>
                <a:gd name="T94" fmla="*/ 0 w 977"/>
                <a:gd name="T95" fmla="*/ 0 h 11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77"/>
                <a:gd name="T145" fmla="*/ 0 h 1155"/>
                <a:gd name="T146" fmla="*/ 977 w 977"/>
                <a:gd name="T147" fmla="*/ 1155 h 11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77" h="1155">
                  <a:moveTo>
                    <a:pt x="533" y="1155"/>
                  </a:moveTo>
                  <a:lnTo>
                    <a:pt x="490" y="962"/>
                  </a:lnTo>
                  <a:lnTo>
                    <a:pt x="497" y="878"/>
                  </a:lnTo>
                  <a:lnTo>
                    <a:pt x="445" y="641"/>
                  </a:lnTo>
                  <a:lnTo>
                    <a:pt x="236" y="355"/>
                  </a:lnTo>
                  <a:lnTo>
                    <a:pt x="214" y="275"/>
                  </a:lnTo>
                  <a:lnTo>
                    <a:pt x="32" y="113"/>
                  </a:lnTo>
                  <a:lnTo>
                    <a:pt x="0" y="117"/>
                  </a:lnTo>
                  <a:lnTo>
                    <a:pt x="22" y="62"/>
                  </a:lnTo>
                  <a:lnTo>
                    <a:pt x="53" y="37"/>
                  </a:lnTo>
                  <a:lnTo>
                    <a:pt x="92" y="43"/>
                  </a:lnTo>
                  <a:lnTo>
                    <a:pt x="205" y="0"/>
                  </a:lnTo>
                  <a:lnTo>
                    <a:pt x="321" y="33"/>
                  </a:lnTo>
                  <a:lnTo>
                    <a:pt x="419" y="100"/>
                  </a:lnTo>
                  <a:lnTo>
                    <a:pt x="456" y="107"/>
                  </a:lnTo>
                  <a:lnTo>
                    <a:pt x="532" y="85"/>
                  </a:lnTo>
                  <a:lnTo>
                    <a:pt x="570" y="90"/>
                  </a:lnTo>
                  <a:lnTo>
                    <a:pt x="633" y="138"/>
                  </a:lnTo>
                  <a:lnTo>
                    <a:pt x="670" y="124"/>
                  </a:lnTo>
                  <a:lnTo>
                    <a:pt x="693" y="158"/>
                  </a:lnTo>
                  <a:lnTo>
                    <a:pt x="696" y="314"/>
                  </a:lnTo>
                  <a:lnTo>
                    <a:pt x="730" y="338"/>
                  </a:lnTo>
                  <a:lnTo>
                    <a:pt x="753" y="370"/>
                  </a:lnTo>
                  <a:lnTo>
                    <a:pt x="793" y="371"/>
                  </a:lnTo>
                  <a:lnTo>
                    <a:pt x="810" y="407"/>
                  </a:lnTo>
                  <a:lnTo>
                    <a:pt x="805" y="448"/>
                  </a:lnTo>
                  <a:lnTo>
                    <a:pt x="848" y="515"/>
                  </a:lnTo>
                  <a:lnTo>
                    <a:pt x="924" y="542"/>
                  </a:lnTo>
                  <a:lnTo>
                    <a:pt x="948" y="574"/>
                  </a:lnTo>
                  <a:lnTo>
                    <a:pt x="958" y="611"/>
                  </a:lnTo>
                  <a:lnTo>
                    <a:pt x="956" y="651"/>
                  </a:lnTo>
                  <a:lnTo>
                    <a:pt x="977" y="688"/>
                  </a:lnTo>
                  <a:lnTo>
                    <a:pt x="966" y="727"/>
                  </a:lnTo>
                  <a:lnTo>
                    <a:pt x="934" y="753"/>
                  </a:lnTo>
                  <a:lnTo>
                    <a:pt x="816" y="739"/>
                  </a:lnTo>
                  <a:lnTo>
                    <a:pt x="783" y="763"/>
                  </a:lnTo>
                  <a:lnTo>
                    <a:pt x="759" y="731"/>
                  </a:lnTo>
                  <a:lnTo>
                    <a:pt x="723" y="753"/>
                  </a:lnTo>
                  <a:lnTo>
                    <a:pt x="710" y="793"/>
                  </a:lnTo>
                  <a:lnTo>
                    <a:pt x="710" y="915"/>
                  </a:lnTo>
                  <a:lnTo>
                    <a:pt x="674" y="937"/>
                  </a:lnTo>
                  <a:lnTo>
                    <a:pt x="651" y="970"/>
                  </a:lnTo>
                  <a:lnTo>
                    <a:pt x="650" y="1010"/>
                  </a:lnTo>
                  <a:lnTo>
                    <a:pt x="614" y="1038"/>
                  </a:lnTo>
                  <a:lnTo>
                    <a:pt x="604" y="1076"/>
                  </a:lnTo>
                  <a:lnTo>
                    <a:pt x="605" y="1118"/>
                  </a:lnTo>
                  <a:lnTo>
                    <a:pt x="580" y="1149"/>
                  </a:lnTo>
                  <a:lnTo>
                    <a:pt x="533" y="1155"/>
                  </a:lnTo>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nvGrpSpPr>
            <p:cNvPr id="343" name="Group 552"/>
            <p:cNvGrpSpPr/>
            <p:nvPr/>
          </p:nvGrpSpPr>
          <p:grpSpPr>
            <a:xfrm>
              <a:off x="6263910" y="3716803"/>
              <a:ext cx="833362" cy="400629"/>
              <a:chOff x="9548867" y="2725249"/>
              <a:chExt cx="538959" cy="259098"/>
            </a:xfrm>
            <a:noFill/>
          </p:grpSpPr>
          <p:sp>
            <p:nvSpPr>
              <p:cNvPr id="575" name="Freeform 8"/>
              <p:cNvSpPr>
                <a:spLocks/>
              </p:cNvSpPr>
              <p:nvPr/>
            </p:nvSpPr>
            <p:spPr bwMode="auto">
              <a:xfrm>
                <a:off x="9548867" y="2851407"/>
                <a:ext cx="16291" cy="40696"/>
              </a:xfrm>
              <a:custGeom>
                <a:avLst/>
                <a:gdLst>
                  <a:gd name="T0" fmla="*/ 0 w 69"/>
                  <a:gd name="T1" fmla="*/ 0 h 153"/>
                  <a:gd name="T2" fmla="*/ 0 w 69"/>
                  <a:gd name="T3" fmla="*/ 0 h 153"/>
                  <a:gd name="T4" fmla="*/ 0 w 69"/>
                  <a:gd name="T5" fmla="*/ 0 h 153"/>
                  <a:gd name="T6" fmla="*/ 0 w 69"/>
                  <a:gd name="T7" fmla="*/ 0 h 153"/>
                  <a:gd name="T8" fmla="*/ 0 w 69"/>
                  <a:gd name="T9" fmla="*/ 0 h 153"/>
                  <a:gd name="T10" fmla="*/ 0 w 69"/>
                  <a:gd name="T11" fmla="*/ 0 h 153"/>
                  <a:gd name="T12" fmla="*/ 0 60000 65536"/>
                  <a:gd name="T13" fmla="*/ 0 60000 65536"/>
                  <a:gd name="T14" fmla="*/ 0 60000 65536"/>
                  <a:gd name="T15" fmla="*/ 0 60000 65536"/>
                  <a:gd name="T16" fmla="*/ 0 60000 65536"/>
                  <a:gd name="T17" fmla="*/ 0 60000 65536"/>
                  <a:gd name="T18" fmla="*/ 0 w 69"/>
                  <a:gd name="T19" fmla="*/ 0 h 153"/>
                  <a:gd name="T20" fmla="*/ 69 w 69"/>
                  <a:gd name="T21" fmla="*/ 153 h 153"/>
                </a:gdLst>
                <a:ahLst/>
                <a:cxnLst>
                  <a:cxn ang="T12">
                    <a:pos x="T0" y="T1"/>
                  </a:cxn>
                  <a:cxn ang="T13">
                    <a:pos x="T2" y="T3"/>
                  </a:cxn>
                  <a:cxn ang="T14">
                    <a:pos x="T4" y="T5"/>
                  </a:cxn>
                  <a:cxn ang="T15">
                    <a:pos x="T6" y="T7"/>
                  </a:cxn>
                  <a:cxn ang="T16">
                    <a:pos x="T8" y="T9"/>
                  </a:cxn>
                  <a:cxn ang="T17">
                    <a:pos x="T10" y="T11"/>
                  </a:cxn>
                </a:cxnLst>
                <a:rect l="T18" t="T19" r="T20" b="T21"/>
                <a:pathLst>
                  <a:path w="69" h="153">
                    <a:moveTo>
                      <a:pt x="29" y="153"/>
                    </a:moveTo>
                    <a:lnTo>
                      <a:pt x="64" y="119"/>
                    </a:lnTo>
                    <a:lnTo>
                      <a:pt x="69" y="28"/>
                    </a:lnTo>
                    <a:lnTo>
                      <a:pt x="35" y="0"/>
                    </a:lnTo>
                    <a:lnTo>
                      <a:pt x="0" y="88"/>
                    </a:lnTo>
                    <a:lnTo>
                      <a:pt x="29" y="153"/>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76" name="Freeform 9"/>
              <p:cNvSpPr>
                <a:spLocks/>
              </p:cNvSpPr>
              <p:nvPr/>
            </p:nvSpPr>
            <p:spPr bwMode="auto">
              <a:xfrm>
                <a:off x="9548867" y="2851407"/>
                <a:ext cx="16291" cy="40696"/>
              </a:xfrm>
              <a:custGeom>
                <a:avLst/>
                <a:gdLst>
                  <a:gd name="T0" fmla="*/ 0 w 69"/>
                  <a:gd name="T1" fmla="*/ 0 h 153"/>
                  <a:gd name="T2" fmla="*/ 0 w 69"/>
                  <a:gd name="T3" fmla="*/ 0 h 153"/>
                  <a:gd name="T4" fmla="*/ 0 w 69"/>
                  <a:gd name="T5" fmla="*/ 0 h 153"/>
                  <a:gd name="T6" fmla="*/ 0 w 69"/>
                  <a:gd name="T7" fmla="*/ 0 h 153"/>
                  <a:gd name="T8" fmla="*/ 0 w 69"/>
                  <a:gd name="T9" fmla="*/ 0 h 153"/>
                  <a:gd name="T10" fmla="*/ 0 w 69"/>
                  <a:gd name="T11" fmla="*/ 0 h 153"/>
                  <a:gd name="T12" fmla="*/ 0 60000 65536"/>
                  <a:gd name="T13" fmla="*/ 0 60000 65536"/>
                  <a:gd name="T14" fmla="*/ 0 60000 65536"/>
                  <a:gd name="T15" fmla="*/ 0 60000 65536"/>
                  <a:gd name="T16" fmla="*/ 0 60000 65536"/>
                  <a:gd name="T17" fmla="*/ 0 60000 65536"/>
                  <a:gd name="T18" fmla="*/ 0 w 69"/>
                  <a:gd name="T19" fmla="*/ 0 h 153"/>
                  <a:gd name="T20" fmla="*/ 69 w 69"/>
                  <a:gd name="T21" fmla="*/ 153 h 153"/>
                </a:gdLst>
                <a:ahLst/>
                <a:cxnLst>
                  <a:cxn ang="T12">
                    <a:pos x="T0" y="T1"/>
                  </a:cxn>
                  <a:cxn ang="T13">
                    <a:pos x="T2" y="T3"/>
                  </a:cxn>
                  <a:cxn ang="T14">
                    <a:pos x="T4" y="T5"/>
                  </a:cxn>
                  <a:cxn ang="T15">
                    <a:pos x="T6" y="T7"/>
                  </a:cxn>
                  <a:cxn ang="T16">
                    <a:pos x="T8" y="T9"/>
                  </a:cxn>
                  <a:cxn ang="T17">
                    <a:pos x="T10" y="T11"/>
                  </a:cxn>
                </a:cxnLst>
                <a:rect l="T18" t="T19" r="T20" b="T21"/>
                <a:pathLst>
                  <a:path w="69" h="153">
                    <a:moveTo>
                      <a:pt x="29" y="153"/>
                    </a:moveTo>
                    <a:lnTo>
                      <a:pt x="64" y="119"/>
                    </a:lnTo>
                    <a:lnTo>
                      <a:pt x="69" y="28"/>
                    </a:lnTo>
                    <a:lnTo>
                      <a:pt x="35" y="0"/>
                    </a:lnTo>
                    <a:lnTo>
                      <a:pt x="0" y="88"/>
                    </a:lnTo>
                    <a:lnTo>
                      <a:pt x="29" y="153"/>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77" name="Freeform 106"/>
              <p:cNvSpPr>
                <a:spLocks/>
              </p:cNvSpPr>
              <p:nvPr/>
            </p:nvSpPr>
            <p:spPr bwMode="auto">
              <a:xfrm>
                <a:off x="9861110" y="2744241"/>
                <a:ext cx="23079" cy="14922"/>
              </a:xfrm>
              <a:custGeom>
                <a:avLst/>
                <a:gdLst>
                  <a:gd name="T0" fmla="*/ 0 w 90"/>
                  <a:gd name="T1" fmla="*/ 0 h 59"/>
                  <a:gd name="T2" fmla="*/ 0 w 90"/>
                  <a:gd name="T3" fmla="*/ 0 h 59"/>
                  <a:gd name="T4" fmla="*/ 0 w 90"/>
                  <a:gd name="T5" fmla="*/ 0 h 59"/>
                  <a:gd name="T6" fmla="*/ 0 w 90"/>
                  <a:gd name="T7" fmla="*/ 0 h 59"/>
                  <a:gd name="T8" fmla="*/ 0 w 90"/>
                  <a:gd name="T9" fmla="*/ 0 h 59"/>
                  <a:gd name="T10" fmla="*/ 0 w 90"/>
                  <a:gd name="T11" fmla="*/ 0 h 59"/>
                  <a:gd name="T12" fmla="*/ 0 w 90"/>
                  <a:gd name="T13" fmla="*/ 0 h 59"/>
                  <a:gd name="T14" fmla="*/ 0 w 90"/>
                  <a:gd name="T15" fmla="*/ 0 h 59"/>
                  <a:gd name="T16" fmla="*/ 0 w 90"/>
                  <a:gd name="T17" fmla="*/ 0 h 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59"/>
                  <a:gd name="T29" fmla="*/ 90 w 90"/>
                  <a:gd name="T30" fmla="*/ 59 h 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59">
                    <a:moveTo>
                      <a:pt x="90" y="59"/>
                    </a:moveTo>
                    <a:lnTo>
                      <a:pt x="85" y="57"/>
                    </a:lnTo>
                    <a:lnTo>
                      <a:pt x="76" y="50"/>
                    </a:lnTo>
                    <a:lnTo>
                      <a:pt x="61" y="41"/>
                    </a:lnTo>
                    <a:lnTo>
                      <a:pt x="45" y="29"/>
                    </a:lnTo>
                    <a:lnTo>
                      <a:pt x="29" y="19"/>
                    </a:lnTo>
                    <a:lnTo>
                      <a:pt x="13" y="9"/>
                    </a:lnTo>
                    <a:lnTo>
                      <a:pt x="3" y="2"/>
                    </a:lnTo>
                    <a:lnTo>
                      <a:pt x="0" y="0"/>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78" name="Freeform 152"/>
              <p:cNvSpPr>
                <a:spLocks/>
              </p:cNvSpPr>
              <p:nvPr/>
            </p:nvSpPr>
            <p:spPr bwMode="auto">
              <a:xfrm>
                <a:off x="9550225" y="2725249"/>
                <a:ext cx="537601" cy="259098"/>
              </a:xfrm>
              <a:custGeom>
                <a:avLst/>
                <a:gdLst>
                  <a:gd name="T0" fmla="*/ 0 w 2045"/>
                  <a:gd name="T1" fmla="*/ 0 h 988"/>
                  <a:gd name="T2" fmla="*/ 0 w 2045"/>
                  <a:gd name="T3" fmla="*/ 0 h 988"/>
                  <a:gd name="T4" fmla="*/ 0 w 2045"/>
                  <a:gd name="T5" fmla="*/ 0 h 988"/>
                  <a:gd name="T6" fmla="*/ 0 w 2045"/>
                  <a:gd name="T7" fmla="*/ 0 h 988"/>
                  <a:gd name="T8" fmla="*/ 0 w 2045"/>
                  <a:gd name="T9" fmla="*/ 0 h 988"/>
                  <a:gd name="T10" fmla="*/ 0 w 2045"/>
                  <a:gd name="T11" fmla="*/ 0 h 988"/>
                  <a:gd name="T12" fmla="*/ 0 w 2045"/>
                  <a:gd name="T13" fmla="*/ 0 h 988"/>
                  <a:gd name="T14" fmla="*/ 0 w 2045"/>
                  <a:gd name="T15" fmla="*/ 0 h 988"/>
                  <a:gd name="T16" fmla="*/ 0 w 2045"/>
                  <a:gd name="T17" fmla="*/ 0 h 988"/>
                  <a:gd name="T18" fmla="*/ 0 w 2045"/>
                  <a:gd name="T19" fmla="*/ 0 h 988"/>
                  <a:gd name="T20" fmla="*/ 0 w 2045"/>
                  <a:gd name="T21" fmla="*/ 0 h 988"/>
                  <a:gd name="T22" fmla="*/ 0 w 2045"/>
                  <a:gd name="T23" fmla="*/ 0 h 988"/>
                  <a:gd name="T24" fmla="*/ 0 w 2045"/>
                  <a:gd name="T25" fmla="*/ 0 h 988"/>
                  <a:gd name="T26" fmla="*/ 0 w 2045"/>
                  <a:gd name="T27" fmla="*/ 0 h 988"/>
                  <a:gd name="T28" fmla="*/ 0 w 2045"/>
                  <a:gd name="T29" fmla="*/ 0 h 988"/>
                  <a:gd name="T30" fmla="*/ 0 w 2045"/>
                  <a:gd name="T31" fmla="*/ 0 h 988"/>
                  <a:gd name="T32" fmla="*/ 0 w 2045"/>
                  <a:gd name="T33" fmla="*/ 0 h 988"/>
                  <a:gd name="T34" fmla="*/ 0 w 2045"/>
                  <a:gd name="T35" fmla="*/ 0 h 988"/>
                  <a:gd name="T36" fmla="*/ 0 w 2045"/>
                  <a:gd name="T37" fmla="*/ 0 h 988"/>
                  <a:gd name="T38" fmla="*/ 0 w 2045"/>
                  <a:gd name="T39" fmla="*/ 0 h 988"/>
                  <a:gd name="T40" fmla="*/ 0 w 2045"/>
                  <a:gd name="T41" fmla="*/ 0 h 988"/>
                  <a:gd name="T42" fmla="*/ 0 w 2045"/>
                  <a:gd name="T43" fmla="*/ 0 h 988"/>
                  <a:gd name="T44" fmla="*/ 0 w 2045"/>
                  <a:gd name="T45" fmla="*/ 0 h 988"/>
                  <a:gd name="T46" fmla="*/ 0 w 2045"/>
                  <a:gd name="T47" fmla="*/ 0 h 988"/>
                  <a:gd name="T48" fmla="*/ 0 w 2045"/>
                  <a:gd name="T49" fmla="*/ 0 h 988"/>
                  <a:gd name="T50" fmla="*/ 0 w 2045"/>
                  <a:gd name="T51" fmla="*/ 0 h 988"/>
                  <a:gd name="T52" fmla="*/ 0 w 2045"/>
                  <a:gd name="T53" fmla="*/ 0 h 988"/>
                  <a:gd name="T54" fmla="*/ 0 w 2045"/>
                  <a:gd name="T55" fmla="*/ 0 h 988"/>
                  <a:gd name="T56" fmla="*/ 0 w 2045"/>
                  <a:gd name="T57" fmla="*/ 0 h 988"/>
                  <a:gd name="T58" fmla="*/ 0 w 2045"/>
                  <a:gd name="T59" fmla="*/ 0 h 988"/>
                  <a:gd name="T60" fmla="*/ 0 w 2045"/>
                  <a:gd name="T61" fmla="*/ 0 h 988"/>
                  <a:gd name="T62" fmla="*/ 0 w 2045"/>
                  <a:gd name="T63" fmla="*/ 0 h 988"/>
                  <a:gd name="T64" fmla="*/ 0 w 2045"/>
                  <a:gd name="T65" fmla="*/ 0 h 988"/>
                  <a:gd name="T66" fmla="*/ 0 w 2045"/>
                  <a:gd name="T67" fmla="*/ 0 h 988"/>
                  <a:gd name="T68" fmla="*/ 0 w 2045"/>
                  <a:gd name="T69" fmla="*/ 0 h 988"/>
                  <a:gd name="T70" fmla="*/ 0 w 2045"/>
                  <a:gd name="T71" fmla="*/ 0 h 988"/>
                  <a:gd name="T72" fmla="*/ 0 w 2045"/>
                  <a:gd name="T73" fmla="*/ 0 h 988"/>
                  <a:gd name="T74" fmla="*/ 0 w 2045"/>
                  <a:gd name="T75" fmla="*/ 0 h 9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45"/>
                  <a:gd name="T115" fmla="*/ 0 h 988"/>
                  <a:gd name="T116" fmla="*/ 2045 w 2045"/>
                  <a:gd name="T117" fmla="*/ 988 h 9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45" h="988">
                    <a:moveTo>
                      <a:pt x="1185" y="70"/>
                    </a:moveTo>
                    <a:lnTo>
                      <a:pt x="1175" y="107"/>
                    </a:lnTo>
                    <a:lnTo>
                      <a:pt x="1091" y="134"/>
                    </a:lnTo>
                    <a:lnTo>
                      <a:pt x="1048" y="217"/>
                    </a:lnTo>
                    <a:lnTo>
                      <a:pt x="937" y="251"/>
                    </a:lnTo>
                    <a:lnTo>
                      <a:pt x="909" y="303"/>
                    </a:lnTo>
                    <a:lnTo>
                      <a:pt x="906" y="382"/>
                    </a:lnTo>
                    <a:lnTo>
                      <a:pt x="932" y="462"/>
                    </a:lnTo>
                    <a:lnTo>
                      <a:pt x="932" y="499"/>
                    </a:lnTo>
                    <a:lnTo>
                      <a:pt x="891" y="513"/>
                    </a:lnTo>
                    <a:lnTo>
                      <a:pt x="875" y="473"/>
                    </a:lnTo>
                    <a:lnTo>
                      <a:pt x="804" y="466"/>
                    </a:lnTo>
                    <a:lnTo>
                      <a:pt x="751" y="443"/>
                    </a:lnTo>
                    <a:lnTo>
                      <a:pt x="728" y="465"/>
                    </a:lnTo>
                    <a:lnTo>
                      <a:pt x="566" y="468"/>
                    </a:lnTo>
                    <a:lnTo>
                      <a:pt x="465" y="519"/>
                    </a:lnTo>
                    <a:lnTo>
                      <a:pt x="400" y="510"/>
                    </a:lnTo>
                    <a:lnTo>
                      <a:pt x="341" y="465"/>
                    </a:lnTo>
                    <a:lnTo>
                      <a:pt x="286" y="452"/>
                    </a:lnTo>
                    <a:lnTo>
                      <a:pt x="250" y="480"/>
                    </a:lnTo>
                    <a:lnTo>
                      <a:pt x="231" y="510"/>
                    </a:lnTo>
                    <a:lnTo>
                      <a:pt x="203" y="523"/>
                    </a:lnTo>
                    <a:lnTo>
                      <a:pt x="159" y="493"/>
                    </a:lnTo>
                    <a:lnTo>
                      <a:pt x="139" y="449"/>
                    </a:lnTo>
                    <a:lnTo>
                      <a:pt x="98" y="432"/>
                    </a:lnTo>
                    <a:lnTo>
                      <a:pt x="52" y="428"/>
                    </a:lnTo>
                    <a:lnTo>
                      <a:pt x="0" y="441"/>
                    </a:lnTo>
                    <a:lnTo>
                      <a:pt x="31" y="484"/>
                    </a:lnTo>
                    <a:lnTo>
                      <a:pt x="65" y="512"/>
                    </a:lnTo>
                    <a:lnTo>
                      <a:pt x="60" y="603"/>
                    </a:lnTo>
                    <a:lnTo>
                      <a:pt x="25" y="637"/>
                    </a:lnTo>
                    <a:lnTo>
                      <a:pt x="101" y="692"/>
                    </a:lnTo>
                    <a:lnTo>
                      <a:pt x="146" y="705"/>
                    </a:lnTo>
                    <a:lnTo>
                      <a:pt x="185" y="689"/>
                    </a:lnTo>
                    <a:lnTo>
                      <a:pt x="220" y="720"/>
                    </a:lnTo>
                    <a:lnTo>
                      <a:pt x="279" y="748"/>
                    </a:lnTo>
                    <a:lnTo>
                      <a:pt x="622" y="705"/>
                    </a:lnTo>
                    <a:lnTo>
                      <a:pt x="648" y="690"/>
                    </a:lnTo>
                    <a:lnTo>
                      <a:pt x="679" y="688"/>
                    </a:lnTo>
                    <a:lnTo>
                      <a:pt x="690" y="698"/>
                    </a:lnTo>
                    <a:lnTo>
                      <a:pt x="692" y="762"/>
                    </a:lnTo>
                    <a:lnTo>
                      <a:pt x="706" y="800"/>
                    </a:lnTo>
                    <a:lnTo>
                      <a:pt x="761" y="844"/>
                    </a:lnTo>
                    <a:lnTo>
                      <a:pt x="782" y="850"/>
                    </a:lnTo>
                    <a:lnTo>
                      <a:pt x="826" y="887"/>
                    </a:lnTo>
                    <a:lnTo>
                      <a:pt x="1083" y="955"/>
                    </a:lnTo>
                    <a:lnTo>
                      <a:pt x="1306" y="988"/>
                    </a:lnTo>
                    <a:lnTo>
                      <a:pt x="1350" y="965"/>
                    </a:lnTo>
                    <a:lnTo>
                      <a:pt x="1396" y="915"/>
                    </a:lnTo>
                    <a:lnTo>
                      <a:pt x="1463" y="902"/>
                    </a:lnTo>
                    <a:lnTo>
                      <a:pt x="1557" y="929"/>
                    </a:lnTo>
                    <a:lnTo>
                      <a:pt x="1583" y="889"/>
                    </a:lnTo>
                    <a:lnTo>
                      <a:pt x="1690" y="904"/>
                    </a:lnTo>
                    <a:lnTo>
                      <a:pt x="1702" y="866"/>
                    </a:lnTo>
                    <a:lnTo>
                      <a:pt x="1743" y="848"/>
                    </a:lnTo>
                    <a:lnTo>
                      <a:pt x="1797" y="797"/>
                    </a:lnTo>
                    <a:lnTo>
                      <a:pt x="1851" y="785"/>
                    </a:lnTo>
                    <a:lnTo>
                      <a:pt x="1852" y="685"/>
                    </a:lnTo>
                    <a:lnTo>
                      <a:pt x="1899" y="598"/>
                    </a:lnTo>
                    <a:lnTo>
                      <a:pt x="1867" y="556"/>
                    </a:lnTo>
                    <a:lnTo>
                      <a:pt x="1889" y="520"/>
                    </a:lnTo>
                    <a:lnTo>
                      <a:pt x="2017" y="522"/>
                    </a:lnTo>
                    <a:lnTo>
                      <a:pt x="2040" y="484"/>
                    </a:lnTo>
                    <a:lnTo>
                      <a:pt x="2045" y="388"/>
                    </a:lnTo>
                    <a:lnTo>
                      <a:pt x="1988" y="215"/>
                    </a:lnTo>
                    <a:lnTo>
                      <a:pt x="1990" y="149"/>
                    </a:lnTo>
                    <a:lnTo>
                      <a:pt x="1955" y="99"/>
                    </a:lnTo>
                    <a:lnTo>
                      <a:pt x="1785" y="105"/>
                    </a:lnTo>
                    <a:lnTo>
                      <a:pt x="1722" y="41"/>
                    </a:lnTo>
                    <a:lnTo>
                      <a:pt x="1683" y="19"/>
                    </a:lnTo>
                    <a:lnTo>
                      <a:pt x="1523" y="0"/>
                    </a:lnTo>
                    <a:lnTo>
                      <a:pt x="1474" y="86"/>
                    </a:lnTo>
                    <a:lnTo>
                      <a:pt x="1427" y="122"/>
                    </a:lnTo>
                    <a:lnTo>
                      <a:pt x="1385" y="137"/>
                    </a:lnTo>
                    <a:lnTo>
                      <a:pt x="1275" y="129"/>
                    </a:lnTo>
                    <a:lnTo>
                      <a:pt x="1185" y="70"/>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sp>
          <p:nvSpPr>
            <p:cNvPr id="344" name="Freeform 158"/>
            <p:cNvSpPr>
              <a:spLocks/>
            </p:cNvSpPr>
            <p:nvPr/>
          </p:nvSpPr>
          <p:spPr bwMode="auto">
            <a:xfrm>
              <a:off x="8153749" y="4809616"/>
              <a:ext cx="361052" cy="316726"/>
            </a:xfrm>
            <a:custGeom>
              <a:avLst/>
              <a:gdLst>
                <a:gd name="T0" fmla="*/ 0 w 888"/>
                <a:gd name="T1" fmla="*/ 0 h 783"/>
                <a:gd name="T2" fmla="*/ 0 w 888"/>
                <a:gd name="T3" fmla="*/ 0 h 783"/>
                <a:gd name="T4" fmla="*/ 0 w 888"/>
                <a:gd name="T5" fmla="*/ 0 h 783"/>
                <a:gd name="T6" fmla="*/ 0 w 888"/>
                <a:gd name="T7" fmla="*/ 0 h 783"/>
                <a:gd name="T8" fmla="*/ 0 w 888"/>
                <a:gd name="T9" fmla="*/ 0 h 783"/>
                <a:gd name="T10" fmla="*/ 0 w 888"/>
                <a:gd name="T11" fmla="*/ 0 h 783"/>
                <a:gd name="T12" fmla="*/ 0 w 888"/>
                <a:gd name="T13" fmla="*/ 0 h 783"/>
                <a:gd name="T14" fmla="*/ 0 w 888"/>
                <a:gd name="T15" fmla="*/ 0 h 783"/>
                <a:gd name="T16" fmla="*/ 0 w 888"/>
                <a:gd name="T17" fmla="*/ 0 h 783"/>
                <a:gd name="T18" fmla="*/ 0 w 888"/>
                <a:gd name="T19" fmla="*/ 0 h 783"/>
                <a:gd name="T20" fmla="*/ 0 w 888"/>
                <a:gd name="T21" fmla="*/ 0 h 783"/>
                <a:gd name="T22" fmla="*/ 0 w 888"/>
                <a:gd name="T23" fmla="*/ 0 h 783"/>
                <a:gd name="T24" fmla="*/ 0 w 888"/>
                <a:gd name="T25" fmla="*/ 0 h 783"/>
                <a:gd name="T26" fmla="*/ 0 w 888"/>
                <a:gd name="T27" fmla="*/ 0 h 783"/>
                <a:gd name="T28" fmla="*/ 0 w 888"/>
                <a:gd name="T29" fmla="*/ 0 h 783"/>
                <a:gd name="T30" fmla="*/ 0 w 888"/>
                <a:gd name="T31" fmla="*/ 0 h 783"/>
                <a:gd name="T32" fmla="*/ 0 w 888"/>
                <a:gd name="T33" fmla="*/ 0 h 783"/>
                <a:gd name="T34" fmla="*/ 0 w 888"/>
                <a:gd name="T35" fmla="*/ 0 h 783"/>
                <a:gd name="T36" fmla="*/ 0 w 888"/>
                <a:gd name="T37" fmla="*/ 0 h 783"/>
                <a:gd name="T38" fmla="*/ 0 w 888"/>
                <a:gd name="T39" fmla="*/ 0 h 783"/>
                <a:gd name="T40" fmla="*/ 0 w 888"/>
                <a:gd name="T41" fmla="*/ 0 h 783"/>
                <a:gd name="T42" fmla="*/ 0 w 888"/>
                <a:gd name="T43" fmla="*/ 0 h 783"/>
                <a:gd name="T44" fmla="*/ 0 w 888"/>
                <a:gd name="T45" fmla="*/ 0 h 783"/>
                <a:gd name="T46" fmla="*/ 0 w 888"/>
                <a:gd name="T47" fmla="*/ 0 h 783"/>
                <a:gd name="T48" fmla="*/ 0 w 888"/>
                <a:gd name="T49" fmla="*/ 0 h 783"/>
                <a:gd name="T50" fmla="*/ 0 w 888"/>
                <a:gd name="T51" fmla="*/ 0 h 783"/>
                <a:gd name="T52" fmla="*/ 0 w 888"/>
                <a:gd name="T53" fmla="*/ 0 h 783"/>
                <a:gd name="T54" fmla="*/ 0 w 888"/>
                <a:gd name="T55" fmla="*/ 0 h 783"/>
                <a:gd name="T56" fmla="*/ 0 w 888"/>
                <a:gd name="T57" fmla="*/ 0 h 783"/>
                <a:gd name="T58" fmla="*/ 0 w 888"/>
                <a:gd name="T59" fmla="*/ 0 h 783"/>
                <a:gd name="T60" fmla="*/ 0 w 888"/>
                <a:gd name="T61" fmla="*/ 0 h 78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88"/>
                <a:gd name="T94" fmla="*/ 0 h 783"/>
                <a:gd name="T95" fmla="*/ 888 w 888"/>
                <a:gd name="T96" fmla="*/ 783 h 78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88" h="783">
                  <a:moveTo>
                    <a:pt x="545" y="16"/>
                  </a:moveTo>
                  <a:lnTo>
                    <a:pt x="502" y="14"/>
                  </a:lnTo>
                  <a:lnTo>
                    <a:pt x="380" y="42"/>
                  </a:lnTo>
                  <a:lnTo>
                    <a:pt x="282" y="0"/>
                  </a:lnTo>
                  <a:lnTo>
                    <a:pt x="102" y="70"/>
                  </a:lnTo>
                  <a:lnTo>
                    <a:pt x="56" y="111"/>
                  </a:lnTo>
                  <a:lnTo>
                    <a:pt x="72" y="142"/>
                  </a:lnTo>
                  <a:lnTo>
                    <a:pt x="125" y="180"/>
                  </a:lnTo>
                  <a:lnTo>
                    <a:pt x="123" y="242"/>
                  </a:lnTo>
                  <a:lnTo>
                    <a:pt x="69" y="293"/>
                  </a:lnTo>
                  <a:lnTo>
                    <a:pt x="52" y="459"/>
                  </a:lnTo>
                  <a:lnTo>
                    <a:pt x="0" y="542"/>
                  </a:lnTo>
                  <a:lnTo>
                    <a:pt x="15" y="564"/>
                  </a:lnTo>
                  <a:lnTo>
                    <a:pt x="56" y="581"/>
                  </a:lnTo>
                  <a:lnTo>
                    <a:pt x="236" y="545"/>
                  </a:lnTo>
                  <a:lnTo>
                    <a:pt x="200" y="587"/>
                  </a:lnTo>
                  <a:lnTo>
                    <a:pt x="65" y="666"/>
                  </a:lnTo>
                  <a:lnTo>
                    <a:pt x="68" y="783"/>
                  </a:lnTo>
                  <a:lnTo>
                    <a:pt x="109" y="760"/>
                  </a:lnTo>
                  <a:lnTo>
                    <a:pt x="142" y="697"/>
                  </a:lnTo>
                  <a:lnTo>
                    <a:pt x="456" y="392"/>
                  </a:lnTo>
                  <a:lnTo>
                    <a:pt x="740" y="350"/>
                  </a:lnTo>
                  <a:lnTo>
                    <a:pt x="785" y="365"/>
                  </a:lnTo>
                  <a:lnTo>
                    <a:pt x="862" y="332"/>
                  </a:lnTo>
                  <a:lnTo>
                    <a:pt x="888" y="282"/>
                  </a:lnTo>
                  <a:lnTo>
                    <a:pt x="880" y="235"/>
                  </a:lnTo>
                  <a:lnTo>
                    <a:pt x="828" y="238"/>
                  </a:lnTo>
                  <a:lnTo>
                    <a:pt x="654" y="189"/>
                  </a:lnTo>
                  <a:lnTo>
                    <a:pt x="564" y="116"/>
                  </a:lnTo>
                  <a:lnTo>
                    <a:pt x="543" y="59"/>
                  </a:lnTo>
                  <a:lnTo>
                    <a:pt x="545" y="16"/>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nvGrpSpPr>
            <p:cNvPr id="345" name="Group 554"/>
            <p:cNvGrpSpPr/>
            <p:nvPr/>
          </p:nvGrpSpPr>
          <p:grpSpPr>
            <a:xfrm>
              <a:off x="7068315" y="4174065"/>
              <a:ext cx="675925" cy="696380"/>
              <a:chOff x="10066104" y="3020973"/>
              <a:chExt cx="437140" cy="450369"/>
            </a:xfrm>
            <a:noFill/>
          </p:grpSpPr>
          <p:sp>
            <p:nvSpPr>
              <p:cNvPr id="571" name="Freeform 124"/>
              <p:cNvSpPr>
                <a:spLocks/>
              </p:cNvSpPr>
              <p:nvPr/>
            </p:nvSpPr>
            <p:spPr bwMode="auto">
              <a:xfrm>
                <a:off x="10066104" y="3346541"/>
                <a:ext cx="103176" cy="61044"/>
              </a:xfrm>
              <a:custGeom>
                <a:avLst/>
                <a:gdLst>
                  <a:gd name="T0" fmla="*/ 0 w 396"/>
                  <a:gd name="T1" fmla="*/ 0 h 231"/>
                  <a:gd name="T2" fmla="*/ 0 w 396"/>
                  <a:gd name="T3" fmla="*/ 0 h 231"/>
                  <a:gd name="T4" fmla="*/ 0 w 396"/>
                  <a:gd name="T5" fmla="*/ 0 h 231"/>
                  <a:gd name="T6" fmla="*/ 0 w 396"/>
                  <a:gd name="T7" fmla="*/ 0 h 231"/>
                  <a:gd name="T8" fmla="*/ 0 w 396"/>
                  <a:gd name="T9" fmla="*/ 0 h 231"/>
                  <a:gd name="T10" fmla="*/ 0 w 396"/>
                  <a:gd name="T11" fmla="*/ 0 h 231"/>
                  <a:gd name="T12" fmla="*/ 0 w 396"/>
                  <a:gd name="T13" fmla="*/ 0 h 231"/>
                  <a:gd name="T14" fmla="*/ 0 w 396"/>
                  <a:gd name="T15" fmla="*/ 0 h 231"/>
                  <a:gd name="T16" fmla="*/ 0 w 396"/>
                  <a:gd name="T17" fmla="*/ 0 h 231"/>
                  <a:gd name="T18" fmla="*/ 0 w 396"/>
                  <a:gd name="T19" fmla="*/ 0 h 231"/>
                  <a:gd name="T20" fmla="*/ 0 w 396"/>
                  <a:gd name="T21" fmla="*/ 0 h 231"/>
                  <a:gd name="T22" fmla="*/ 0 w 396"/>
                  <a:gd name="T23" fmla="*/ 0 h 231"/>
                  <a:gd name="T24" fmla="*/ 0 w 396"/>
                  <a:gd name="T25" fmla="*/ 0 h 231"/>
                  <a:gd name="T26" fmla="*/ 0 w 396"/>
                  <a:gd name="T27" fmla="*/ 0 h 231"/>
                  <a:gd name="T28" fmla="*/ 0 w 396"/>
                  <a:gd name="T29" fmla="*/ 0 h 231"/>
                  <a:gd name="T30" fmla="*/ 0 w 396"/>
                  <a:gd name="T31" fmla="*/ 0 h 231"/>
                  <a:gd name="T32" fmla="*/ 0 w 396"/>
                  <a:gd name="T33" fmla="*/ 0 h 231"/>
                  <a:gd name="T34" fmla="*/ 0 w 396"/>
                  <a:gd name="T35" fmla="*/ 0 h 231"/>
                  <a:gd name="T36" fmla="*/ 0 w 396"/>
                  <a:gd name="T37" fmla="*/ 0 h 2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6"/>
                  <a:gd name="T58" fmla="*/ 0 h 231"/>
                  <a:gd name="T59" fmla="*/ 396 w 396"/>
                  <a:gd name="T60" fmla="*/ 231 h 2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6" h="231">
                    <a:moveTo>
                      <a:pt x="394" y="231"/>
                    </a:moveTo>
                    <a:lnTo>
                      <a:pt x="235" y="109"/>
                    </a:lnTo>
                    <a:lnTo>
                      <a:pt x="149" y="92"/>
                    </a:lnTo>
                    <a:lnTo>
                      <a:pt x="67" y="40"/>
                    </a:lnTo>
                    <a:lnTo>
                      <a:pt x="0" y="22"/>
                    </a:lnTo>
                    <a:lnTo>
                      <a:pt x="20" y="0"/>
                    </a:lnTo>
                    <a:lnTo>
                      <a:pt x="77" y="14"/>
                    </a:lnTo>
                    <a:lnTo>
                      <a:pt x="105" y="49"/>
                    </a:lnTo>
                    <a:lnTo>
                      <a:pt x="133" y="54"/>
                    </a:lnTo>
                    <a:lnTo>
                      <a:pt x="172" y="32"/>
                    </a:lnTo>
                    <a:lnTo>
                      <a:pt x="209" y="38"/>
                    </a:lnTo>
                    <a:lnTo>
                      <a:pt x="212" y="65"/>
                    </a:lnTo>
                    <a:lnTo>
                      <a:pt x="251" y="98"/>
                    </a:lnTo>
                    <a:lnTo>
                      <a:pt x="286" y="105"/>
                    </a:lnTo>
                    <a:lnTo>
                      <a:pt x="331" y="154"/>
                    </a:lnTo>
                    <a:lnTo>
                      <a:pt x="374" y="162"/>
                    </a:lnTo>
                    <a:lnTo>
                      <a:pt x="372" y="189"/>
                    </a:lnTo>
                    <a:lnTo>
                      <a:pt x="396" y="191"/>
                    </a:lnTo>
                    <a:lnTo>
                      <a:pt x="394" y="231"/>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72" name="Freeform 125"/>
              <p:cNvSpPr>
                <a:spLocks/>
              </p:cNvSpPr>
              <p:nvPr/>
            </p:nvSpPr>
            <p:spPr bwMode="auto">
              <a:xfrm>
                <a:off x="10066104" y="3346541"/>
                <a:ext cx="103176" cy="61044"/>
              </a:xfrm>
              <a:custGeom>
                <a:avLst/>
                <a:gdLst>
                  <a:gd name="T0" fmla="*/ 0 w 396"/>
                  <a:gd name="T1" fmla="*/ 0 h 231"/>
                  <a:gd name="T2" fmla="*/ 0 w 396"/>
                  <a:gd name="T3" fmla="*/ 0 h 231"/>
                  <a:gd name="T4" fmla="*/ 0 w 396"/>
                  <a:gd name="T5" fmla="*/ 0 h 231"/>
                  <a:gd name="T6" fmla="*/ 0 w 396"/>
                  <a:gd name="T7" fmla="*/ 0 h 231"/>
                  <a:gd name="T8" fmla="*/ 0 w 396"/>
                  <a:gd name="T9" fmla="*/ 0 h 231"/>
                  <a:gd name="T10" fmla="*/ 0 w 396"/>
                  <a:gd name="T11" fmla="*/ 0 h 231"/>
                  <a:gd name="T12" fmla="*/ 0 w 396"/>
                  <a:gd name="T13" fmla="*/ 0 h 231"/>
                  <a:gd name="T14" fmla="*/ 0 w 396"/>
                  <a:gd name="T15" fmla="*/ 0 h 231"/>
                  <a:gd name="T16" fmla="*/ 0 w 396"/>
                  <a:gd name="T17" fmla="*/ 0 h 231"/>
                  <a:gd name="T18" fmla="*/ 0 w 396"/>
                  <a:gd name="T19" fmla="*/ 0 h 231"/>
                  <a:gd name="T20" fmla="*/ 0 w 396"/>
                  <a:gd name="T21" fmla="*/ 0 h 231"/>
                  <a:gd name="T22" fmla="*/ 0 w 396"/>
                  <a:gd name="T23" fmla="*/ 0 h 231"/>
                  <a:gd name="T24" fmla="*/ 0 w 396"/>
                  <a:gd name="T25" fmla="*/ 0 h 231"/>
                  <a:gd name="T26" fmla="*/ 0 w 396"/>
                  <a:gd name="T27" fmla="*/ 0 h 231"/>
                  <a:gd name="T28" fmla="*/ 0 w 396"/>
                  <a:gd name="T29" fmla="*/ 0 h 231"/>
                  <a:gd name="T30" fmla="*/ 0 w 396"/>
                  <a:gd name="T31" fmla="*/ 0 h 231"/>
                  <a:gd name="T32" fmla="*/ 0 w 396"/>
                  <a:gd name="T33" fmla="*/ 0 h 231"/>
                  <a:gd name="T34" fmla="*/ 0 w 396"/>
                  <a:gd name="T35" fmla="*/ 0 h 231"/>
                  <a:gd name="T36" fmla="*/ 0 w 396"/>
                  <a:gd name="T37" fmla="*/ 0 h 2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6"/>
                  <a:gd name="T58" fmla="*/ 0 h 231"/>
                  <a:gd name="T59" fmla="*/ 396 w 396"/>
                  <a:gd name="T60" fmla="*/ 231 h 2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6" h="231">
                    <a:moveTo>
                      <a:pt x="394" y="231"/>
                    </a:moveTo>
                    <a:lnTo>
                      <a:pt x="235" y="109"/>
                    </a:lnTo>
                    <a:lnTo>
                      <a:pt x="149" y="92"/>
                    </a:lnTo>
                    <a:lnTo>
                      <a:pt x="67" y="40"/>
                    </a:lnTo>
                    <a:lnTo>
                      <a:pt x="0" y="22"/>
                    </a:lnTo>
                    <a:lnTo>
                      <a:pt x="20" y="0"/>
                    </a:lnTo>
                    <a:lnTo>
                      <a:pt x="77" y="14"/>
                    </a:lnTo>
                    <a:lnTo>
                      <a:pt x="105" y="49"/>
                    </a:lnTo>
                    <a:lnTo>
                      <a:pt x="133" y="54"/>
                    </a:lnTo>
                    <a:lnTo>
                      <a:pt x="172" y="32"/>
                    </a:lnTo>
                    <a:lnTo>
                      <a:pt x="209" y="38"/>
                    </a:lnTo>
                    <a:lnTo>
                      <a:pt x="212" y="65"/>
                    </a:lnTo>
                    <a:lnTo>
                      <a:pt x="251" y="98"/>
                    </a:lnTo>
                    <a:lnTo>
                      <a:pt x="286" y="105"/>
                    </a:lnTo>
                    <a:lnTo>
                      <a:pt x="331" y="154"/>
                    </a:lnTo>
                    <a:lnTo>
                      <a:pt x="374" y="162"/>
                    </a:lnTo>
                    <a:lnTo>
                      <a:pt x="372" y="189"/>
                    </a:lnTo>
                    <a:lnTo>
                      <a:pt x="396" y="191"/>
                    </a:lnTo>
                    <a:lnTo>
                      <a:pt x="394" y="231"/>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73" name="Freeform 162"/>
              <p:cNvSpPr>
                <a:spLocks/>
              </p:cNvSpPr>
              <p:nvPr/>
            </p:nvSpPr>
            <p:spPr bwMode="auto">
              <a:xfrm>
                <a:off x="10169280" y="3020973"/>
                <a:ext cx="333964" cy="450369"/>
              </a:xfrm>
              <a:custGeom>
                <a:avLst/>
                <a:gdLst>
                  <a:gd name="T0" fmla="*/ 0 w 1276"/>
                  <a:gd name="T1" fmla="*/ 0 h 1716"/>
                  <a:gd name="T2" fmla="*/ 0 w 1276"/>
                  <a:gd name="T3" fmla="*/ 0 h 1716"/>
                  <a:gd name="T4" fmla="*/ 0 w 1276"/>
                  <a:gd name="T5" fmla="*/ 0 h 1716"/>
                  <a:gd name="T6" fmla="*/ 0 w 1276"/>
                  <a:gd name="T7" fmla="*/ 0 h 1716"/>
                  <a:gd name="T8" fmla="*/ 0 w 1276"/>
                  <a:gd name="T9" fmla="*/ 0 h 1716"/>
                  <a:gd name="T10" fmla="*/ 0 w 1276"/>
                  <a:gd name="T11" fmla="*/ 0 h 1716"/>
                  <a:gd name="T12" fmla="*/ 0 w 1276"/>
                  <a:gd name="T13" fmla="*/ 0 h 1716"/>
                  <a:gd name="T14" fmla="*/ 0 w 1276"/>
                  <a:gd name="T15" fmla="*/ 0 h 1716"/>
                  <a:gd name="T16" fmla="*/ 0 w 1276"/>
                  <a:gd name="T17" fmla="*/ 0 h 1716"/>
                  <a:gd name="T18" fmla="*/ 0 w 1276"/>
                  <a:gd name="T19" fmla="*/ 0 h 1716"/>
                  <a:gd name="T20" fmla="*/ 0 w 1276"/>
                  <a:gd name="T21" fmla="*/ 0 h 1716"/>
                  <a:gd name="T22" fmla="*/ 0 w 1276"/>
                  <a:gd name="T23" fmla="*/ 0 h 1716"/>
                  <a:gd name="T24" fmla="*/ 0 w 1276"/>
                  <a:gd name="T25" fmla="*/ 0 h 1716"/>
                  <a:gd name="T26" fmla="*/ 0 w 1276"/>
                  <a:gd name="T27" fmla="*/ 0 h 1716"/>
                  <a:gd name="T28" fmla="*/ 0 w 1276"/>
                  <a:gd name="T29" fmla="*/ 0 h 1716"/>
                  <a:gd name="T30" fmla="*/ 0 w 1276"/>
                  <a:gd name="T31" fmla="*/ 0 h 1716"/>
                  <a:gd name="T32" fmla="*/ 0 w 1276"/>
                  <a:gd name="T33" fmla="*/ 0 h 1716"/>
                  <a:gd name="T34" fmla="*/ 0 w 1276"/>
                  <a:gd name="T35" fmla="*/ 0 h 1716"/>
                  <a:gd name="T36" fmla="*/ 0 w 1276"/>
                  <a:gd name="T37" fmla="*/ 0 h 1716"/>
                  <a:gd name="T38" fmla="*/ 0 w 1276"/>
                  <a:gd name="T39" fmla="*/ 0 h 1716"/>
                  <a:gd name="T40" fmla="*/ 0 w 1276"/>
                  <a:gd name="T41" fmla="*/ 0 h 1716"/>
                  <a:gd name="T42" fmla="*/ 0 w 1276"/>
                  <a:gd name="T43" fmla="*/ 0 h 1716"/>
                  <a:gd name="T44" fmla="*/ 0 w 1276"/>
                  <a:gd name="T45" fmla="*/ 0 h 1716"/>
                  <a:gd name="T46" fmla="*/ 0 w 1276"/>
                  <a:gd name="T47" fmla="*/ 0 h 1716"/>
                  <a:gd name="T48" fmla="*/ 0 w 1276"/>
                  <a:gd name="T49" fmla="*/ 0 h 1716"/>
                  <a:gd name="T50" fmla="*/ 0 w 1276"/>
                  <a:gd name="T51" fmla="*/ 0 h 1716"/>
                  <a:gd name="T52" fmla="*/ 0 w 1276"/>
                  <a:gd name="T53" fmla="*/ 0 h 1716"/>
                  <a:gd name="T54" fmla="*/ 0 w 1276"/>
                  <a:gd name="T55" fmla="*/ 0 h 1716"/>
                  <a:gd name="T56" fmla="*/ 0 w 1276"/>
                  <a:gd name="T57" fmla="*/ 0 h 1716"/>
                  <a:gd name="T58" fmla="*/ 0 w 1276"/>
                  <a:gd name="T59" fmla="*/ 0 h 1716"/>
                  <a:gd name="T60" fmla="*/ 0 w 1276"/>
                  <a:gd name="T61" fmla="*/ 0 h 1716"/>
                  <a:gd name="T62" fmla="*/ 0 w 1276"/>
                  <a:gd name="T63" fmla="*/ 0 h 1716"/>
                  <a:gd name="T64" fmla="*/ 0 w 1276"/>
                  <a:gd name="T65" fmla="*/ 0 h 1716"/>
                  <a:gd name="T66" fmla="*/ 0 w 1276"/>
                  <a:gd name="T67" fmla="*/ 0 h 1716"/>
                  <a:gd name="T68" fmla="*/ 0 w 1276"/>
                  <a:gd name="T69" fmla="*/ 0 h 1716"/>
                  <a:gd name="T70" fmla="*/ 0 w 1276"/>
                  <a:gd name="T71" fmla="*/ 0 h 1716"/>
                  <a:gd name="T72" fmla="*/ 0 w 1276"/>
                  <a:gd name="T73" fmla="*/ 0 h 1716"/>
                  <a:gd name="T74" fmla="*/ 0 w 1276"/>
                  <a:gd name="T75" fmla="*/ 0 h 1716"/>
                  <a:gd name="T76" fmla="*/ 0 w 1276"/>
                  <a:gd name="T77" fmla="*/ 0 h 1716"/>
                  <a:gd name="T78" fmla="*/ 0 w 1276"/>
                  <a:gd name="T79" fmla="*/ 0 h 1716"/>
                  <a:gd name="T80" fmla="*/ 0 w 1276"/>
                  <a:gd name="T81" fmla="*/ 0 h 1716"/>
                  <a:gd name="T82" fmla="*/ 0 w 1276"/>
                  <a:gd name="T83" fmla="*/ 0 h 1716"/>
                  <a:gd name="T84" fmla="*/ 0 w 1276"/>
                  <a:gd name="T85" fmla="*/ 0 h 1716"/>
                  <a:gd name="T86" fmla="*/ 0 w 1276"/>
                  <a:gd name="T87" fmla="*/ 0 h 1716"/>
                  <a:gd name="T88" fmla="*/ 0 w 1276"/>
                  <a:gd name="T89" fmla="*/ 0 h 1716"/>
                  <a:gd name="T90" fmla="*/ 0 w 1276"/>
                  <a:gd name="T91" fmla="*/ 0 h 1716"/>
                  <a:gd name="T92" fmla="*/ 0 w 1276"/>
                  <a:gd name="T93" fmla="*/ 0 h 1716"/>
                  <a:gd name="T94" fmla="*/ 0 w 1276"/>
                  <a:gd name="T95" fmla="*/ 0 h 1716"/>
                  <a:gd name="T96" fmla="*/ 0 w 1276"/>
                  <a:gd name="T97" fmla="*/ 0 h 1716"/>
                  <a:gd name="T98" fmla="*/ 0 w 1276"/>
                  <a:gd name="T99" fmla="*/ 0 h 1716"/>
                  <a:gd name="T100" fmla="*/ 0 w 1276"/>
                  <a:gd name="T101" fmla="*/ 0 h 1716"/>
                  <a:gd name="T102" fmla="*/ 0 w 1276"/>
                  <a:gd name="T103" fmla="*/ 0 h 17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76"/>
                  <a:gd name="T157" fmla="*/ 0 h 1716"/>
                  <a:gd name="T158" fmla="*/ 1276 w 1276"/>
                  <a:gd name="T159" fmla="*/ 1716 h 17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76" h="1716">
                    <a:moveTo>
                      <a:pt x="98" y="110"/>
                    </a:moveTo>
                    <a:lnTo>
                      <a:pt x="136" y="147"/>
                    </a:lnTo>
                    <a:lnTo>
                      <a:pt x="139" y="164"/>
                    </a:lnTo>
                    <a:lnTo>
                      <a:pt x="131" y="176"/>
                    </a:lnTo>
                    <a:lnTo>
                      <a:pt x="143" y="187"/>
                    </a:lnTo>
                    <a:lnTo>
                      <a:pt x="145" y="204"/>
                    </a:lnTo>
                    <a:lnTo>
                      <a:pt x="129" y="223"/>
                    </a:lnTo>
                    <a:lnTo>
                      <a:pt x="132" y="236"/>
                    </a:lnTo>
                    <a:lnTo>
                      <a:pt x="148" y="245"/>
                    </a:lnTo>
                    <a:lnTo>
                      <a:pt x="160" y="234"/>
                    </a:lnTo>
                    <a:lnTo>
                      <a:pt x="169" y="234"/>
                    </a:lnTo>
                    <a:lnTo>
                      <a:pt x="184" y="246"/>
                    </a:lnTo>
                    <a:lnTo>
                      <a:pt x="184" y="253"/>
                    </a:lnTo>
                    <a:lnTo>
                      <a:pt x="175" y="261"/>
                    </a:lnTo>
                    <a:lnTo>
                      <a:pt x="164" y="261"/>
                    </a:lnTo>
                    <a:lnTo>
                      <a:pt x="161" y="274"/>
                    </a:lnTo>
                    <a:lnTo>
                      <a:pt x="167" y="285"/>
                    </a:lnTo>
                    <a:lnTo>
                      <a:pt x="160" y="308"/>
                    </a:lnTo>
                    <a:lnTo>
                      <a:pt x="167" y="317"/>
                    </a:lnTo>
                    <a:lnTo>
                      <a:pt x="186" y="317"/>
                    </a:lnTo>
                    <a:lnTo>
                      <a:pt x="209" y="340"/>
                    </a:lnTo>
                    <a:lnTo>
                      <a:pt x="233" y="339"/>
                    </a:lnTo>
                    <a:lnTo>
                      <a:pt x="251" y="348"/>
                    </a:lnTo>
                    <a:lnTo>
                      <a:pt x="272" y="347"/>
                    </a:lnTo>
                    <a:lnTo>
                      <a:pt x="284" y="353"/>
                    </a:lnTo>
                    <a:lnTo>
                      <a:pt x="286" y="363"/>
                    </a:lnTo>
                    <a:lnTo>
                      <a:pt x="267" y="374"/>
                    </a:lnTo>
                    <a:lnTo>
                      <a:pt x="229" y="365"/>
                    </a:lnTo>
                    <a:lnTo>
                      <a:pt x="218" y="367"/>
                    </a:lnTo>
                    <a:lnTo>
                      <a:pt x="212" y="391"/>
                    </a:lnTo>
                    <a:lnTo>
                      <a:pt x="199" y="406"/>
                    </a:lnTo>
                    <a:lnTo>
                      <a:pt x="206" y="454"/>
                    </a:lnTo>
                    <a:lnTo>
                      <a:pt x="216" y="462"/>
                    </a:lnTo>
                    <a:lnTo>
                      <a:pt x="211" y="485"/>
                    </a:lnTo>
                    <a:lnTo>
                      <a:pt x="271" y="491"/>
                    </a:lnTo>
                    <a:lnTo>
                      <a:pt x="284" y="506"/>
                    </a:lnTo>
                    <a:lnTo>
                      <a:pt x="274" y="523"/>
                    </a:lnTo>
                    <a:lnTo>
                      <a:pt x="274" y="545"/>
                    </a:lnTo>
                    <a:lnTo>
                      <a:pt x="224" y="637"/>
                    </a:lnTo>
                    <a:lnTo>
                      <a:pt x="213" y="644"/>
                    </a:lnTo>
                    <a:lnTo>
                      <a:pt x="213" y="659"/>
                    </a:lnTo>
                    <a:lnTo>
                      <a:pt x="220" y="669"/>
                    </a:lnTo>
                    <a:lnTo>
                      <a:pt x="202" y="696"/>
                    </a:lnTo>
                    <a:lnTo>
                      <a:pt x="213" y="730"/>
                    </a:lnTo>
                    <a:lnTo>
                      <a:pt x="230" y="734"/>
                    </a:lnTo>
                    <a:lnTo>
                      <a:pt x="243" y="744"/>
                    </a:lnTo>
                    <a:lnTo>
                      <a:pt x="263" y="739"/>
                    </a:lnTo>
                    <a:lnTo>
                      <a:pt x="271" y="754"/>
                    </a:lnTo>
                    <a:lnTo>
                      <a:pt x="275" y="771"/>
                    </a:lnTo>
                    <a:lnTo>
                      <a:pt x="296" y="793"/>
                    </a:lnTo>
                    <a:lnTo>
                      <a:pt x="310" y="791"/>
                    </a:lnTo>
                    <a:lnTo>
                      <a:pt x="316" y="797"/>
                    </a:lnTo>
                    <a:lnTo>
                      <a:pt x="315" y="810"/>
                    </a:lnTo>
                    <a:lnTo>
                      <a:pt x="336" y="824"/>
                    </a:lnTo>
                    <a:lnTo>
                      <a:pt x="349" y="826"/>
                    </a:lnTo>
                    <a:lnTo>
                      <a:pt x="351" y="843"/>
                    </a:lnTo>
                    <a:lnTo>
                      <a:pt x="329" y="865"/>
                    </a:lnTo>
                    <a:lnTo>
                      <a:pt x="288" y="866"/>
                    </a:lnTo>
                    <a:lnTo>
                      <a:pt x="263" y="850"/>
                    </a:lnTo>
                    <a:lnTo>
                      <a:pt x="249" y="850"/>
                    </a:lnTo>
                    <a:lnTo>
                      <a:pt x="243" y="857"/>
                    </a:lnTo>
                    <a:lnTo>
                      <a:pt x="313" y="950"/>
                    </a:lnTo>
                    <a:lnTo>
                      <a:pt x="323" y="956"/>
                    </a:lnTo>
                    <a:lnTo>
                      <a:pt x="320" y="995"/>
                    </a:lnTo>
                    <a:lnTo>
                      <a:pt x="314" y="1010"/>
                    </a:lnTo>
                    <a:lnTo>
                      <a:pt x="298" y="1017"/>
                    </a:lnTo>
                    <a:lnTo>
                      <a:pt x="286" y="1005"/>
                    </a:lnTo>
                    <a:lnTo>
                      <a:pt x="273" y="1004"/>
                    </a:lnTo>
                    <a:lnTo>
                      <a:pt x="259" y="1025"/>
                    </a:lnTo>
                    <a:lnTo>
                      <a:pt x="236" y="1037"/>
                    </a:lnTo>
                    <a:lnTo>
                      <a:pt x="215" y="1037"/>
                    </a:lnTo>
                    <a:lnTo>
                      <a:pt x="204" y="1045"/>
                    </a:lnTo>
                    <a:lnTo>
                      <a:pt x="191" y="1044"/>
                    </a:lnTo>
                    <a:lnTo>
                      <a:pt x="185" y="1030"/>
                    </a:lnTo>
                    <a:lnTo>
                      <a:pt x="167" y="1031"/>
                    </a:lnTo>
                    <a:lnTo>
                      <a:pt x="151" y="1048"/>
                    </a:lnTo>
                    <a:lnTo>
                      <a:pt x="158" y="1063"/>
                    </a:lnTo>
                    <a:lnTo>
                      <a:pt x="176" y="1072"/>
                    </a:lnTo>
                    <a:lnTo>
                      <a:pt x="180" y="1098"/>
                    </a:lnTo>
                    <a:lnTo>
                      <a:pt x="191" y="1113"/>
                    </a:lnTo>
                    <a:lnTo>
                      <a:pt x="191" y="1143"/>
                    </a:lnTo>
                    <a:lnTo>
                      <a:pt x="184" y="1154"/>
                    </a:lnTo>
                    <a:lnTo>
                      <a:pt x="170" y="1152"/>
                    </a:lnTo>
                    <a:lnTo>
                      <a:pt x="162" y="1143"/>
                    </a:lnTo>
                    <a:lnTo>
                      <a:pt x="155" y="1114"/>
                    </a:lnTo>
                    <a:lnTo>
                      <a:pt x="146" y="1106"/>
                    </a:lnTo>
                    <a:lnTo>
                      <a:pt x="122" y="1106"/>
                    </a:lnTo>
                    <a:lnTo>
                      <a:pt x="77" y="1146"/>
                    </a:lnTo>
                    <a:lnTo>
                      <a:pt x="70" y="1172"/>
                    </a:lnTo>
                    <a:lnTo>
                      <a:pt x="61" y="1183"/>
                    </a:lnTo>
                    <a:lnTo>
                      <a:pt x="61" y="1223"/>
                    </a:lnTo>
                    <a:lnTo>
                      <a:pt x="49" y="1234"/>
                    </a:lnTo>
                    <a:lnTo>
                      <a:pt x="26" y="1234"/>
                    </a:lnTo>
                    <a:lnTo>
                      <a:pt x="11" y="1250"/>
                    </a:lnTo>
                    <a:lnTo>
                      <a:pt x="8" y="1298"/>
                    </a:lnTo>
                    <a:lnTo>
                      <a:pt x="2" y="1302"/>
                    </a:lnTo>
                    <a:lnTo>
                      <a:pt x="3" y="1318"/>
                    </a:lnTo>
                    <a:lnTo>
                      <a:pt x="31" y="1360"/>
                    </a:lnTo>
                    <a:lnTo>
                      <a:pt x="30" y="1383"/>
                    </a:lnTo>
                    <a:lnTo>
                      <a:pt x="2" y="1424"/>
                    </a:lnTo>
                    <a:lnTo>
                      <a:pt x="0" y="1464"/>
                    </a:lnTo>
                    <a:lnTo>
                      <a:pt x="191" y="1621"/>
                    </a:lnTo>
                    <a:lnTo>
                      <a:pt x="222" y="1693"/>
                    </a:lnTo>
                    <a:lnTo>
                      <a:pt x="251" y="1716"/>
                    </a:lnTo>
                    <a:lnTo>
                      <a:pt x="281" y="1631"/>
                    </a:lnTo>
                    <a:lnTo>
                      <a:pt x="272" y="1573"/>
                    </a:lnTo>
                    <a:lnTo>
                      <a:pt x="295" y="1496"/>
                    </a:lnTo>
                    <a:lnTo>
                      <a:pt x="335" y="1464"/>
                    </a:lnTo>
                    <a:lnTo>
                      <a:pt x="369" y="1413"/>
                    </a:lnTo>
                    <a:lnTo>
                      <a:pt x="409" y="1453"/>
                    </a:lnTo>
                    <a:lnTo>
                      <a:pt x="485" y="1461"/>
                    </a:lnTo>
                    <a:lnTo>
                      <a:pt x="518" y="1522"/>
                    </a:lnTo>
                    <a:lnTo>
                      <a:pt x="572" y="1544"/>
                    </a:lnTo>
                    <a:lnTo>
                      <a:pt x="635" y="1628"/>
                    </a:lnTo>
                    <a:lnTo>
                      <a:pt x="646" y="1637"/>
                    </a:lnTo>
                    <a:lnTo>
                      <a:pt x="667" y="1638"/>
                    </a:lnTo>
                    <a:lnTo>
                      <a:pt x="687" y="1623"/>
                    </a:lnTo>
                    <a:lnTo>
                      <a:pt x="692" y="1576"/>
                    </a:lnTo>
                    <a:lnTo>
                      <a:pt x="781" y="1547"/>
                    </a:lnTo>
                    <a:lnTo>
                      <a:pt x="799" y="1550"/>
                    </a:lnTo>
                    <a:lnTo>
                      <a:pt x="832" y="1587"/>
                    </a:lnTo>
                    <a:lnTo>
                      <a:pt x="846" y="1585"/>
                    </a:lnTo>
                    <a:lnTo>
                      <a:pt x="847" y="1563"/>
                    </a:lnTo>
                    <a:lnTo>
                      <a:pt x="888" y="1537"/>
                    </a:lnTo>
                    <a:lnTo>
                      <a:pt x="973" y="1552"/>
                    </a:lnTo>
                    <a:lnTo>
                      <a:pt x="992" y="1529"/>
                    </a:lnTo>
                    <a:lnTo>
                      <a:pt x="1072" y="1542"/>
                    </a:lnTo>
                    <a:lnTo>
                      <a:pt x="1127" y="1533"/>
                    </a:lnTo>
                    <a:lnTo>
                      <a:pt x="1161" y="1547"/>
                    </a:lnTo>
                    <a:lnTo>
                      <a:pt x="1158" y="1419"/>
                    </a:lnTo>
                    <a:lnTo>
                      <a:pt x="1218" y="1282"/>
                    </a:lnTo>
                    <a:lnTo>
                      <a:pt x="1276" y="1220"/>
                    </a:lnTo>
                    <a:lnTo>
                      <a:pt x="1146" y="1059"/>
                    </a:lnTo>
                    <a:lnTo>
                      <a:pt x="1144" y="839"/>
                    </a:lnTo>
                    <a:lnTo>
                      <a:pt x="1229" y="796"/>
                    </a:lnTo>
                    <a:lnTo>
                      <a:pt x="1180" y="785"/>
                    </a:lnTo>
                    <a:lnTo>
                      <a:pt x="1136" y="702"/>
                    </a:lnTo>
                    <a:lnTo>
                      <a:pt x="1187" y="645"/>
                    </a:lnTo>
                    <a:lnTo>
                      <a:pt x="1148" y="589"/>
                    </a:lnTo>
                    <a:lnTo>
                      <a:pt x="1090" y="638"/>
                    </a:lnTo>
                    <a:lnTo>
                      <a:pt x="943" y="589"/>
                    </a:lnTo>
                    <a:lnTo>
                      <a:pt x="864" y="529"/>
                    </a:lnTo>
                    <a:lnTo>
                      <a:pt x="843" y="404"/>
                    </a:lnTo>
                    <a:lnTo>
                      <a:pt x="803" y="377"/>
                    </a:lnTo>
                    <a:lnTo>
                      <a:pt x="747" y="366"/>
                    </a:lnTo>
                    <a:lnTo>
                      <a:pt x="701" y="299"/>
                    </a:lnTo>
                    <a:lnTo>
                      <a:pt x="648" y="148"/>
                    </a:lnTo>
                    <a:lnTo>
                      <a:pt x="595" y="86"/>
                    </a:lnTo>
                    <a:lnTo>
                      <a:pt x="498" y="35"/>
                    </a:lnTo>
                    <a:lnTo>
                      <a:pt x="474" y="0"/>
                    </a:lnTo>
                    <a:lnTo>
                      <a:pt x="413" y="20"/>
                    </a:lnTo>
                    <a:lnTo>
                      <a:pt x="353" y="24"/>
                    </a:lnTo>
                    <a:lnTo>
                      <a:pt x="273" y="75"/>
                    </a:lnTo>
                    <a:lnTo>
                      <a:pt x="201" y="77"/>
                    </a:lnTo>
                    <a:lnTo>
                      <a:pt x="168" y="104"/>
                    </a:lnTo>
                    <a:lnTo>
                      <a:pt x="98" y="110"/>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74" name="Freeform 163"/>
              <p:cNvSpPr>
                <a:spLocks/>
              </p:cNvSpPr>
              <p:nvPr/>
            </p:nvSpPr>
            <p:spPr bwMode="auto">
              <a:xfrm>
                <a:off x="10169280" y="3020973"/>
                <a:ext cx="333964" cy="450369"/>
              </a:xfrm>
              <a:custGeom>
                <a:avLst/>
                <a:gdLst>
                  <a:gd name="T0" fmla="*/ 0 w 1276"/>
                  <a:gd name="T1" fmla="*/ 0 h 1716"/>
                  <a:gd name="T2" fmla="*/ 0 w 1276"/>
                  <a:gd name="T3" fmla="*/ 0 h 1716"/>
                  <a:gd name="T4" fmla="*/ 0 w 1276"/>
                  <a:gd name="T5" fmla="*/ 0 h 1716"/>
                  <a:gd name="T6" fmla="*/ 0 w 1276"/>
                  <a:gd name="T7" fmla="*/ 0 h 1716"/>
                  <a:gd name="T8" fmla="*/ 0 w 1276"/>
                  <a:gd name="T9" fmla="*/ 0 h 1716"/>
                  <a:gd name="T10" fmla="*/ 0 w 1276"/>
                  <a:gd name="T11" fmla="*/ 0 h 1716"/>
                  <a:gd name="T12" fmla="*/ 0 w 1276"/>
                  <a:gd name="T13" fmla="*/ 0 h 1716"/>
                  <a:gd name="T14" fmla="*/ 0 w 1276"/>
                  <a:gd name="T15" fmla="*/ 0 h 1716"/>
                  <a:gd name="T16" fmla="*/ 0 w 1276"/>
                  <a:gd name="T17" fmla="*/ 0 h 1716"/>
                  <a:gd name="T18" fmla="*/ 0 w 1276"/>
                  <a:gd name="T19" fmla="*/ 0 h 1716"/>
                  <a:gd name="T20" fmla="*/ 0 w 1276"/>
                  <a:gd name="T21" fmla="*/ 0 h 1716"/>
                  <a:gd name="T22" fmla="*/ 0 w 1276"/>
                  <a:gd name="T23" fmla="*/ 0 h 1716"/>
                  <a:gd name="T24" fmla="*/ 0 w 1276"/>
                  <a:gd name="T25" fmla="*/ 0 h 1716"/>
                  <a:gd name="T26" fmla="*/ 0 w 1276"/>
                  <a:gd name="T27" fmla="*/ 0 h 1716"/>
                  <a:gd name="T28" fmla="*/ 0 w 1276"/>
                  <a:gd name="T29" fmla="*/ 0 h 1716"/>
                  <a:gd name="T30" fmla="*/ 0 w 1276"/>
                  <a:gd name="T31" fmla="*/ 0 h 1716"/>
                  <a:gd name="T32" fmla="*/ 0 w 1276"/>
                  <a:gd name="T33" fmla="*/ 0 h 1716"/>
                  <a:gd name="T34" fmla="*/ 0 w 1276"/>
                  <a:gd name="T35" fmla="*/ 0 h 1716"/>
                  <a:gd name="T36" fmla="*/ 0 w 1276"/>
                  <a:gd name="T37" fmla="*/ 0 h 1716"/>
                  <a:gd name="T38" fmla="*/ 0 w 1276"/>
                  <a:gd name="T39" fmla="*/ 0 h 1716"/>
                  <a:gd name="T40" fmla="*/ 0 w 1276"/>
                  <a:gd name="T41" fmla="*/ 0 h 1716"/>
                  <a:gd name="T42" fmla="*/ 0 w 1276"/>
                  <a:gd name="T43" fmla="*/ 0 h 1716"/>
                  <a:gd name="T44" fmla="*/ 0 w 1276"/>
                  <a:gd name="T45" fmla="*/ 0 h 1716"/>
                  <a:gd name="T46" fmla="*/ 0 w 1276"/>
                  <a:gd name="T47" fmla="*/ 0 h 1716"/>
                  <a:gd name="T48" fmla="*/ 0 w 1276"/>
                  <a:gd name="T49" fmla="*/ 0 h 1716"/>
                  <a:gd name="T50" fmla="*/ 0 w 1276"/>
                  <a:gd name="T51" fmla="*/ 0 h 1716"/>
                  <a:gd name="T52" fmla="*/ 0 w 1276"/>
                  <a:gd name="T53" fmla="*/ 0 h 1716"/>
                  <a:gd name="T54" fmla="*/ 0 w 1276"/>
                  <a:gd name="T55" fmla="*/ 0 h 1716"/>
                  <a:gd name="T56" fmla="*/ 0 w 1276"/>
                  <a:gd name="T57" fmla="*/ 0 h 1716"/>
                  <a:gd name="T58" fmla="*/ 0 w 1276"/>
                  <a:gd name="T59" fmla="*/ 0 h 1716"/>
                  <a:gd name="T60" fmla="*/ 0 w 1276"/>
                  <a:gd name="T61" fmla="*/ 0 h 1716"/>
                  <a:gd name="T62" fmla="*/ 0 w 1276"/>
                  <a:gd name="T63" fmla="*/ 0 h 1716"/>
                  <a:gd name="T64" fmla="*/ 0 w 1276"/>
                  <a:gd name="T65" fmla="*/ 0 h 1716"/>
                  <a:gd name="T66" fmla="*/ 0 w 1276"/>
                  <a:gd name="T67" fmla="*/ 0 h 1716"/>
                  <a:gd name="T68" fmla="*/ 0 w 1276"/>
                  <a:gd name="T69" fmla="*/ 0 h 1716"/>
                  <a:gd name="T70" fmla="*/ 0 w 1276"/>
                  <a:gd name="T71" fmla="*/ 0 h 1716"/>
                  <a:gd name="T72" fmla="*/ 0 w 1276"/>
                  <a:gd name="T73" fmla="*/ 0 h 1716"/>
                  <a:gd name="T74" fmla="*/ 0 w 1276"/>
                  <a:gd name="T75" fmla="*/ 0 h 1716"/>
                  <a:gd name="T76" fmla="*/ 0 w 1276"/>
                  <a:gd name="T77" fmla="*/ 0 h 1716"/>
                  <a:gd name="T78" fmla="*/ 0 w 1276"/>
                  <a:gd name="T79" fmla="*/ 0 h 1716"/>
                  <a:gd name="T80" fmla="*/ 0 w 1276"/>
                  <a:gd name="T81" fmla="*/ 0 h 1716"/>
                  <a:gd name="T82" fmla="*/ 0 w 1276"/>
                  <a:gd name="T83" fmla="*/ 0 h 1716"/>
                  <a:gd name="T84" fmla="*/ 0 w 1276"/>
                  <a:gd name="T85" fmla="*/ 0 h 1716"/>
                  <a:gd name="T86" fmla="*/ 0 w 1276"/>
                  <a:gd name="T87" fmla="*/ 0 h 1716"/>
                  <a:gd name="T88" fmla="*/ 0 w 1276"/>
                  <a:gd name="T89" fmla="*/ 0 h 1716"/>
                  <a:gd name="T90" fmla="*/ 0 w 1276"/>
                  <a:gd name="T91" fmla="*/ 0 h 1716"/>
                  <a:gd name="T92" fmla="*/ 0 w 1276"/>
                  <a:gd name="T93" fmla="*/ 0 h 1716"/>
                  <a:gd name="T94" fmla="*/ 0 w 1276"/>
                  <a:gd name="T95" fmla="*/ 0 h 1716"/>
                  <a:gd name="T96" fmla="*/ 0 w 1276"/>
                  <a:gd name="T97" fmla="*/ 0 h 1716"/>
                  <a:gd name="T98" fmla="*/ 0 w 1276"/>
                  <a:gd name="T99" fmla="*/ 0 h 1716"/>
                  <a:gd name="T100" fmla="*/ 0 w 1276"/>
                  <a:gd name="T101" fmla="*/ 0 h 1716"/>
                  <a:gd name="T102" fmla="*/ 0 w 1276"/>
                  <a:gd name="T103" fmla="*/ 0 h 17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76"/>
                  <a:gd name="T157" fmla="*/ 0 h 1716"/>
                  <a:gd name="T158" fmla="*/ 1276 w 1276"/>
                  <a:gd name="T159" fmla="*/ 1716 h 17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76" h="1716">
                    <a:moveTo>
                      <a:pt x="98" y="110"/>
                    </a:moveTo>
                    <a:lnTo>
                      <a:pt x="136" y="147"/>
                    </a:lnTo>
                    <a:lnTo>
                      <a:pt x="139" y="164"/>
                    </a:lnTo>
                    <a:lnTo>
                      <a:pt x="131" y="176"/>
                    </a:lnTo>
                    <a:lnTo>
                      <a:pt x="143" y="187"/>
                    </a:lnTo>
                    <a:lnTo>
                      <a:pt x="145" y="204"/>
                    </a:lnTo>
                    <a:lnTo>
                      <a:pt x="129" y="223"/>
                    </a:lnTo>
                    <a:lnTo>
                      <a:pt x="132" y="236"/>
                    </a:lnTo>
                    <a:lnTo>
                      <a:pt x="148" y="245"/>
                    </a:lnTo>
                    <a:lnTo>
                      <a:pt x="160" y="234"/>
                    </a:lnTo>
                    <a:lnTo>
                      <a:pt x="169" y="234"/>
                    </a:lnTo>
                    <a:lnTo>
                      <a:pt x="184" y="246"/>
                    </a:lnTo>
                    <a:lnTo>
                      <a:pt x="184" y="253"/>
                    </a:lnTo>
                    <a:lnTo>
                      <a:pt x="175" y="261"/>
                    </a:lnTo>
                    <a:lnTo>
                      <a:pt x="164" y="261"/>
                    </a:lnTo>
                    <a:lnTo>
                      <a:pt x="161" y="274"/>
                    </a:lnTo>
                    <a:lnTo>
                      <a:pt x="167" y="285"/>
                    </a:lnTo>
                    <a:lnTo>
                      <a:pt x="160" y="308"/>
                    </a:lnTo>
                    <a:lnTo>
                      <a:pt x="167" y="317"/>
                    </a:lnTo>
                    <a:lnTo>
                      <a:pt x="186" y="317"/>
                    </a:lnTo>
                    <a:lnTo>
                      <a:pt x="209" y="340"/>
                    </a:lnTo>
                    <a:lnTo>
                      <a:pt x="233" y="339"/>
                    </a:lnTo>
                    <a:lnTo>
                      <a:pt x="251" y="348"/>
                    </a:lnTo>
                    <a:lnTo>
                      <a:pt x="272" y="347"/>
                    </a:lnTo>
                    <a:lnTo>
                      <a:pt x="284" y="353"/>
                    </a:lnTo>
                    <a:lnTo>
                      <a:pt x="286" y="363"/>
                    </a:lnTo>
                    <a:lnTo>
                      <a:pt x="267" y="374"/>
                    </a:lnTo>
                    <a:lnTo>
                      <a:pt x="229" y="365"/>
                    </a:lnTo>
                    <a:lnTo>
                      <a:pt x="218" y="367"/>
                    </a:lnTo>
                    <a:lnTo>
                      <a:pt x="212" y="391"/>
                    </a:lnTo>
                    <a:lnTo>
                      <a:pt x="199" y="406"/>
                    </a:lnTo>
                    <a:lnTo>
                      <a:pt x="206" y="454"/>
                    </a:lnTo>
                    <a:lnTo>
                      <a:pt x="216" y="462"/>
                    </a:lnTo>
                    <a:lnTo>
                      <a:pt x="211" y="485"/>
                    </a:lnTo>
                    <a:lnTo>
                      <a:pt x="271" y="491"/>
                    </a:lnTo>
                    <a:lnTo>
                      <a:pt x="284" y="506"/>
                    </a:lnTo>
                    <a:lnTo>
                      <a:pt x="274" y="523"/>
                    </a:lnTo>
                    <a:lnTo>
                      <a:pt x="274" y="545"/>
                    </a:lnTo>
                    <a:lnTo>
                      <a:pt x="224" y="637"/>
                    </a:lnTo>
                    <a:lnTo>
                      <a:pt x="213" y="644"/>
                    </a:lnTo>
                    <a:lnTo>
                      <a:pt x="213" y="659"/>
                    </a:lnTo>
                    <a:lnTo>
                      <a:pt x="220" y="669"/>
                    </a:lnTo>
                    <a:lnTo>
                      <a:pt x="202" y="696"/>
                    </a:lnTo>
                    <a:lnTo>
                      <a:pt x="213" y="730"/>
                    </a:lnTo>
                    <a:lnTo>
                      <a:pt x="230" y="734"/>
                    </a:lnTo>
                    <a:lnTo>
                      <a:pt x="243" y="744"/>
                    </a:lnTo>
                    <a:lnTo>
                      <a:pt x="263" y="739"/>
                    </a:lnTo>
                    <a:lnTo>
                      <a:pt x="271" y="754"/>
                    </a:lnTo>
                    <a:lnTo>
                      <a:pt x="275" y="771"/>
                    </a:lnTo>
                    <a:lnTo>
                      <a:pt x="296" y="793"/>
                    </a:lnTo>
                    <a:lnTo>
                      <a:pt x="310" y="791"/>
                    </a:lnTo>
                    <a:lnTo>
                      <a:pt x="316" y="797"/>
                    </a:lnTo>
                    <a:lnTo>
                      <a:pt x="315" y="810"/>
                    </a:lnTo>
                    <a:lnTo>
                      <a:pt x="336" y="824"/>
                    </a:lnTo>
                    <a:lnTo>
                      <a:pt x="349" y="826"/>
                    </a:lnTo>
                    <a:lnTo>
                      <a:pt x="351" y="843"/>
                    </a:lnTo>
                    <a:lnTo>
                      <a:pt x="329" y="865"/>
                    </a:lnTo>
                    <a:lnTo>
                      <a:pt x="288" y="866"/>
                    </a:lnTo>
                    <a:lnTo>
                      <a:pt x="263" y="850"/>
                    </a:lnTo>
                    <a:lnTo>
                      <a:pt x="249" y="850"/>
                    </a:lnTo>
                    <a:lnTo>
                      <a:pt x="243" y="857"/>
                    </a:lnTo>
                    <a:lnTo>
                      <a:pt x="313" y="950"/>
                    </a:lnTo>
                    <a:lnTo>
                      <a:pt x="323" y="956"/>
                    </a:lnTo>
                    <a:lnTo>
                      <a:pt x="320" y="995"/>
                    </a:lnTo>
                    <a:lnTo>
                      <a:pt x="314" y="1010"/>
                    </a:lnTo>
                    <a:lnTo>
                      <a:pt x="298" y="1017"/>
                    </a:lnTo>
                    <a:lnTo>
                      <a:pt x="286" y="1005"/>
                    </a:lnTo>
                    <a:lnTo>
                      <a:pt x="273" y="1004"/>
                    </a:lnTo>
                    <a:lnTo>
                      <a:pt x="259" y="1025"/>
                    </a:lnTo>
                    <a:lnTo>
                      <a:pt x="236" y="1037"/>
                    </a:lnTo>
                    <a:lnTo>
                      <a:pt x="215" y="1037"/>
                    </a:lnTo>
                    <a:lnTo>
                      <a:pt x="204" y="1045"/>
                    </a:lnTo>
                    <a:lnTo>
                      <a:pt x="191" y="1044"/>
                    </a:lnTo>
                    <a:lnTo>
                      <a:pt x="185" y="1030"/>
                    </a:lnTo>
                    <a:lnTo>
                      <a:pt x="167" y="1031"/>
                    </a:lnTo>
                    <a:lnTo>
                      <a:pt x="151" y="1048"/>
                    </a:lnTo>
                    <a:lnTo>
                      <a:pt x="158" y="1063"/>
                    </a:lnTo>
                    <a:lnTo>
                      <a:pt x="176" y="1072"/>
                    </a:lnTo>
                    <a:lnTo>
                      <a:pt x="180" y="1098"/>
                    </a:lnTo>
                    <a:lnTo>
                      <a:pt x="191" y="1113"/>
                    </a:lnTo>
                    <a:lnTo>
                      <a:pt x="191" y="1143"/>
                    </a:lnTo>
                    <a:lnTo>
                      <a:pt x="184" y="1154"/>
                    </a:lnTo>
                    <a:lnTo>
                      <a:pt x="170" y="1152"/>
                    </a:lnTo>
                    <a:lnTo>
                      <a:pt x="162" y="1143"/>
                    </a:lnTo>
                    <a:lnTo>
                      <a:pt x="155" y="1114"/>
                    </a:lnTo>
                    <a:lnTo>
                      <a:pt x="146" y="1106"/>
                    </a:lnTo>
                    <a:lnTo>
                      <a:pt x="122" y="1106"/>
                    </a:lnTo>
                    <a:lnTo>
                      <a:pt x="77" y="1146"/>
                    </a:lnTo>
                    <a:lnTo>
                      <a:pt x="70" y="1172"/>
                    </a:lnTo>
                    <a:lnTo>
                      <a:pt x="61" y="1183"/>
                    </a:lnTo>
                    <a:lnTo>
                      <a:pt x="61" y="1223"/>
                    </a:lnTo>
                    <a:lnTo>
                      <a:pt x="49" y="1234"/>
                    </a:lnTo>
                    <a:lnTo>
                      <a:pt x="26" y="1234"/>
                    </a:lnTo>
                    <a:lnTo>
                      <a:pt x="11" y="1250"/>
                    </a:lnTo>
                    <a:lnTo>
                      <a:pt x="8" y="1298"/>
                    </a:lnTo>
                    <a:lnTo>
                      <a:pt x="2" y="1302"/>
                    </a:lnTo>
                    <a:lnTo>
                      <a:pt x="3" y="1318"/>
                    </a:lnTo>
                    <a:lnTo>
                      <a:pt x="31" y="1360"/>
                    </a:lnTo>
                    <a:lnTo>
                      <a:pt x="30" y="1383"/>
                    </a:lnTo>
                    <a:lnTo>
                      <a:pt x="2" y="1424"/>
                    </a:lnTo>
                    <a:lnTo>
                      <a:pt x="0" y="1464"/>
                    </a:lnTo>
                    <a:lnTo>
                      <a:pt x="191" y="1621"/>
                    </a:lnTo>
                    <a:lnTo>
                      <a:pt x="222" y="1693"/>
                    </a:lnTo>
                    <a:lnTo>
                      <a:pt x="251" y="1716"/>
                    </a:lnTo>
                    <a:lnTo>
                      <a:pt x="281" y="1631"/>
                    </a:lnTo>
                    <a:lnTo>
                      <a:pt x="272" y="1573"/>
                    </a:lnTo>
                    <a:lnTo>
                      <a:pt x="295" y="1496"/>
                    </a:lnTo>
                    <a:lnTo>
                      <a:pt x="335" y="1464"/>
                    </a:lnTo>
                    <a:lnTo>
                      <a:pt x="369" y="1413"/>
                    </a:lnTo>
                    <a:lnTo>
                      <a:pt x="409" y="1453"/>
                    </a:lnTo>
                    <a:lnTo>
                      <a:pt x="485" y="1461"/>
                    </a:lnTo>
                    <a:lnTo>
                      <a:pt x="518" y="1522"/>
                    </a:lnTo>
                    <a:lnTo>
                      <a:pt x="572" y="1544"/>
                    </a:lnTo>
                    <a:lnTo>
                      <a:pt x="635" y="1628"/>
                    </a:lnTo>
                    <a:lnTo>
                      <a:pt x="646" y="1637"/>
                    </a:lnTo>
                    <a:lnTo>
                      <a:pt x="667" y="1638"/>
                    </a:lnTo>
                    <a:lnTo>
                      <a:pt x="687" y="1623"/>
                    </a:lnTo>
                    <a:lnTo>
                      <a:pt x="692" y="1576"/>
                    </a:lnTo>
                    <a:lnTo>
                      <a:pt x="781" y="1547"/>
                    </a:lnTo>
                    <a:lnTo>
                      <a:pt x="799" y="1550"/>
                    </a:lnTo>
                    <a:lnTo>
                      <a:pt x="832" y="1587"/>
                    </a:lnTo>
                    <a:lnTo>
                      <a:pt x="846" y="1585"/>
                    </a:lnTo>
                    <a:lnTo>
                      <a:pt x="847" y="1563"/>
                    </a:lnTo>
                    <a:lnTo>
                      <a:pt x="888" y="1537"/>
                    </a:lnTo>
                    <a:lnTo>
                      <a:pt x="973" y="1552"/>
                    </a:lnTo>
                    <a:lnTo>
                      <a:pt x="992" y="1529"/>
                    </a:lnTo>
                    <a:lnTo>
                      <a:pt x="1072" y="1542"/>
                    </a:lnTo>
                    <a:lnTo>
                      <a:pt x="1127" y="1533"/>
                    </a:lnTo>
                    <a:lnTo>
                      <a:pt x="1161" y="1547"/>
                    </a:lnTo>
                    <a:lnTo>
                      <a:pt x="1158" y="1419"/>
                    </a:lnTo>
                    <a:lnTo>
                      <a:pt x="1218" y="1282"/>
                    </a:lnTo>
                    <a:lnTo>
                      <a:pt x="1276" y="1220"/>
                    </a:lnTo>
                    <a:lnTo>
                      <a:pt x="1146" y="1059"/>
                    </a:lnTo>
                    <a:lnTo>
                      <a:pt x="1144" y="839"/>
                    </a:lnTo>
                    <a:lnTo>
                      <a:pt x="1229" y="796"/>
                    </a:lnTo>
                    <a:lnTo>
                      <a:pt x="1180" y="785"/>
                    </a:lnTo>
                    <a:lnTo>
                      <a:pt x="1136" y="702"/>
                    </a:lnTo>
                    <a:lnTo>
                      <a:pt x="1187" y="645"/>
                    </a:lnTo>
                    <a:lnTo>
                      <a:pt x="1148" y="589"/>
                    </a:lnTo>
                    <a:lnTo>
                      <a:pt x="1090" y="638"/>
                    </a:lnTo>
                    <a:lnTo>
                      <a:pt x="943" y="589"/>
                    </a:lnTo>
                    <a:lnTo>
                      <a:pt x="864" y="529"/>
                    </a:lnTo>
                    <a:lnTo>
                      <a:pt x="843" y="404"/>
                    </a:lnTo>
                    <a:lnTo>
                      <a:pt x="803" y="377"/>
                    </a:lnTo>
                    <a:lnTo>
                      <a:pt x="747" y="366"/>
                    </a:lnTo>
                    <a:lnTo>
                      <a:pt x="701" y="299"/>
                    </a:lnTo>
                    <a:lnTo>
                      <a:pt x="648" y="148"/>
                    </a:lnTo>
                    <a:lnTo>
                      <a:pt x="595" y="86"/>
                    </a:lnTo>
                    <a:lnTo>
                      <a:pt x="498" y="35"/>
                    </a:lnTo>
                    <a:lnTo>
                      <a:pt x="474" y="0"/>
                    </a:lnTo>
                    <a:lnTo>
                      <a:pt x="413" y="20"/>
                    </a:lnTo>
                    <a:lnTo>
                      <a:pt x="353" y="24"/>
                    </a:lnTo>
                    <a:lnTo>
                      <a:pt x="273" y="75"/>
                    </a:lnTo>
                    <a:lnTo>
                      <a:pt x="201" y="77"/>
                    </a:lnTo>
                    <a:lnTo>
                      <a:pt x="168" y="104"/>
                    </a:lnTo>
                    <a:lnTo>
                      <a:pt x="98" y="110"/>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grpSp>
          <p:nvGrpSpPr>
            <p:cNvPr id="346" name="Group 555"/>
            <p:cNvGrpSpPr/>
            <p:nvPr/>
          </p:nvGrpSpPr>
          <p:grpSpPr>
            <a:xfrm>
              <a:off x="7879224" y="5604580"/>
              <a:ext cx="615049" cy="367067"/>
              <a:chOff x="10591487" y="3946128"/>
              <a:chExt cx="397770" cy="237393"/>
            </a:xfrm>
            <a:noFill/>
          </p:grpSpPr>
          <p:sp>
            <p:nvSpPr>
              <p:cNvPr id="565" name="Freeform 186"/>
              <p:cNvSpPr>
                <a:spLocks/>
              </p:cNvSpPr>
              <p:nvPr/>
            </p:nvSpPr>
            <p:spPr bwMode="auto">
              <a:xfrm>
                <a:off x="10947172" y="3997676"/>
                <a:ext cx="42085" cy="59687"/>
              </a:xfrm>
              <a:custGeom>
                <a:avLst/>
                <a:gdLst>
                  <a:gd name="T0" fmla="*/ 0 w 163"/>
                  <a:gd name="T1" fmla="*/ 0 h 225"/>
                  <a:gd name="T2" fmla="*/ 0 w 163"/>
                  <a:gd name="T3" fmla="*/ 0 h 225"/>
                  <a:gd name="T4" fmla="*/ 0 w 163"/>
                  <a:gd name="T5" fmla="*/ 0 h 225"/>
                  <a:gd name="T6" fmla="*/ 0 w 163"/>
                  <a:gd name="T7" fmla="*/ 0 h 225"/>
                  <a:gd name="T8" fmla="*/ 0 w 163"/>
                  <a:gd name="T9" fmla="*/ 0 h 225"/>
                  <a:gd name="T10" fmla="*/ 0 w 163"/>
                  <a:gd name="T11" fmla="*/ 0 h 225"/>
                  <a:gd name="T12" fmla="*/ 0 w 163"/>
                  <a:gd name="T13" fmla="*/ 0 h 225"/>
                  <a:gd name="T14" fmla="*/ 0 w 163"/>
                  <a:gd name="T15" fmla="*/ 0 h 225"/>
                  <a:gd name="T16" fmla="*/ 0 w 163"/>
                  <a:gd name="T17" fmla="*/ 0 h 225"/>
                  <a:gd name="T18" fmla="*/ 0 w 163"/>
                  <a:gd name="T19" fmla="*/ 0 h 2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3"/>
                  <a:gd name="T31" fmla="*/ 0 h 225"/>
                  <a:gd name="T32" fmla="*/ 163 w 163"/>
                  <a:gd name="T33" fmla="*/ 225 h 2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3" h="225">
                    <a:moveTo>
                      <a:pt x="107" y="159"/>
                    </a:moveTo>
                    <a:lnTo>
                      <a:pt x="131" y="145"/>
                    </a:lnTo>
                    <a:lnTo>
                      <a:pt x="135" y="113"/>
                    </a:lnTo>
                    <a:lnTo>
                      <a:pt x="155" y="69"/>
                    </a:lnTo>
                    <a:lnTo>
                      <a:pt x="163" y="0"/>
                    </a:lnTo>
                    <a:lnTo>
                      <a:pt x="82" y="45"/>
                    </a:lnTo>
                    <a:lnTo>
                      <a:pt x="3" y="127"/>
                    </a:lnTo>
                    <a:lnTo>
                      <a:pt x="0" y="158"/>
                    </a:lnTo>
                    <a:lnTo>
                      <a:pt x="9" y="225"/>
                    </a:lnTo>
                    <a:lnTo>
                      <a:pt x="107" y="159"/>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66" name="Freeform 187"/>
              <p:cNvSpPr>
                <a:spLocks/>
              </p:cNvSpPr>
              <p:nvPr/>
            </p:nvSpPr>
            <p:spPr bwMode="auto">
              <a:xfrm>
                <a:off x="10947172" y="3997676"/>
                <a:ext cx="42085" cy="59687"/>
              </a:xfrm>
              <a:custGeom>
                <a:avLst/>
                <a:gdLst>
                  <a:gd name="T0" fmla="*/ 0 w 163"/>
                  <a:gd name="T1" fmla="*/ 0 h 225"/>
                  <a:gd name="T2" fmla="*/ 0 w 163"/>
                  <a:gd name="T3" fmla="*/ 0 h 225"/>
                  <a:gd name="T4" fmla="*/ 0 w 163"/>
                  <a:gd name="T5" fmla="*/ 0 h 225"/>
                  <a:gd name="T6" fmla="*/ 0 w 163"/>
                  <a:gd name="T7" fmla="*/ 0 h 225"/>
                  <a:gd name="T8" fmla="*/ 0 w 163"/>
                  <a:gd name="T9" fmla="*/ 0 h 225"/>
                  <a:gd name="T10" fmla="*/ 0 w 163"/>
                  <a:gd name="T11" fmla="*/ 0 h 225"/>
                  <a:gd name="T12" fmla="*/ 0 w 163"/>
                  <a:gd name="T13" fmla="*/ 0 h 225"/>
                  <a:gd name="T14" fmla="*/ 0 w 163"/>
                  <a:gd name="T15" fmla="*/ 0 h 225"/>
                  <a:gd name="T16" fmla="*/ 0 w 163"/>
                  <a:gd name="T17" fmla="*/ 0 h 225"/>
                  <a:gd name="T18" fmla="*/ 0 w 163"/>
                  <a:gd name="T19" fmla="*/ 0 h 2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3"/>
                  <a:gd name="T31" fmla="*/ 0 h 225"/>
                  <a:gd name="T32" fmla="*/ 163 w 163"/>
                  <a:gd name="T33" fmla="*/ 225 h 2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3" h="225">
                    <a:moveTo>
                      <a:pt x="107" y="159"/>
                    </a:moveTo>
                    <a:lnTo>
                      <a:pt x="131" y="145"/>
                    </a:lnTo>
                    <a:lnTo>
                      <a:pt x="135" y="113"/>
                    </a:lnTo>
                    <a:lnTo>
                      <a:pt x="155" y="69"/>
                    </a:lnTo>
                    <a:lnTo>
                      <a:pt x="163" y="0"/>
                    </a:lnTo>
                    <a:lnTo>
                      <a:pt x="82" y="45"/>
                    </a:lnTo>
                    <a:lnTo>
                      <a:pt x="3" y="127"/>
                    </a:lnTo>
                    <a:lnTo>
                      <a:pt x="0" y="158"/>
                    </a:lnTo>
                    <a:lnTo>
                      <a:pt x="9" y="225"/>
                    </a:lnTo>
                    <a:lnTo>
                      <a:pt x="107" y="159"/>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67" name="Freeform 188"/>
              <p:cNvSpPr>
                <a:spLocks/>
              </p:cNvSpPr>
              <p:nvPr/>
            </p:nvSpPr>
            <p:spPr bwMode="auto">
              <a:xfrm>
                <a:off x="10591487" y="4114338"/>
                <a:ext cx="240291" cy="69183"/>
              </a:xfrm>
              <a:custGeom>
                <a:avLst/>
                <a:gdLst>
                  <a:gd name="T0" fmla="*/ 0 w 906"/>
                  <a:gd name="T1" fmla="*/ 0 h 265"/>
                  <a:gd name="T2" fmla="*/ 0 w 906"/>
                  <a:gd name="T3" fmla="*/ 0 h 265"/>
                  <a:gd name="T4" fmla="*/ 0 w 906"/>
                  <a:gd name="T5" fmla="*/ 0 h 265"/>
                  <a:gd name="T6" fmla="*/ 0 w 906"/>
                  <a:gd name="T7" fmla="*/ 0 h 265"/>
                  <a:gd name="T8" fmla="*/ 0 w 906"/>
                  <a:gd name="T9" fmla="*/ 0 h 265"/>
                  <a:gd name="T10" fmla="*/ 0 w 906"/>
                  <a:gd name="T11" fmla="*/ 0 h 265"/>
                  <a:gd name="T12" fmla="*/ 0 w 906"/>
                  <a:gd name="T13" fmla="*/ 0 h 265"/>
                  <a:gd name="T14" fmla="*/ 0 w 906"/>
                  <a:gd name="T15" fmla="*/ 0 h 265"/>
                  <a:gd name="T16" fmla="*/ 0 w 906"/>
                  <a:gd name="T17" fmla="*/ 0 h 265"/>
                  <a:gd name="T18" fmla="*/ 0 w 906"/>
                  <a:gd name="T19" fmla="*/ 0 h 265"/>
                  <a:gd name="T20" fmla="*/ 0 w 906"/>
                  <a:gd name="T21" fmla="*/ 0 h 265"/>
                  <a:gd name="T22" fmla="*/ 0 w 906"/>
                  <a:gd name="T23" fmla="*/ 0 h 265"/>
                  <a:gd name="T24" fmla="*/ 0 w 906"/>
                  <a:gd name="T25" fmla="*/ 0 h 265"/>
                  <a:gd name="T26" fmla="*/ 0 w 906"/>
                  <a:gd name="T27" fmla="*/ 0 h 265"/>
                  <a:gd name="T28" fmla="*/ 0 w 906"/>
                  <a:gd name="T29" fmla="*/ 0 h 265"/>
                  <a:gd name="T30" fmla="*/ 0 w 906"/>
                  <a:gd name="T31" fmla="*/ 0 h 265"/>
                  <a:gd name="T32" fmla="*/ 0 w 906"/>
                  <a:gd name="T33" fmla="*/ 0 h 265"/>
                  <a:gd name="T34" fmla="*/ 0 w 906"/>
                  <a:gd name="T35" fmla="*/ 0 h 265"/>
                  <a:gd name="T36" fmla="*/ 0 w 906"/>
                  <a:gd name="T37" fmla="*/ 0 h 265"/>
                  <a:gd name="T38" fmla="*/ 0 w 906"/>
                  <a:gd name="T39" fmla="*/ 0 h 265"/>
                  <a:gd name="T40" fmla="*/ 0 w 906"/>
                  <a:gd name="T41" fmla="*/ 0 h 265"/>
                  <a:gd name="T42" fmla="*/ 0 w 906"/>
                  <a:gd name="T43" fmla="*/ 0 h 265"/>
                  <a:gd name="T44" fmla="*/ 0 w 906"/>
                  <a:gd name="T45" fmla="*/ 0 h 265"/>
                  <a:gd name="T46" fmla="*/ 0 w 906"/>
                  <a:gd name="T47" fmla="*/ 0 h 265"/>
                  <a:gd name="T48" fmla="*/ 0 w 906"/>
                  <a:gd name="T49" fmla="*/ 0 h 265"/>
                  <a:gd name="T50" fmla="*/ 0 w 906"/>
                  <a:gd name="T51" fmla="*/ 0 h 265"/>
                  <a:gd name="T52" fmla="*/ 0 w 906"/>
                  <a:gd name="T53" fmla="*/ 0 h 265"/>
                  <a:gd name="T54" fmla="*/ 0 w 906"/>
                  <a:gd name="T55" fmla="*/ 0 h 265"/>
                  <a:gd name="T56" fmla="*/ 0 w 906"/>
                  <a:gd name="T57" fmla="*/ 0 h 26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06"/>
                  <a:gd name="T88" fmla="*/ 0 h 265"/>
                  <a:gd name="T89" fmla="*/ 906 w 906"/>
                  <a:gd name="T90" fmla="*/ 265 h 26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06" h="265">
                    <a:moveTo>
                      <a:pt x="493" y="72"/>
                    </a:moveTo>
                    <a:lnTo>
                      <a:pt x="445" y="57"/>
                    </a:lnTo>
                    <a:lnTo>
                      <a:pt x="267" y="96"/>
                    </a:lnTo>
                    <a:lnTo>
                      <a:pt x="226" y="66"/>
                    </a:lnTo>
                    <a:lnTo>
                      <a:pt x="192" y="64"/>
                    </a:lnTo>
                    <a:lnTo>
                      <a:pt x="206" y="28"/>
                    </a:lnTo>
                    <a:lnTo>
                      <a:pt x="180" y="1"/>
                    </a:lnTo>
                    <a:lnTo>
                      <a:pt x="145" y="35"/>
                    </a:lnTo>
                    <a:lnTo>
                      <a:pt x="80" y="2"/>
                    </a:lnTo>
                    <a:lnTo>
                      <a:pt x="58" y="0"/>
                    </a:lnTo>
                    <a:lnTo>
                      <a:pt x="45" y="48"/>
                    </a:lnTo>
                    <a:lnTo>
                      <a:pt x="13" y="37"/>
                    </a:lnTo>
                    <a:lnTo>
                      <a:pt x="0" y="169"/>
                    </a:lnTo>
                    <a:lnTo>
                      <a:pt x="302" y="169"/>
                    </a:lnTo>
                    <a:lnTo>
                      <a:pt x="337" y="192"/>
                    </a:lnTo>
                    <a:lnTo>
                      <a:pt x="388" y="207"/>
                    </a:lnTo>
                    <a:lnTo>
                      <a:pt x="421" y="265"/>
                    </a:lnTo>
                    <a:lnTo>
                      <a:pt x="796" y="185"/>
                    </a:lnTo>
                    <a:lnTo>
                      <a:pt x="859" y="210"/>
                    </a:lnTo>
                    <a:lnTo>
                      <a:pt x="906" y="117"/>
                    </a:lnTo>
                    <a:lnTo>
                      <a:pt x="894" y="89"/>
                    </a:lnTo>
                    <a:lnTo>
                      <a:pt x="855" y="114"/>
                    </a:lnTo>
                    <a:lnTo>
                      <a:pt x="823" y="121"/>
                    </a:lnTo>
                    <a:lnTo>
                      <a:pt x="781" y="140"/>
                    </a:lnTo>
                    <a:lnTo>
                      <a:pt x="730" y="128"/>
                    </a:lnTo>
                    <a:lnTo>
                      <a:pt x="699" y="83"/>
                    </a:lnTo>
                    <a:lnTo>
                      <a:pt x="533" y="97"/>
                    </a:lnTo>
                    <a:lnTo>
                      <a:pt x="494" y="89"/>
                    </a:lnTo>
                    <a:lnTo>
                      <a:pt x="493" y="72"/>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68" name="Freeform 189"/>
              <p:cNvSpPr>
                <a:spLocks/>
              </p:cNvSpPr>
              <p:nvPr/>
            </p:nvSpPr>
            <p:spPr bwMode="auto">
              <a:xfrm>
                <a:off x="10591487" y="4114338"/>
                <a:ext cx="240291" cy="69183"/>
              </a:xfrm>
              <a:custGeom>
                <a:avLst/>
                <a:gdLst>
                  <a:gd name="T0" fmla="*/ 0 w 906"/>
                  <a:gd name="T1" fmla="*/ 0 h 265"/>
                  <a:gd name="T2" fmla="*/ 0 w 906"/>
                  <a:gd name="T3" fmla="*/ 0 h 265"/>
                  <a:gd name="T4" fmla="*/ 0 w 906"/>
                  <a:gd name="T5" fmla="*/ 0 h 265"/>
                  <a:gd name="T6" fmla="*/ 0 w 906"/>
                  <a:gd name="T7" fmla="*/ 0 h 265"/>
                  <a:gd name="T8" fmla="*/ 0 w 906"/>
                  <a:gd name="T9" fmla="*/ 0 h 265"/>
                  <a:gd name="T10" fmla="*/ 0 w 906"/>
                  <a:gd name="T11" fmla="*/ 0 h 265"/>
                  <a:gd name="T12" fmla="*/ 0 w 906"/>
                  <a:gd name="T13" fmla="*/ 0 h 265"/>
                  <a:gd name="T14" fmla="*/ 0 w 906"/>
                  <a:gd name="T15" fmla="*/ 0 h 265"/>
                  <a:gd name="T16" fmla="*/ 0 w 906"/>
                  <a:gd name="T17" fmla="*/ 0 h 265"/>
                  <a:gd name="T18" fmla="*/ 0 w 906"/>
                  <a:gd name="T19" fmla="*/ 0 h 265"/>
                  <a:gd name="T20" fmla="*/ 0 w 906"/>
                  <a:gd name="T21" fmla="*/ 0 h 265"/>
                  <a:gd name="T22" fmla="*/ 0 w 906"/>
                  <a:gd name="T23" fmla="*/ 0 h 265"/>
                  <a:gd name="T24" fmla="*/ 0 w 906"/>
                  <a:gd name="T25" fmla="*/ 0 h 265"/>
                  <a:gd name="T26" fmla="*/ 0 w 906"/>
                  <a:gd name="T27" fmla="*/ 0 h 265"/>
                  <a:gd name="T28" fmla="*/ 0 w 906"/>
                  <a:gd name="T29" fmla="*/ 0 h 265"/>
                  <a:gd name="T30" fmla="*/ 0 w 906"/>
                  <a:gd name="T31" fmla="*/ 0 h 265"/>
                  <a:gd name="T32" fmla="*/ 0 w 906"/>
                  <a:gd name="T33" fmla="*/ 0 h 265"/>
                  <a:gd name="T34" fmla="*/ 0 w 906"/>
                  <a:gd name="T35" fmla="*/ 0 h 265"/>
                  <a:gd name="T36" fmla="*/ 0 w 906"/>
                  <a:gd name="T37" fmla="*/ 0 h 265"/>
                  <a:gd name="T38" fmla="*/ 0 w 906"/>
                  <a:gd name="T39" fmla="*/ 0 h 265"/>
                  <a:gd name="T40" fmla="*/ 0 w 906"/>
                  <a:gd name="T41" fmla="*/ 0 h 265"/>
                  <a:gd name="T42" fmla="*/ 0 w 906"/>
                  <a:gd name="T43" fmla="*/ 0 h 265"/>
                  <a:gd name="T44" fmla="*/ 0 w 906"/>
                  <a:gd name="T45" fmla="*/ 0 h 265"/>
                  <a:gd name="T46" fmla="*/ 0 w 906"/>
                  <a:gd name="T47" fmla="*/ 0 h 265"/>
                  <a:gd name="T48" fmla="*/ 0 w 906"/>
                  <a:gd name="T49" fmla="*/ 0 h 265"/>
                  <a:gd name="T50" fmla="*/ 0 w 906"/>
                  <a:gd name="T51" fmla="*/ 0 h 265"/>
                  <a:gd name="T52" fmla="*/ 0 w 906"/>
                  <a:gd name="T53" fmla="*/ 0 h 265"/>
                  <a:gd name="T54" fmla="*/ 0 w 906"/>
                  <a:gd name="T55" fmla="*/ 0 h 265"/>
                  <a:gd name="T56" fmla="*/ 0 w 906"/>
                  <a:gd name="T57" fmla="*/ 0 h 26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06"/>
                  <a:gd name="T88" fmla="*/ 0 h 265"/>
                  <a:gd name="T89" fmla="*/ 906 w 906"/>
                  <a:gd name="T90" fmla="*/ 265 h 26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06" h="265">
                    <a:moveTo>
                      <a:pt x="493" y="72"/>
                    </a:moveTo>
                    <a:lnTo>
                      <a:pt x="445" y="57"/>
                    </a:lnTo>
                    <a:lnTo>
                      <a:pt x="267" y="96"/>
                    </a:lnTo>
                    <a:lnTo>
                      <a:pt x="226" y="66"/>
                    </a:lnTo>
                    <a:lnTo>
                      <a:pt x="192" y="64"/>
                    </a:lnTo>
                    <a:lnTo>
                      <a:pt x="206" y="28"/>
                    </a:lnTo>
                    <a:lnTo>
                      <a:pt x="180" y="1"/>
                    </a:lnTo>
                    <a:lnTo>
                      <a:pt x="145" y="35"/>
                    </a:lnTo>
                    <a:lnTo>
                      <a:pt x="80" y="2"/>
                    </a:lnTo>
                    <a:lnTo>
                      <a:pt x="58" y="0"/>
                    </a:lnTo>
                    <a:lnTo>
                      <a:pt x="45" y="48"/>
                    </a:lnTo>
                    <a:lnTo>
                      <a:pt x="13" y="37"/>
                    </a:lnTo>
                    <a:lnTo>
                      <a:pt x="0" y="169"/>
                    </a:lnTo>
                    <a:lnTo>
                      <a:pt x="302" y="169"/>
                    </a:lnTo>
                    <a:lnTo>
                      <a:pt x="337" y="192"/>
                    </a:lnTo>
                    <a:lnTo>
                      <a:pt x="388" y="207"/>
                    </a:lnTo>
                    <a:lnTo>
                      <a:pt x="421" y="265"/>
                    </a:lnTo>
                    <a:lnTo>
                      <a:pt x="796" y="185"/>
                    </a:lnTo>
                    <a:lnTo>
                      <a:pt x="859" y="210"/>
                    </a:lnTo>
                    <a:lnTo>
                      <a:pt x="906" y="117"/>
                    </a:lnTo>
                    <a:lnTo>
                      <a:pt x="894" y="89"/>
                    </a:lnTo>
                    <a:lnTo>
                      <a:pt x="855" y="114"/>
                    </a:lnTo>
                    <a:lnTo>
                      <a:pt x="823" y="121"/>
                    </a:lnTo>
                    <a:lnTo>
                      <a:pt x="781" y="140"/>
                    </a:lnTo>
                    <a:lnTo>
                      <a:pt x="730" y="128"/>
                    </a:lnTo>
                    <a:lnTo>
                      <a:pt x="699" y="83"/>
                    </a:lnTo>
                    <a:lnTo>
                      <a:pt x="533" y="97"/>
                    </a:lnTo>
                    <a:lnTo>
                      <a:pt x="494" y="89"/>
                    </a:lnTo>
                    <a:lnTo>
                      <a:pt x="493" y="72"/>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69" name="Freeform 192"/>
              <p:cNvSpPr>
                <a:spLocks/>
              </p:cNvSpPr>
              <p:nvPr/>
            </p:nvSpPr>
            <p:spPr bwMode="auto">
              <a:xfrm>
                <a:off x="10738105" y="3946128"/>
                <a:ext cx="16291" cy="24418"/>
              </a:xfrm>
              <a:custGeom>
                <a:avLst/>
                <a:gdLst>
                  <a:gd name="T0" fmla="*/ 0 w 60"/>
                  <a:gd name="T1" fmla="*/ 0 h 96"/>
                  <a:gd name="T2" fmla="*/ 0 w 60"/>
                  <a:gd name="T3" fmla="*/ 0 h 96"/>
                  <a:gd name="T4" fmla="*/ 0 w 60"/>
                  <a:gd name="T5" fmla="*/ 0 h 96"/>
                  <a:gd name="T6" fmla="*/ 0 w 60"/>
                  <a:gd name="T7" fmla="*/ 0 h 96"/>
                  <a:gd name="T8" fmla="*/ 0 w 60"/>
                  <a:gd name="T9" fmla="*/ 0 h 96"/>
                  <a:gd name="T10" fmla="*/ 0 w 60"/>
                  <a:gd name="T11" fmla="*/ 0 h 96"/>
                  <a:gd name="T12" fmla="*/ 0 w 60"/>
                  <a:gd name="T13" fmla="*/ 0 h 96"/>
                  <a:gd name="T14" fmla="*/ 0 60000 65536"/>
                  <a:gd name="T15" fmla="*/ 0 60000 65536"/>
                  <a:gd name="T16" fmla="*/ 0 60000 65536"/>
                  <a:gd name="T17" fmla="*/ 0 60000 65536"/>
                  <a:gd name="T18" fmla="*/ 0 60000 65536"/>
                  <a:gd name="T19" fmla="*/ 0 60000 65536"/>
                  <a:gd name="T20" fmla="*/ 0 60000 65536"/>
                  <a:gd name="T21" fmla="*/ 0 w 60"/>
                  <a:gd name="T22" fmla="*/ 0 h 96"/>
                  <a:gd name="T23" fmla="*/ 60 w 60"/>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96">
                    <a:moveTo>
                      <a:pt x="18" y="96"/>
                    </a:moveTo>
                    <a:lnTo>
                      <a:pt x="56" y="92"/>
                    </a:lnTo>
                    <a:lnTo>
                      <a:pt x="60" y="0"/>
                    </a:lnTo>
                    <a:lnTo>
                      <a:pt x="27" y="10"/>
                    </a:lnTo>
                    <a:lnTo>
                      <a:pt x="0" y="43"/>
                    </a:lnTo>
                    <a:lnTo>
                      <a:pt x="4" y="92"/>
                    </a:lnTo>
                    <a:lnTo>
                      <a:pt x="18" y="96"/>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70" name="Freeform 193"/>
              <p:cNvSpPr>
                <a:spLocks/>
              </p:cNvSpPr>
              <p:nvPr/>
            </p:nvSpPr>
            <p:spPr bwMode="auto">
              <a:xfrm>
                <a:off x="10738105" y="3946128"/>
                <a:ext cx="16291" cy="24418"/>
              </a:xfrm>
              <a:custGeom>
                <a:avLst/>
                <a:gdLst>
                  <a:gd name="T0" fmla="*/ 0 w 60"/>
                  <a:gd name="T1" fmla="*/ 0 h 96"/>
                  <a:gd name="T2" fmla="*/ 0 w 60"/>
                  <a:gd name="T3" fmla="*/ 0 h 96"/>
                  <a:gd name="T4" fmla="*/ 0 w 60"/>
                  <a:gd name="T5" fmla="*/ 0 h 96"/>
                  <a:gd name="T6" fmla="*/ 0 w 60"/>
                  <a:gd name="T7" fmla="*/ 0 h 96"/>
                  <a:gd name="T8" fmla="*/ 0 w 60"/>
                  <a:gd name="T9" fmla="*/ 0 h 96"/>
                  <a:gd name="T10" fmla="*/ 0 w 60"/>
                  <a:gd name="T11" fmla="*/ 0 h 96"/>
                  <a:gd name="T12" fmla="*/ 0 w 60"/>
                  <a:gd name="T13" fmla="*/ 0 h 96"/>
                  <a:gd name="T14" fmla="*/ 0 60000 65536"/>
                  <a:gd name="T15" fmla="*/ 0 60000 65536"/>
                  <a:gd name="T16" fmla="*/ 0 60000 65536"/>
                  <a:gd name="T17" fmla="*/ 0 60000 65536"/>
                  <a:gd name="T18" fmla="*/ 0 60000 65536"/>
                  <a:gd name="T19" fmla="*/ 0 60000 65536"/>
                  <a:gd name="T20" fmla="*/ 0 60000 65536"/>
                  <a:gd name="T21" fmla="*/ 0 w 60"/>
                  <a:gd name="T22" fmla="*/ 0 h 96"/>
                  <a:gd name="T23" fmla="*/ 60 w 60"/>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96">
                    <a:moveTo>
                      <a:pt x="18" y="96"/>
                    </a:moveTo>
                    <a:lnTo>
                      <a:pt x="56" y="92"/>
                    </a:lnTo>
                    <a:lnTo>
                      <a:pt x="60" y="0"/>
                    </a:lnTo>
                    <a:lnTo>
                      <a:pt x="27" y="10"/>
                    </a:lnTo>
                    <a:lnTo>
                      <a:pt x="0" y="43"/>
                    </a:lnTo>
                    <a:lnTo>
                      <a:pt x="4" y="92"/>
                    </a:lnTo>
                    <a:lnTo>
                      <a:pt x="18" y="96"/>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grpSp>
          <p:nvGrpSpPr>
            <p:cNvPr id="347" name="Group 547"/>
            <p:cNvGrpSpPr/>
            <p:nvPr/>
          </p:nvGrpSpPr>
          <p:grpSpPr>
            <a:xfrm>
              <a:off x="7369109" y="333490"/>
              <a:ext cx="888312" cy="1657047"/>
              <a:chOff x="7346100" y="537163"/>
              <a:chExt cx="574497" cy="1071660"/>
            </a:xfrm>
            <a:noFill/>
          </p:grpSpPr>
          <p:grpSp>
            <p:nvGrpSpPr>
              <p:cNvPr id="557" name="Group 546"/>
              <p:cNvGrpSpPr/>
              <p:nvPr/>
            </p:nvGrpSpPr>
            <p:grpSpPr>
              <a:xfrm>
                <a:off x="7346100" y="1553205"/>
                <a:ext cx="161552" cy="42052"/>
                <a:chOff x="11657186" y="1553205"/>
                <a:chExt cx="161552" cy="42052"/>
              </a:xfrm>
              <a:grpFill/>
            </p:grpSpPr>
            <p:sp>
              <p:nvSpPr>
                <p:cNvPr id="559" name="Freeform 168"/>
                <p:cNvSpPr>
                  <a:spLocks/>
                </p:cNvSpPr>
                <p:nvPr/>
              </p:nvSpPr>
              <p:spPr bwMode="auto">
                <a:xfrm>
                  <a:off x="11657186" y="1553205"/>
                  <a:ext cx="24436" cy="42052"/>
                </a:xfrm>
                <a:custGeom>
                  <a:avLst/>
                  <a:gdLst>
                    <a:gd name="T0" fmla="*/ 0 w 91"/>
                    <a:gd name="T1" fmla="*/ 0 h 162"/>
                    <a:gd name="T2" fmla="*/ 0 w 91"/>
                    <a:gd name="T3" fmla="*/ 0 h 162"/>
                    <a:gd name="T4" fmla="*/ 0 w 91"/>
                    <a:gd name="T5" fmla="*/ 0 h 162"/>
                    <a:gd name="T6" fmla="*/ 0 w 91"/>
                    <a:gd name="T7" fmla="*/ 0 h 162"/>
                    <a:gd name="T8" fmla="*/ 0 w 91"/>
                    <a:gd name="T9" fmla="*/ 0 h 162"/>
                    <a:gd name="T10" fmla="*/ 0 w 91"/>
                    <a:gd name="T11" fmla="*/ 0 h 162"/>
                    <a:gd name="T12" fmla="*/ 0 w 91"/>
                    <a:gd name="T13" fmla="*/ 0 h 162"/>
                    <a:gd name="T14" fmla="*/ 0 w 91"/>
                    <a:gd name="T15" fmla="*/ 0 h 162"/>
                    <a:gd name="T16" fmla="*/ 0 w 91"/>
                    <a:gd name="T17" fmla="*/ 0 h 162"/>
                    <a:gd name="T18" fmla="*/ 0 w 91"/>
                    <a:gd name="T19" fmla="*/ 0 h 162"/>
                    <a:gd name="T20" fmla="*/ 0 w 91"/>
                    <a:gd name="T21" fmla="*/ 0 h 162"/>
                    <a:gd name="T22" fmla="*/ 0 w 91"/>
                    <a:gd name="T23" fmla="*/ 0 h 162"/>
                    <a:gd name="T24" fmla="*/ 0 w 91"/>
                    <a:gd name="T25" fmla="*/ 0 h 162"/>
                    <a:gd name="T26" fmla="*/ 0 w 91"/>
                    <a:gd name="T27" fmla="*/ 0 h 162"/>
                    <a:gd name="T28" fmla="*/ 0 w 91"/>
                    <a:gd name="T29" fmla="*/ 0 h 162"/>
                    <a:gd name="T30" fmla="*/ 0 w 91"/>
                    <a:gd name="T31" fmla="*/ 0 h 162"/>
                    <a:gd name="T32" fmla="*/ 0 w 91"/>
                    <a:gd name="T33" fmla="*/ 0 h 162"/>
                    <a:gd name="T34" fmla="*/ 0 w 91"/>
                    <a:gd name="T35" fmla="*/ 0 h 1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1"/>
                    <a:gd name="T55" fmla="*/ 0 h 162"/>
                    <a:gd name="T56" fmla="*/ 91 w 91"/>
                    <a:gd name="T57" fmla="*/ 162 h 1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1" h="162">
                      <a:moveTo>
                        <a:pt x="74" y="17"/>
                      </a:moveTo>
                      <a:lnTo>
                        <a:pt x="47" y="10"/>
                      </a:lnTo>
                      <a:lnTo>
                        <a:pt x="37" y="0"/>
                      </a:lnTo>
                      <a:lnTo>
                        <a:pt x="15" y="17"/>
                      </a:lnTo>
                      <a:lnTo>
                        <a:pt x="27" y="33"/>
                      </a:lnTo>
                      <a:lnTo>
                        <a:pt x="25" y="58"/>
                      </a:lnTo>
                      <a:lnTo>
                        <a:pt x="4" y="52"/>
                      </a:lnTo>
                      <a:lnTo>
                        <a:pt x="0" y="84"/>
                      </a:lnTo>
                      <a:lnTo>
                        <a:pt x="3" y="117"/>
                      </a:lnTo>
                      <a:lnTo>
                        <a:pt x="52" y="132"/>
                      </a:lnTo>
                      <a:lnTo>
                        <a:pt x="77" y="162"/>
                      </a:lnTo>
                      <a:lnTo>
                        <a:pt x="91" y="137"/>
                      </a:lnTo>
                      <a:lnTo>
                        <a:pt x="67" y="123"/>
                      </a:lnTo>
                      <a:lnTo>
                        <a:pt x="59" y="92"/>
                      </a:lnTo>
                      <a:lnTo>
                        <a:pt x="77" y="84"/>
                      </a:lnTo>
                      <a:lnTo>
                        <a:pt x="89" y="60"/>
                      </a:lnTo>
                      <a:lnTo>
                        <a:pt x="91" y="43"/>
                      </a:lnTo>
                      <a:lnTo>
                        <a:pt x="74" y="17"/>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60" name="Freeform 169"/>
                <p:cNvSpPr>
                  <a:spLocks/>
                </p:cNvSpPr>
                <p:nvPr/>
              </p:nvSpPr>
              <p:spPr bwMode="auto">
                <a:xfrm>
                  <a:off x="11657186" y="1553205"/>
                  <a:ext cx="24436" cy="42052"/>
                </a:xfrm>
                <a:custGeom>
                  <a:avLst/>
                  <a:gdLst>
                    <a:gd name="T0" fmla="*/ 0 w 91"/>
                    <a:gd name="T1" fmla="*/ 0 h 162"/>
                    <a:gd name="T2" fmla="*/ 0 w 91"/>
                    <a:gd name="T3" fmla="*/ 0 h 162"/>
                    <a:gd name="T4" fmla="*/ 0 w 91"/>
                    <a:gd name="T5" fmla="*/ 0 h 162"/>
                    <a:gd name="T6" fmla="*/ 0 w 91"/>
                    <a:gd name="T7" fmla="*/ 0 h 162"/>
                    <a:gd name="T8" fmla="*/ 0 w 91"/>
                    <a:gd name="T9" fmla="*/ 0 h 162"/>
                    <a:gd name="T10" fmla="*/ 0 w 91"/>
                    <a:gd name="T11" fmla="*/ 0 h 162"/>
                    <a:gd name="T12" fmla="*/ 0 w 91"/>
                    <a:gd name="T13" fmla="*/ 0 h 162"/>
                    <a:gd name="T14" fmla="*/ 0 w 91"/>
                    <a:gd name="T15" fmla="*/ 0 h 162"/>
                    <a:gd name="T16" fmla="*/ 0 w 91"/>
                    <a:gd name="T17" fmla="*/ 0 h 162"/>
                    <a:gd name="T18" fmla="*/ 0 w 91"/>
                    <a:gd name="T19" fmla="*/ 0 h 162"/>
                    <a:gd name="T20" fmla="*/ 0 w 91"/>
                    <a:gd name="T21" fmla="*/ 0 h 162"/>
                    <a:gd name="T22" fmla="*/ 0 w 91"/>
                    <a:gd name="T23" fmla="*/ 0 h 162"/>
                    <a:gd name="T24" fmla="*/ 0 w 91"/>
                    <a:gd name="T25" fmla="*/ 0 h 162"/>
                    <a:gd name="T26" fmla="*/ 0 w 91"/>
                    <a:gd name="T27" fmla="*/ 0 h 162"/>
                    <a:gd name="T28" fmla="*/ 0 w 91"/>
                    <a:gd name="T29" fmla="*/ 0 h 162"/>
                    <a:gd name="T30" fmla="*/ 0 w 91"/>
                    <a:gd name="T31" fmla="*/ 0 h 162"/>
                    <a:gd name="T32" fmla="*/ 0 w 91"/>
                    <a:gd name="T33" fmla="*/ 0 h 162"/>
                    <a:gd name="T34" fmla="*/ 0 w 91"/>
                    <a:gd name="T35" fmla="*/ 0 h 1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1"/>
                    <a:gd name="T55" fmla="*/ 0 h 162"/>
                    <a:gd name="T56" fmla="*/ 91 w 91"/>
                    <a:gd name="T57" fmla="*/ 162 h 1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1" h="162">
                      <a:moveTo>
                        <a:pt x="74" y="17"/>
                      </a:moveTo>
                      <a:lnTo>
                        <a:pt x="47" y="10"/>
                      </a:lnTo>
                      <a:lnTo>
                        <a:pt x="37" y="0"/>
                      </a:lnTo>
                      <a:lnTo>
                        <a:pt x="15" y="17"/>
                      </a:lnTo>
                      <a:lnTo>
                        <a:pt x="27" y="33"/>
                      </a:lnTo>
                      <a:lnTo>
                        <a:pt x="25" y="58"/>
                      </a:lnTo>
                      <a:lnTo>
                        <a:pt x="4" y="52"/>
                      </a:lnTo>
                      <a:lnTo>
                        <a:pt x="0" y="84"/>
                      </a:lnTo>
                      <a:lnTo>
                        <a:pt x="3" y="117"/>
                      </a:lnTo>
                      <a:lnTo>
                        <a:pt x="52" y="132"/>
                      </a:lnTo>
                      <a:lnTo>
                        <a:pt x="77" y="162"/>
                      </a:lnTo>
                      <a:lnTo>
                        <a:pt x="91" y="137"/>
                      </a:lnTo>
                      <a:lnTo>
                        <a:pt x="67" y="123"/>
                      </a:lnTo>
                      <a:lnTo>
                        <a:pt x="59" y="92"/>
                      </a:lnTo>
                      <a:lnTo>
                        <a:pt x="77" y="84"/>
                      </a:lnTo>
                      <a:lnTo>
                        <a:pt x="89" y="60"/>
                      </a:lnTo>
                      <a:lnTo>
                        <a:pt x="91" y="43"/>
                      </a:lnTo>
                      <a:lnTo>
                        <a:pt x="74" y="17"/>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61" name="Freeform 170"/>
                <p:cNvSpPr>
                  <a:spLocks/>
                </p:cNvSpPr>
                <p:nvPr/>
              </p:nvSpPr>
              <p:spPr bwMode="auto">
                <a:xfrm>
                  <a:off x="11760362" y="1569484"/>
                  <a:ext cx="9503" cy="13565"/>
                </a:xfrm>
                <a:custGeom>
                  <a:avLst/>
                  <a:gdLst>
                    <a:gd name="T0" fmla="*/ 0 w 37"/>
                    <a:gd name="T1" fmla="*/ 0 h 45"/>
                    <a:gd name="T2" fmla="*/ 0 w 37"/>
                    <a:gd name="T3" fmla="*/ 0 h 45"/>
                    <a:gd name="T4" fmla="*/ 0 w 37"/>
                    <a:gd name="T5" fmla="*/ 0 h 45"/>
                    <a:gd name="T6" fmla="*/ 0 w 37"/>
                    <a:gd name="T7" fmla="*/ 0 h 45"/>
                    <a:gd name="T8" fmla="*/ 0 w 37"/>
                    <a:gd name="T9" fmla="*/ 0 h 45"/>
                    <a:gd name="T10" fmla="*/ 0 w 37"/>
                    <a:gd name="T11" fmla="*/ 0 h 45"/>
                    <a:gd name="T12" fmla="*/ 0 w 37"/>
                    <a:gd name="T13" fmla="*/ 0 h 45"/>
                    <a:gd name="T14" fmla="*/ 0 60000 65536"/>
                    <a:gd name="T15" fmla="*/ 0 60000 65536"/>
                    <a:gd name="T16" fmla="*/ 0 60000 65536"/>
                    <a:gd name="T17" fmla="*/ 0 60000 65536"/>
                    <a:gd name="T18" fmla="*/ 0 60000 65536"/>
                    <a:gd name="T19" fmla="*/ 0 60000 65536"/>
                    <a:gd name="T20" fmla="*/ 0 60000 65536"/>
                    <a:gd name="T21" fmla="*/ 0 w 37"/>
                    <a:gd name="T22" fmla="*/ 0 h 45"/>
                    <a:gd name="T23" fmla="*/ 37 w 3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45">
                      <a:moveTo>
                        <a:pt x="37" y="16"/>
                      </a:moveTo>
                      <a:lnTo>
                        <a:pt x="27" y="0"/>
                      </a:lnTo>
                      <a:lnTo>
                        <a:pt x="5" y="5"/>
                      </a:lnTo>
                      <a:lnTo>
                        <a:pt x="0" y="29"/>
                      </a:lnTo>
                      <a:lnTo>
                        <a:pt x="16" y="45"/>
                      </a:lnTo>
                      <a:lnTo>
                        <a:pt x="36" y="45"/>
                      </a:lnTo>
                      <a:lnTo>
                        <a:pt x="37" y="16"/>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62" name="Freeform 171"/>
                <p:cNvSpPr>
                  <a:spLocks/>
                </p:cNvSpPr>
                <p:nvPr/>
              </p:nvSpPr>
              <p:spPr bwMode="auto">
                <a:xfrm>
                  <a:off x="11760362" y="1569484"/>
                  <a:ext cx="9503" cy="13565"/>
                </a:xfrm>
                <a:custGeom>
                  <a:avLst/>
                  <a:gdLst>
                    <a:gd name="T0" fmla="*/ 0 w 37"/>
                    <a:gd name="T1" fmla="*/ 0 h 45"/>
                    <a:gd name="T2" fmla="*/ 0 w 37"/>
                    <a:gd name="T3" fmla="*/ 0 h 45"/>
                    <a:gd name="T4" fmla="*/ 0 w 37"/>
                    <a:gd name="T5" fmla="*/ 0 h 45"/>
                    <a:gd name="T6" fmla="*/ 0 w 37"/>
                    <a:gd name="T7" fmla="*/ 0 h 45"/>
                    <a:gd name="T8" fmla="*/ 0 w 37"/>
                    <a:gd name="T9" fmla="*/ 0 h 45"/>
                    <a:gd name="T10" fmla="*/ 0 w 37"/>
                    <a:gd name="T11" fmla="*/ 0 h 45"/>
                    <a:gd name="T12" fmla="*/ 0 w 37"/>
                    <a:gd name="T13" fmla="*/ 0 h 45"/>
                    <a:gd name="T14" fmla="*/ 0 60000 65536"/>
                    <a:gd name="T15" fmla="*/ 0 60000 65536"/>
                    <a:gd name="T16" fmla="*/ 0 60000 65536"/>
                    <a:gd name="T17" fmla="*/ 0 60000 65536"/>
                    <a:gd name="T18" fmla="*/ 0 60000 65536"/>
                    <a:gd name="T19" fmla="*/ 0 60000 65536"/>
                    <a:gd name="T20" fmla="*/ 0 60000 65536"/>
                    <a:gd name="T21" fmla="*/ 0 w 37"/>
                    <a:gd name="T22" fmla="*/ 0 h 45"/>
                    <a:gd name="T23" fmla="*/ 37 w 3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45">
                      <a:moveTo>
                        <a:pt x="37" y="16"/>
                      </a:moveTo>
                      <a:lnTo>
                        <a:pt x="27" y="0"/>
                      </a:lnTo>
                      <a:lnTo>
                        <a:pt x="5" y="5"/>
                      </a:lnTo>
                      <a:lnTo>
                        <a:pt x="0" y="29"/>
                      </a:lnTo>
                      <a:lnTo>
                        <a:pt x="16" y="45"/>
                      </a:lnTo>
                      <a:lnTo>
                        <a:pt x="36" y="45"/>
                      </a:lnTo>
                      <a:lnTo>
                        <a:pt x="37" y="16"/>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63" name="Freeform 172"/>
                <p:cNvSpPr>
                  <a:spLocks/>
                </p:cNvSpPr>
                <p:nvPr/>
              </p:nvSpPr>
              <p:spPr bwMode="auto">
                <a:xfrm>
                  <a:off x="11795659" y="1564058"/>
                  <a:ext cx="23079" cy="25774"/>
                </a:xfrm>
                <a:custGeom>
                  <a:avLst/>
                  <a:gdLst>
                    <a:gd name="T0" fmla="*/ 0 w 86"/>
                    <a:gd name="T1" fmla="*/ 0 h 101"/>
                    <a:gd name="T2" fmla="*/ 0 w 86"/>
                    <a:gd name="T3" fmla="*/ 0 h 101"/>
                    <a:gd name="T4" fmla="*/ 0 w 86"/>
                    <a:gd name="T5" fmla="*/ 0 h 101"/>
                    <a:gd name="T6" fmla="*/ 0 w 86"/>
                    <a:gd name="T7" fmla="*/ 0 h 101"/>
                    <a:gd name="T8" fmla="*/ 0 w 86"/>
                    <a:gd name="T9" fmla="*/ 0 h 101"/>
                    <a:gd name="T10" fmla="*/ 0 w 86"/>
                    <a:gd name="T11" fmla="*/ 0 h 101"/>
                    <a:gd name="T12" fmla="*/ 0 w 86"/>
                    <a:gd name="T13" fmla="*/ 0 h 101"/>
                    <a:gd name="T14" fmla="*/ 0 w 86"/>
                    <a:gd name="T15" fmla="*/ 0 h 101"/>
                    <a:gd name="T16" fmla="*/ 0 w 86"/>
                    <a:gd name="T17" fmla="*/ 0 h 101"/>
                    <a:gd name="T18" fmla="*/ 0 w 86"/>
                    <a:gd name="T19" fmla="*/ 0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
                    <a:gd name="T31" fmla="*/ 0 h 101"/>
                    <a:gd name="T32" fmla="*/ 86 w 86"/>
                    <a:gd name="T33" fmla="*/ 101 h 1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 h="101">
                      <a:moveTo>
                        <a:pt x="60" y="101"/>
                      </a:moveTo>
                      <a:lnTo>
                        <a:pt x="72" y="87"/>
                      </a:lnTo>
                      <a:lnTo>
                        <a:pt x="86" y="0"/>
                      </a:lnTo>
                      <a:lnTo>
                        <a:pt x="74" y="13"/>
                      </a:lnTo>
                      <a:lnTo>
                        <a:pt x="24" y="38"/>
                      </a:lnTo>
                      <a:lnTo>
                        <a:pt x="23" y="65"/>
                      </a:lnTo>
                      <a:lnTo>
                        <a:pt x="9" y="77"/>
                      </a:lnTo>
                      <a:lnTo>
                        <a:pt x="0" y="96"/>
                      </a:lnTo>
                      <a:lnTo>
                        <a:pt x="34" y="89"/>
                      </a:lnTo>
                      <a:lnTo>
                        <a:pt x="60" y="101"/>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64" name="Freeform 173"/>
                <p:cNvSpPr>
                  <a:spLocks/>
                </p:cNvSpPr>
                <p:nvPr/>
              </p:nvSpPr>
              <p:spPr bwMode="auto">
                <a:xfrm>
                  <a:off x="11795659" y="1564058"/>
                  <a:ext cx="23079" cy="25774"/>
                </a:xfrm>
                <a:custGeom>
                  <a:avLst/>
                  <a:gdLst>
                    <a:gd name="T0" fmla="*/ 0 w 86"/>
                    <a:gd name="T1" fmla="*/ 0 h 101"/>
                    <a:gd name="T2" fmla="*/ 0 w 86"/>
                    <a:gd name="T3" fmla="*/ 0 h 101"/>
                    <a:gd name="T4" fmla="*/ 0 w 86"/>
                    <a:gd name="T5" fmla="*/ 0 h 101"/>
                    <a:gd name="T6" fmla="*/ 0 w 86"/>
                    <a:gd name="T7" fmla="*/ 0 h 101"/>
                    <a:gd name="T8" fmla="*/ 0 w 86"/>
                    <a:gd name="T9" fmla="*/ 0 h 101"/>
                    <a:gd name="T10" fmla="*/ 0 w 86"/>
                    <a:gd name="T11" fmla="*/ 0 h 101"/>
                    <a:gd name="T12" fmla="*/ 0 w 86"/>
                    <a:gd name="T13" fmla="*/ 0 h 101"/>
                    <a:gd name="T14" fmla="*/ 0 w 86"/>
                    <a:gd name="T15" fmla="*/ 0 h 101"/>
                    <a:gd name="T16" fmla="*/ 0 w 86"/>
                    <a:gd name="T17" fmla="*/ 0 h 101"/>
                    <a:gd name="T18" fmla="*/ 0 w 86"/>
                    <a:gd name="T19" fmla="*/ 0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
                    <a:gd name="T31" fmla="*/ 0 h 101"/>
                    <a:gd name="T32" fmla="*/ 86 w 86"/>
                    <a:gd name="T33" fmla="*/ 101 h 1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 h="101">
                      <a:moveTo>
                        <a:pt x="60" y="101"/>
                      </a:moveTo>
                      <a:lnTo>
                        <a:pt x="72" y="87"/>
                      </a:lnTo>
                      <a:lnTo>
                        <a:pt x="86" y="0"/>
                      </a:lnTo>
                      <a:lnTo>
                        <a:pt x="74" y="13"/>
                      </a:lnTo>
                      <a:lnTo>
                        <a:pt x="24" y="38"/>
                      </a:lnTo>
                      <a:lnTo>
                        <a:pt x="23" y="65"/>
                      </a:lnTo>
                      <a:lnTo>
                        <a:pt x="9" y="77"/>
                      </a:lnTo>
                      <a:lnTo>
                        <a:pt x="0" y="96"/>
                      </a:lnTo>
                      <a:lnTo>
                        <a:pt x="34" y="89"/>
                      </a:lnTo>
                      <a:lnTo>
                        <a:pt x="60" y="101"/>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sp>
            <p:nvSpPr>
              <p:cNvPr id="558" name="Freeform 202"/>
              <p:cNvSpPr>
                <a:spLocks/>
              </p:cNvSpPr>
              <p:nvPr/>
            </p:nvSpPr>
            <p:spPr bwMode="auto">
              <a:xfrm>
                <a:off x="7396572" y="537163"/>
                <a:ext cx="524025" cy="1071660"/>
              </a:xfrm>
              <a:custGeom>
                <a:avLst/>
                <a:gdLst>
                  <a:gd name="T0" fmla="*/ 0 w 1991"/>
                  <a:gd name="T1" fmla="*/ 0 h 4089"/>
                  <a:gd name="T2" fmla="*/ 0 w 1991"/>
                  <a:gd name="T3" fmla="*/ 0 h 4089"/>
                  <a:gd name="T4" fmla="*/ 0 w 1991"/>
                  <a:gd name="T5" fmla="*/ 0 h 4089"/>
                  <a:gd name="T6" fmla="*/ 0 w 1991"/>
                  <a:gd name="T7" fmla="*/ 0 h 4089"/>
                  <a:gd name="T8" fmla="*/ 0 w 1991"/>
                  <a:gd name="T9" fmla="*/ 0 h 4089"/>
                  <a:gd name="T10" fmla="*/ 0 w 1991"/>
                  <a:gd name="T11" fmla="*/ 0 h 4089"/>
                  <a:gd name="T12" fmla="*/ 0 w 1991"/>
                  <a:gd name="T13" fmla="*/ 0 h 4089"/>
                  <a:gd name="T14" fmla="*/ 0 w 1991"/>
                  <a:gd name="T15" fmla="*/ 0 h 4089"/>
                  <a:gd name="T16" fmla="*/ 0 w 1991"/>
                  <a:gd name="T17" fmla="*/ 0 h 4089"/>
                  <a:gd name="T18" fmla="*/ 0 w 1991"/>
                  <a:gd name="T19" fmla="*/ 0 h 4089"/>
                  <a:gd name="T20" fmla="*/ 0 w 1991"/>
                  <a:gd name="T21" fmla="*/ 0 h 4089"/>
                  <a:gd name="T22" fmla="*/ 0 w 1991"/>
                  <a:gd name="T23" fmla="*/ 0 h 4089"/>
                  <a:gd name="T24" fmla="*/ 0 w 1991"/>
                  <a:gd name="T25" fmla="*/ 0 h 4089"/>
                  <a:gd name="T26" fmla="*/ 0 w 1991"/>
                  <a:gd name="T27" fmla="*/ 0 h 4089"/>
                  <a:gd name="T28" fmla="*/ 0 w 1991"/>
                  <a:gd name="T29" fmla="*/ 0 h 4089"/>
                  <a:gd name="T30" fmla="*/ 0 w 1991"/>
                  <a:gd name="T31" fmla="*/ 0 h 4089"/>
                  <a:gd name="T32" fmla="*/ 0 w 1991"/>
                  <a:gd name="T33" fmla="*/ 0 h 4089"/>
                  <a:gd name="T34" fmla="*/ 0 w 1991"/>
                  <a:gd name="T35" fmla="*/ 0 h 4089"/>
                  <a:gd name="T36" fmla="*/ 0 w 1991"/>
                  <a:gd name="T37" fmla="*/ 0 h 4089"/>
                  <a:gd name="T38" fmla="*/ 0 w 1991"/>
                  <a:gd name="T39" fmla="*/ 0 h 4089"/>
                  <a:gd name="T40" fmla="*/ 0 w 1991"/>
                  <a:gd name="T41" fmla="*/ 0 h 4089"/>
                  <a:gd name="T42" fmla="*/ 0 w 1991"/>
                  <a:gd name="T43" fmla="*/ 0 h 4089"/>
                  <a:gd name="T44" fmla="*/ 0 w 1991"/>
                  <a:gd name="T45" fmla="*/ 0 h 4089"/>
                  <a:gd name="T46" fmla="*/ 0 w 1991"/>
                  <a:gd name="T47" fmla="*/ 0 h 4089"/>
                  <a:gd name="T48" fmla="*/ 0 w 1991"/>
                  <a:gd name="T49" fmla="*/ 0 h 4089"/>
                  <a:gd name="T50" fmla="*/ 0 w 1991"/>
                  <a:gd name="T51" fmla="*/ 0 h 4089"/>
                  <a:gd name="T52" fmla="*/ 0 w 1991"/>
                  <a:gd name="T53" fmla="*/ 0 h 4089"/>
                  <a:gd name="T54" fmla="*/ 0 w 1991"/>
                  <a:gd name="T55" fmla="*/ 0 h 4089"/>
                  <a:gd name="T56" fmla="*/ 0 w 1991"/>
                  <a:gd name="T57" fmla="*/ 0 h 4089"/>
                  <a:gd name="T58" fmla="*/ 0 w 1991"/>
                  <a:gd name="T59" fmla="*/ 0 h 4089"/>
                  <a:gd name="T60" fmla="*/ 0 w 1991"/>
                  <a:gd name="T61" fmla="*/ 0 h 4089"/>
                  <a:gd name="T62" fmla="*/ 0 w 1991"/>
                  <a:gd name="T63" fmla="*/ 0 h 4089"/>
                  <a:gd name="T64" fmla="*/ 0 w 1991"/>
                  <a:gd name="T65" fmla="*/ 0 h 4089"/>
                  <a:gd name="T66" fmla="*/ 0 w 1991"/>
                  <a:gd name="T67" fmla="*/ 0 h 4089"/>
                  <a:gd name="T68" fmla="*/ 0 w 1991"/>
                  <a:gd name="T69" fmla="*/ 0 h 4089"/>
                  <a:gd name="T70" fmla="*/ 0 w 1991"/>
                  <a:gd name="T71" fmla="*/ 0 h 4089"/>
                  <a:gd name="T72" fmla="*/ 0 w 1991"/>
                  <a:gd name="T73" fmla="*/ 0 h 4089"/>
                  <a:gd name="T74" fmla="*/ 0 w 1991"/>
                  <a:gd name="T75" fmla="*/ 0 h 4089"/>
                  <a:gd name="T76" fmla="*/ 0 w 1991"/>
                  <a:gd name="T77" fmla="*/ 0 h 4089"/>
                  <a:gd name="T78" fmla="*/ 0 w 1991"/>
                  <a:gd name="T79" fmla="*/ 0 h 4089"/>
                  <a:gd name="T80" fmla="*/ 0 w 1991"/>
                  <a:gd name="T81" fmla="*/ 0 h 4089"/>
                  <a:gd name="T82" fmla="*/ 0 w 1991"/>
                  <a:gd name="T83" fmla="*/ 0 h 4089"/>
                  <a:gd name="T84" fmla="*/ 0 w 1991"/>
                  <a:gd name="T85" fmla="*/ 0 h 4089"/>
                  <a:gd name="T86" fmla="*/ 0 w 1991"/>
                  <a:gd name="T87" fmla="*/ 0 h 4089"/>
                  <a:gd name="T88" fmla="*/ 0 w 1991"/>
                  <a:gd name="T89" fmla="*/ 0 h 4089"/>
                  <a:gd name="T90" fmla="*/ 0 w 1991"/>
                  <a:gd name="T91" fmla="*/ 0 h 4089"/>
                  <a:gd name="T92" fmla="*/ 0 w 1991"/>
                  <a:gd name="T93" fmla="*/ 0 h 4089"/>
                  <a:gd name="T94" fmla="*/ 0 w 1991"/>
                  <a:gd name="T95" fmla="*/ 0 h 4089"/>
                  <a:gd name="T96" fmla="*/ 0 w 1991"/>
                  <a:gd name="T97" fmla="*/ 0 h 40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1"/>
                  <a:gd name="T148" fmla="*/ 0 h 4089"/>
                  <a:gd name="T149" fmla="*/ 1991 w 1991"/>
                  <a:gd name="T150" fmla="*/ 4089 h 40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1" h="4089">
                    <a:moveTo>
                      <a:pt x="0" y="460"/>
                    </a:moveTo>
                    <a:lnTo>
                      <a:pt x="6" y="460"/>
                    </a:lnTo>
                    <a:lnTo>
                      <a:pt x="13" y="473"/>
                    </a:lnTo>
                    <a:lnTo>
                      <a:pt x="209" y="667"/>
                    </a:lnTo>
                    <a:lnTo>
                      <a:pt x="304" y="694"/>
                    </a:lnTo>
                    <a:lnTo>
                      <a:pt x="355" y="736"/>
                    </a:lnTo>
                    <a:lnTo>
                      <a:pt x="459" y="903"/>
                    </a:lnTo>
                    <a:lnTo>
                      <a:pt x="445" y="981"/>
                    </a:lnTo>
                    <a:lnTo>
                      <a:pt x="457" y="1079"/>
                    </a:lnTo>
                    <a:lnTo>
                      <a:pt x="471" y="1097"/>
                    </a:lnTo>
                    <a:lnTo>
                      <a:pt x="479" y="1138"/>
                    </a:lnTo>
                    <a:lnTo>
                      <a:pt x="464" y="1196"/>
                    </a:lnTo>
                    <a:lnTo>
                      <a:pt x="474" y="1242"/>
                    </a:lnTo>
                    <a:lnTo>
                      <a:pt x="542" y="1367"/>
                    </a:lnTo>
                    <a:lnTo>
                      <a:pt x="542" y="1431"/>
                    </a:lnTo>
                    <a:lnTo>
                      <a:pt x="520" y="1473"/>
                    </a:lnTo>
                    <a:lnTo>
                      <a:pt x="511" y="1524"/>
                    </a:lnTo>
                    <a:lnTo>
                      <a:pt x="575" y="1678"/>
                    </a:lnTo>
                    <a:lnTo>
                      <a:pt x="600" y="1700"/>
                    </a:lnTo>
                    <a:lnTo>
                      <a:pt x="615" y="1704"/>
                    </a:lnTo>
                    <a:lnTo>
                      <a:pt x="626" y="1724"/>
                    </a:lnTo>
                    <a:lnTo>
                      <a:pt x="647" y="1732"/>
                    </a:lnTo>
                    <a:lnTo>
                      <a:pt x="662" y="1715"/>
                    </a:lnTo>
                    <a:lnTo>
                      <a:pt x="672" y="1723"/>
                    </a:lnTo>
                    <a:lnTo>
                      <a:pt x="685" y="1764"/>
                    </a:lnTo>
                    <a:lnTo>
                      <a:pt x="735" y="1794"/>
                    </a:lnTo>
                    <a:lnTo>
                      <a:pt x="793" y="1860"/>
                    </a:lnTo>
                    <a:lnTo>
                      <a:pt x="811" y="1899"/>
                    </a:lnTo>
                    <a:lnTo>
                      <a:pt x="811" y="1990"/>
                    </a:lnTo>
                    <a:lnTo>
                      <a:pt x="847" y="2045"/>
                    </a:lnTo>
                    <a:lnTo>
                      <a:pt x="823" y="2044"/>
                    </a:lnTo>
                    <a:lnTo>
                      <a:pt x="814" y="2068"/>
                    </a:lnTo>
                    <a:lnTo>
                      <a:pt x="825" y="2097"/>
                    </a:lnTo>
                    <a:lnTo>
                      <a:pt x="793" y="2081"/>
                    </a:lnTo>
                    <a:lnTo>
                      <a:pt x="760" y="2087"/>
                    </a:lnTo>
                    <a:lnTo>
                      <a:pt x="708" y="2115"/>
                    </a:lnTo>
                    <a:lnTo>
                      <a:pt x="686" y="2225"/>
                    </a:lnTo>
                    <a:lnTo>
                      <a:pt x="403" y="2652"/>
                    </a:lnTo>
                    <a:lnTo>
                      <a:pt x="373" y="2674"/>
                    </a:lnTo>
                    <a:lnTo>
                      <a:pt x="352" y="2710"/>
                    </a:lnTo>
                    <a:lnTo>
                      <a:pt x="337" y="2723"/>
                    </a:lnTo>
                    <a:lnTo>
                      <a:pt x="316" y="2756"/>
                    </a:lnTo>
                    <a:lnTo>
                      <a:pt x="252" y="2766"/>
                    </a:lnTo>
                    <a:lnTo>
                      <a:pt x="224" y="2754"/>
                    </a:lnTo>
                    <a:lnTo>
                      <a:pt x="203" y="2803"/>
                    </a:lnTo>
                    <a:lnTo>
                      <a:pt x="231" y="2831"/>
                    </a:lnTo>
                    <a:lnTo>
                      <a:pt x="218" y="2840"/>
                    </a:lnTo>
                    <a:lnTo>
                      <a:pt x="161" y="2847"/>
                    </a:lnTo>
                    <a:lnTo>
                      <a:pt x="163" y="2866"/>
                    </a:lnTo>
                    <a:lnTo>
                      <a:pt x="154" y="2892"/>
                    </a:lnTo>
                    <a:lnTo>
                      <a:pt x="132" y="2896"/>
                    </a:lnTo>
                    <a:lnTo>
                      <a:pt x="122" y="2904"/>
                    </a:lnTo>
                    <a:lnTo>
                      <a:pt x="93" y="2991"/>
                    </a:lnTo>
                    <a:lnTo>
                      <a:pt x="110" y="3081"/>
                    </a:lnTo>
                    <a:lnTo>
                      <a:pt x="125" y="3102"/>
                    </a:lnTo>
                    <a:lnTo>
                      <a:pt x="138" y="3143"/>
                    </a:lnTo>
                    <a:lnTo>
                      <a:pt x="127" y="3230"/>
                    </a:lnTo>
                    <a:lnTo>
                      <a:pt x="143" y="3264"/>
                    </a:lnTo>
                    <a:lnTo>
                      <a:pt x="170" y="3296"/>
                    </a:lnTo>
                    <a:lnTo>
                      <a:pt x="187" y="3383"/>
                    </a:lnTo>
                    <a:lnTo>
                      <a:pt x="202" y="3412"/>
                    </a:lnTo>
                    <a:lnTo>
                      <a:pt x="220" y="3430"/>
                    </a:lnTo>
                    <a:lnTo>
                      <a:pt x="224" y="3440"/>
                    </a:lnTo>
                    <a:lnTo>
                      <a:pt x="206" y="3422"/>
                    </a:lnTo>
                    <a:lnTo>
                      <a:pt x="188" y="3424"/>
                    </a:lnTo>
                    <a:lnTo>
                      <a:pt x="177" y="3439"/>
                    </a:lnTo>
                    <a:lnTo>
                      <a:pt x="182" y="3562"/>
                    </a:lnTo>
                    <a:lnTo>
                      <a:pt x="166" y="3611"/>
                    </a:lnTo>
                    <a:lnTo>
                      <a:pt x="155" y="3612"/>
                    </a:lnTo>
                    <a:lnTo>
                      <a:pt x="145" y="3647"/>
                    </a:lnTo>
                    <a:lnTo>
                      <a:pt x="159" y="3666"/>
                    </a:lnTo>
                    <a:lnTo>
                      <a:pt x="160" y="3686"/>
                    </a:lnTo>
                    <a:lnTo>
                      <a:pt x="154" y="3705"/>
                    </a:lnTo>
                    <a:lnTo>
                      <a:pt x="161" y="3723"/>
                    </a:lnTo>
                    <a:lnTo>
                      <a:pt x="188" y="3734"/>
                    </a:lnTo>
                    <a:lnTo>
                      <a:pt x="183" y="3750"/>
                    </a:lnTo>
                    <a:lnTo>
                      <a:pt x="165" y="3753"/>
                    </a:lnTo>
                    <a:lnTo>
                      <a:pt x="169" y="3778"/>
                    </a:lnTo>
                    <a:lnTo>
                      <a:pt x="219" y="3780"/>
                    </a:lnTo>
                    <a:lnTo>
                      <a:pt x="278" y="3826"/>
                    </a:lnTo>
                    <a:lnTo>
                      <a:pt x="380" y="3859"/>
                    </a:lnTo>
                    <a:lnTo>
                      <a:pt x="389" y="3875"/>
                    </a:lnTo>
                    <a:lnTo>
                      <a:pt x="382" y="3902"/>
                    </a:lnTo>
                    <a:lnTo>
                      <a:pt x="411" y="3920"/>
                    </a:lnTo>
                    <a:lnTo>
                      <a:pt x="464" y="3886"/>
                    </a:lnTo>
                    <a:lnTo>
                      <a:pt x="469" y="3905"/>
                    </a:lnTo>
                    <a:lnTo>
                      <a:pt x="469" y="3949"/>
                    </a:lnTo>
                    <a:lnTo>
                      <a:pt x="504" y="3999"/>
                    </a:lnTo>
                    <a:lnTo>
                      <a:pt x="502" y="4022"/>
                    </a:lnTo>
                    <a:lnTo>
                      <a:pt x="530" y="4035"/>
                    </a:lnTo>
                    <a:lnTo>
                      <a:pt x="519" y="4057"/>
                    </a:lnTo>
                    <a:lnTo>
                      <a:pt x="486" y="4085"/>
                    </a:lnTo>
                    <a:lnTo>
                      <a:pt x="503" y="4089"/>
                    </a:lnTo>
                    <a:lnTo>
                      <a:pt x="540" y="4067"/>
                    </a:lnTo>
                    <a:lnTo>
                      <a:pt x="576" y="3994"/>
                    </a:lnTo>
                    <a:lnTo>
                      <a:pt x="584" y="4001"/>
                    </a:lnTo>
                    <a:lnTo>
                      <a:pt x="584" y="4036"/>
                    </a:lnTo>
                    <a:lnTo>
                      <a:pt x="605" y="4042"/>
                    </a:lnTo>
                    <a:lnTo>
                      <a:pt x="687" y="3992"/>
                    </a:lnTo>
                    <a:lnTo>
                      <a:pt x="716" y="3991"/>
                    </a:lnTo>
                    <a:lnTo>
                      <a:pt x="741" y="3978"/>
                    </a:lnTo>
                    <a:lnTo>
                      <a:pt x="758" y="3992"/>
                    </a:lnTo>
                    <a:lnTo>
                      <a:pt x="768" y="3994"/>
                    </a:lnTo>
                    <a:lnTo>
                      <a:pt x="828" y="3931"/>
                    </a:lnTo>
                    <a:lnTo>
                      <a:pt x="855" y="3923"/>
                    </a:lnTo>
                    <a:lnTo>
                      <a:pt x="881" y="3933"/>
                    </a:lnTo>
                    <a:lnTo>
                      <a:pt x="934" y="3894"/>
                    </a:lnTo>
                    <a:lnTo>
                      <a:pt x="967" y="3888"/>
                    </a:lnTo>
                    <a:lnTo>
                      <a:pt x="991" y="3836"/>
                    </a:lnTo>
                    <a:lnTo>
                      <a:pt x="1008" y="3869"/>
                    </a:lnTo>
                    <a:lnTo>
                      <a:pt x="1073" y="3838"/>
                    </a:lnTo>
                    <a:lnTo>
                      <a:pt x="1061" y="3804"/>
                    </a:lnTo>
                    <a:lnTo>
                      <a:pt x="1070" y="3814"/>
                    </a:lnTo>
                    <a:lnTo>
                      <a:pt x="1100" y="3823"/>
                    </a:lnTo>
                    <a:lnTo>
                      <a:pt x="1120" y="3818"/>
                    </a:lnTo>
                    <a:lnTo>
                      <a:pt x="1142" y="3797"/>
                    </a:lnTo>
                    <a:lnTo>
                      <a:pt x="1205" y="3787"/>
                    </a:lnTo>
                    <a:lnTo>
                      <a:pt x="1280" y="3743"/>
                    </a:lnTo>
                    <a:lnTo>
                      <a:pt x="1312" y="3760"/>
                    </a:lnTo>
                    <a:lnTo>
                      <a:pt x="1377" y="3762"/>
                    </a:lnTo>
                    <a:lnTo>
                      <a:pt x="1393" y="3746"/>
                    </a:lnTo>
                    <a:lnTo>
                      <a:pt x="1404" y="3727"/>
                    </a:lnTo>
                    <a:lnTo>
                      <a:pt x="1406" y="3733"/>
                    </a:lnTo>
                    <a:lnTo>
                      <a:pt x="1924" y="3006"/>
                    </a:lnTo>
                    <a:lnTo>
                      <a:pt x="1991" y="2801"/>
                    </a:lnTo>
                    <a:lnTo>
                      <a:pt x="1972" y="2674"/>
                    </a:lnTo>
                    <a:lnTo>
                      <a:pt x="1959" y="2693"/>
                    </a:lnTo>
                    <a:lnTo>
                      <a:pt x="1916" y="2643"/>
                    </a:lnTo>
                    <a:lnTo>
                      <a:pt x="1894" y="2591"/>
                    </a:lnTo>
                    <a:lnTo>
                      <a:pt x="1786" y="2532"/>
                    </a:lnTo>
                    <a:lnTo>
                      <a:pt x="1753" y="2498"/>
                    </a:lnTo>
                    <a:lnTo>
                      <a:pt x="1722" y="2442"/>
                    </a:lnTo>
                    <a:lnTo>
                      <a:pt x="1729" y="2389"/>
                    </a:lnTo>
                    <a:lnTo>
                      <a:pt x="1754" y="2336"/>
                    </a:lnTo>
                    <a:lnTo>
                      <a:pt x="1764" y="2276"/>
                    </a:lnTo>
                    <a:lnTo>
                      <a:pt x="1750" y="2219"/>
                    </a:lnTo>
                    <a:lnTo>
                      <a:pt x="1692" y="2181"/>
                    </a:lnTo>
                    <a:lnTo>
                      <a:pt x="1662" y="2131"/>
                    </a:lnTo>
                    <a:lnTo>
                      <a:pt x="1659" y="2070"/>
                    </a:lnTo>
                    <a:lnTo>
                      <a:pt x="1625" y="2020"/>
                    </a:lnTo>
                    <a:lnTo>
                      <a:pt x="1574" y="2015"/>
                    </a:lnTo>
                    <a:lnTo>
                      <a:pt x="1562" y="1952"/>
                    </a:lnTo>
                    <a:lnTo>
                      <a:pt x="1575" y="1915"/>
                    </a:lnTo>
                    <a:lnTo>
                      <a:pt x="1562" y="1861"/>
                    </a:lnTo>
                    <a:lnTo>
                      <a:pt x="1549" y="1834"/>
                    </a:lnTo>
                    <a:lnTo>
                      <a:pt x="1550" y="1717"/>
                    </a:lnTo>
                    <a:lnTo>
                      <a:pt x="1588" y="1673"/>
                    </a:lnTo>
                    <a:lnTo>
                      <a:pt x="1377" y="1266"/>
                    </a:lnTo>
                    <a:lnTo>
                      <a:pt x="1364" y="1207"/>
                    </a:lnTo>
                    <a:lnTo>
                      <a:pt x="1445" y="934"/>
                    </a:lnTo>
                    <a:lnTo>
                      <a:pt x="1428" y="875"/>
                    </a:lnTo>
                    <a:lnTo>
                      <a:pt x="1326" y="746"/>
                    </a:lnTo>
                    <a:lnTo>
                      <a:pt x="1283" y="730"/>
                    </a:lnTo>
                    <a:lnTo>
                      <a:pt x="1244" y="730"/>
                    </a:lnTo>
                    <a:lnTo>
                      <a:pt x="1216" y="715"/>
                    </a:lnTo>
                    <a:lnTo>
                      <a:pt x="1199" y="696"/>
                    </a:lnTo>
                    <a:lnTo>
                      <a:pt x="1163" y="580"/>
                    </a:lnTo>
                    <a:lnTo>
                      <a:pt x="1183" y="476"/>
                    </a:lnTo>
                    <a:lnTo>
                      <a:pt x="1180" y="466"/>
                    </a:lnTo>
                    <a:lnTo>
                      <a:pt x="1154" y="455"/>
                    </a:lnTo>
                    <a:lnTo>
                      <a:pt x="1222" y="374"/>
                    </a:lnTo>
                    <a:lnTo>
                      <a:pt x="1194" y="359"/>
                    </a:lnTo>
                    <a:lnTo>
                      <a:pt x="1188" y="330"/>
                    </a:lnTo>
                    <a:lnTo>
                      <a:pt x="1193" y="298"/>
                    </a:lnTo>
                    <a:lnTo>
                      <a:pt x="1236" y="230"/>
                    </a:lnTo>
                    <a:lnTo>
                      <a:pt x="1197" y="124"/>
                    </a:lnTo>
                    <a:lnTo>
                      <a:pt x="1145" y="87"/>
                    </a:lnTo>
                    <a:lnTo>
                      <a:pt x="1099" y="75"/>
                    </a:lnTo>
                    <a:lnTo>
                      <a:pt x="1069" y="58"/>
                    </a:lnTo>
                    <a:lnTo>
                      <a:pt x="1037" y="10"/>
                    </a:lnTo>
                    <a:lnTo>
                      <a:pt x="1022" y="0"/>
                    </a:lnTo>
                    <a:lnTo>
                      <a:pt x="875" y="72"/>
                    </a:lnTo>
                    <a:lnTo>
                      <a:pt x="813" y="83"/>
                    </a:lnTo>
                    <a:lnTo>
                      <a:pt x="782" y="105"/>
                    </a:lnTo>
                    <a:lnTo>
                      <a:pt x="758" y="139"/>
                    </a:lnTo>
                    <a:lnTo>
                      <a:pt x="734" y="221"/>
                    </a:lnTo>
                    <a:lnTo>
                      <a:pt x="744" y="454"/>
                    </a:lnTo>
                    <a:lnTo>
                      <a:pt x="682" y="508"/>
                    </a:lnTo>
                    <a:lnTo>
                      <a:pt x="662" y="546"/>
                    </a:lnTo>
                    <a:lnTo>
                      <a:pt x="591" y="595"/>
                    </a:lnTo>
                    <a:lnTo>
                      <a:pt x="562" y="590"/>
                    </a:lnTo>
                    <a:lnTo>
                      <a:pt x="525" y="535"/>
                    </a:lnTo>
                    <a:lnTo>
                      <a:pt x="501" y="519"/>
                    </a:lnTo>
                    <a:lnTo>
                      <a:pt x="456" y="573"/>
                    </a:lnTo>
                    <a:lnTo>
                      <a:pt x="418" y="598"/>
                    </a:lnTo>
                    <a:lnTo>
                      <a:pt x="386" y="604"/>
                    </a:lnTo>
                    <a:lnTo>
                      <a:pt x="344" y="584"/>
                    </a:lnTo>
                    <a:lnTo>
                      <a:pt x="277" y="577"/>
                    </a:lnTo>
                    <a:lnTo>
                      <a:pt x="261" y="556"/>
                    </a:lnTo>
                    <a:lnTo>
                      <a:pt x="247" y="507"/>
                    </a:lnTo>
                    <a:lnTo>
                      <a:pt x="133" y="367"/>
                    </a:lnTo>
                    <a:lnTo>
                      <a:pt x="96" y="353"/>
                    </a:lnTo>
                    <a:lnTo>
                      <a:pt x="64" y="371"/>
                    </a:lnTo>
                    <a:lnTo>
                      <a:pt x="75" y="432"/>
                    </a:lnTo>
                    <a:lnTo>
                      <a:pt x="51" y="441"/>
                    </a:lnTo>
                    <a:lnTo>
                      <a:pt x="30" y="432"/>
                    </a:lnTo>
                    <a:lnTo>
                      <a:pt x="8" y="439"/>
                    </a:lnTo>
                    <a:lnTo>
                      <a:pt x="0" y="460"/>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sp>
          <p:nvSpPr>
            <p:cNvPr id="348" name="Freeform 206"/>
            <p:cNvSpPr>
              <a:spLocks/>
            </p:cNvSpPr>
            <p:nvPr/>
          </p:nvSpPr>
          <p:spPr bwMode="auto">
            <a:xfrm>
              <a:off x="6923742" y="4304112"/>
              <a:ext cx="445018" cy="467749"/>
            </a:xfrm>
            <a:custGeom>
              <a:avLst/>
              <a:gdLst>
                <a:gd name="T0" fmla="*/ 0 w 1098"/>
                <a:gd name="T1" fmla="*/ 0 h 1147"/>
                <a:gd name="T2" fmla="*/ 0 w 1098"/>
                <a:gd name="T3" fmla="*/ 0 h 1147"/>
                <a:gd name="T4" fmla="*/ 0 w 1098"/>
                <a:gd name="T5" fmla="*/ 0 h 1147"/>
                <a:gd name="T6" fmla="*/ 0 w 1098"/>
                <a:gd name="T7" fmla="*/ 0 h 1147"/>
                <a:gd name="T8" fmla="*/ 0 w 1098"/>
                <a:gd name="T9" fmla="*/ 0 h 1147"/>
                <a:gd name="T10" fmla="*/ 0 w 1098"/>
                <a:gd name="T11" fmla="*/ 0 h 1147"/>
                <a:gd name="T12" fmla="*/ 0 w 1098"/>
                <a:gd name="T13" fmla="*/ 0 h 1147"/>
                <a:gd name="T14" fmla="*/ 0 w 1098"/>
                <a:gd name="T15" fmla="*/ 0 h 1147"/>
                <a:gd name="T16" fmla="*/ 0 w 1098"/>
                <a:gd name="T17" fmla="*/ 0 h 1147"/>
                <a:gd name="T18" fmla="*/ 0 w 1098"/>
                <a:gd name="T19" fmla="*/ 0 h 1147"/>
                <a:gd name="T20" fmla="*/ 0 w 1098"/>
                <a:gd name="T21" fmla="*/ 0 h 1147"/>
                <a:gd name="T22" fmla="*/ 0 w 1098"/>
                <a:gd name="T23" fmla="*/ 0 h 1147"/>
                <a:gd name="T24" fmla="*/ 0 w 1098"/>
                <a:gd name="T25" fmla="*/ 0 h 1147"/>
                <a:gd name="T26" fmla="*/ 0 w 1098"/>
                <a:gd name="T27" fmla="*/ 0 h 1147"/>
                <a:gd name="T28" fmla="*/ 0 w 1098"/>
                <a:gd name="T29" fmla="*/ 0 h 1147"/>
                <a:gd name="T30" fmla="*/ 0 w 1098"/>
                <a:gd name="T31" fmla="*/ 0 h 1147"/>
                <a:gd name="T32" fmla="*/ 0 w 1098"/>
                <a:gd name="T33" fmla="*/ 0 h 1147"/>
                <a:gd name="T34" fmla="*/ 0 w 1098"/>
                <a:gd name="T35" fmla="*/ 0 h 1147"/>
                <a:gd name="T36" fmla="*/ 0 w 1098"/>
                <a:gd name="T37" fmla="*/ 0 h 1147"/>
                <a:gd name="T38" fmla="*/ 0 w 1098"/>
                <a:gd name="T39" fmla="*/ 0 h 1147"/>
                <a:gd name="T40" fmla="*/ 0 w 1098"/>
                <a:gd name="T41" fmla="*/ 0 h 1147"/>
                <a:gd name="T42" fmla="*/ 0 w 1098"/>
                <a:gd name="T43" fmla="*/ 0 h 1147"/>
                <a:gd name="T44" fmla="*/ 0 w 1098"/>
                <a:gd name="T45" fmla="*/ 0 h 1147"/>
                <a:gd name="T46" fmla="*/ 0 w 1098"/>
                <a:gd name="T47" fmla="*/ 0 h 1147"/>
                <a:gd name="T48" fmla="*/ 0 w 1098"/>
                <a:gd name="T49" fmla="*/ 0 h 1147"/>
                <a:gd name="T50" fmla="*/ 0 w 1098"/>
                <a:gd name="T51" fmla="*/ 0 h 1147"/>
                <a:gd name="T52" fmla="*/ 0 w 1098"/>
                <a:gd name="T53" fmla="*/ 0 h 1147"/>
                <a:gd name="T54" fmla="*/ 0 w 1098"/>
                <a:gd name="T55" fmla="*/ 0 h 1147"/>
                <a:gd name="T56" fmla="*/ 0 w 1098"/>
                <a:gd name="T57" fmla="*/ 0 h 1147"/>
                <a:gd name="T58" fmla="*/ 0 w 1098"/>
                <a:gd name="T59" fmla="*/ 0 h 1147"/>
                <a:gd name="T60" fmla="*/ 0 w 1098"/>
                <a:gd name="T61" fmla="*/ 0 h 1147"/>
                <a:gd name="T62" fmla="*/ 0 w 1098"/>
                <a:gd name="T63" fmla="*/ 0 h 1147"/>
                <a:gd name="T64" fmla="*/ 0 w 1098"/>
                <a:gd name="T65" fmla="*/ 0 h 1147"/>
                <a:gd name="T66" fmla="*/ 0 w 1098"/>
                <a:gd name="T67" fmla="*/ 0 h 1147"/>
                <a:gd name="T68" fmla="*/ 0 w 1098"/>
                <a:gd name="T69" fmla="*/ 0 h 1147"/>
                <a:gd name="T70" fmla="*/ 0 w 1098"/>
                <a:gd name="T71" fmla="*/ 0 h 1147"/>
                <a:gd name="T72" fmla="*/ 0 w 1098"/>
                <a:gd name="T73" fmla="*/ 0 h 1147"/>
                <a:gd name="T74" fmla="*/ 0 w 1098"/>
                <a:gd name="T75" fmla="*/ 0 h 1147"/>
                <a:gd name="T76" fmla="*/ 0 w 1098"/>
                <a:gd name="T77" fmla="*/ 0 h 1147"/>
                <a:gd name="T78" fmla="*/ 0 w 1098"/>
                <a:gd name="T79" fmla="*/ 0 h 1147"/>
                <a:gd name="T80" fmla="*/ 0 w 1098"/>
                <a:gd name="T81" fmla="*/ 0 h 1147"/>
                <a:gd name="T82" fmla="*/ 0 w 1098"/>
                <a:gd name="T83" fmla="*/ 0 h 1147"/>
                <a:gd name="T84" fmla="*/ 0 w 1098"/>
                <a:gd name="T85" fmla="*/ 0 h 1147"/>
                <a:gd name="T86" fmla="*/ 0 w 1098"/>
                <a:gd name="T87" fmla="*/ 0 h 1147"/>
                <a:gd name="T88" fmla="*/ 0 w 1098"/>
                <a:gd name="T89" fmla="*/ 0 h 114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98"/>
                <a:gd name="T136" fmla="*/ 0 h 1147"/>
                <a:gd name="T137" fmla="*/ 1098 w 1098"/>
                <a:gd name="T138" fmla="*/ 1147 h 114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98" h="1147">
                  <a:moveTo>
                    <a:pt x="747" y="1147"/>
                  </a:moveTo>
                  <a:lnTo>
                    <a:pt x="749" y="1107"/>
                  </a:lnTo>
                  <a:lnTo>
                    <a:pt x="725" y="1105"/>
                  </a:lnTo>
                  <a:lnTo>
                    <a:pt x="727" y="1078"/>
                  </a:lnTo>
                  <a:lnTo>
                    <a:pt x="684" y="1070"/>
                  </a:lnTo>
                  <a:lnTo>
                    <a:pt x="639" y="1021"/>
                  </a:lnTo>
                  <a:lnTo>
                    <a:pt x="604" y="1014"/>
                  </a:lnTo>
                  <a:lnTo>
                    <a:pt x="565" y="981"/>
                  </a:lnTo>
                  <a:lnTo>
                    <a:pt x="562" y="954"/>
                  </a:lnTo>
                  <a:lnTo>
                    <a:pt x="525" y="948"/>
                  </a:lnTo>
                  <a:lnTo>
                    <a:pt x="486" y="970"/>
                  </a:lnTo>
                  <a:lnTo>
                    <a:pt x="480" y="945"/>
                  </a:lnTo>
                  <a:lnTo>
                    <a:pt x="519" y="924"/>
                  </a:lnTo>
                  <a:lnTo>
                    <a:pt x="405" y="795"/>
                  </a:lnTo>
                  <a:lnTo>
                    <a:pt x="399" y="735"/>
                  </a:lnTo>
                  <a:lnTo>
                    <a:pt x="378" y="714"/>
                  </a:lnTo>
                  <a:lnTo>
                    <a:pt x="350" y="702"/>
                  </a:lnTo>
                  <a:lnTo>
                    <a:pt x="252" y="591"/>
                  </a:lnTo>
                  <a:lnTo>
                    <a:pt x="249" y="567"/>
                  </a:lnTo>
                  <a:lnTo>
                    <a:pt x="202" y="495"/>
                  </a:lnTo>
                  <a:lnTo>
                    <a:pt x="166" y="483"/>
                  </a:lnTo>
                  <a:lnTo>
                    <a:pt x="128" y="414"/>
                  </a:lnTo>
                  <a:lnTo>
                    <a:pt x="104" y="412"/>
                  </a:lnTo>
                  <a:lnTo>
                    <a:pt x="109" y="374"/>
                  </a:lnTo>
                  <a:lnTo>
                    <a:pt x="122" y="364"/>
                  </a:lnTo>
                  <a:lnTo>
                    <a:pt x="103" y="334"/>
                  </a:lnTo>
                  <a:lnTo>
                    <a:pt x="103" y="305"/>
                  </a:lnTo>
                  <a:lnTo>
                    <a:pt x="78" y="272"/>
                  </a:lnTo>
                  <a:lnTo>
                    <a:pt x="59" y="209"/>
                  </a:lnTo>
                  <a:lnTo>
                    <a:pt x="36" y="204"/>
                  </a:lnTo>
                  <a:lnTo>
                    <a:pt x="0" y="168"/>
                  </a:lnTo>
                  <a:lnTo>
                    <a:pt x="2" y="157"/>
                  </a:lnTo>
                  <a:lnTo>
                    <a:pt x="20" y="146"/>
                  </a:lnTo>
                  <a:lnTo>
                    <a:pt x="16" y="125"/>
                  </a:lnTo>
                  <a:lnTo>
                    <a:pt x="22" y="29"/>
                  </a:lnTo>
                  <a:lnTo>
                    <a:pt x="52" y="0"/>
                  </a:lnTo>
                  <a:lnTo>
                    <a:pt x="96" y="11"/>
                  </a:lnTo>
                  <a:lnTo>
                    <a:pt x="98" y="27"/>
                  </a:lnTo>
                  <a:lnTo>
                    <a:pt x="162" y="102"/>
                  </a:lnTo>
                  <a:lnTo>
                    <a:pt x="177" y="104"/>
                  </a:lnTo>
                  <a:lnTo>
                    <a:pt x="228" y="19"/>
                  </a:lnTo>
                  <a:lnTo>
                    <a:pt x="321" y="34"/>
                  </a:lnTo>
                  <a:lnTo>
                    <a:pt x="342" y="8"/>
                  </a:lnTo>
                  <a:lnTo>
                    <a:pt x="350" y="8"/>
                  </a:lnTo>
                  <a:lnTo>
                    <a:pt x="410" y="57"/>
                  </a:lnTo>
                  <a:lnTo>
                    <a:pt x="430" y="58"/>
                  </a:lnTo>
                  <a:lnTo>
                    <a:pt x="442" y="44"/>
                  </a:lnTo>
                  <a:lnTo>
                    <a:pt x="461" y="65"/>
                  </a:lnTo>
                  <a:lnTo>
                    <a:pt x="538" y="78"/>
                  </a:lnTo>
                  <a:lnTo>
                    <a:pt x="545" y="70"/>
                  </a:lnTo>
                  <a:lnTo>
                    <a:pt x="555" y="71"/>
                  </a:lnTo>
                  <a:lnTo>
                    <a:pt x="597" y="106"/>
                  </a:lnTo>
                  <a:lnTo>
                    <a:pt x="611" y="104"/>
                  </a:lnTo>
                  <a:lnTo>
                    <a:pt x="642" y="70"/>
                  </a:lnTo>
                  <a:lnTo>
                    <a:pt x="660" y="73"/>
                  </a:lnTo>
                  <a:lnTo>
                    <a:pt x="678" y="97"/>
                  </a:lnTo>
                  <a:lnTo>
                    <a:pt x="693" y="101"/>
                  </a:lnTo>
                  <a:lnTo>
                    <a:pt x="708" y="80"/>
                  </a:lnTo>
                  <a:lnTo>
                    <a:pt x="763" y="88"/>
                  </a:lnTo>
                  <a:lnTo>
                    <a:pt x="783" y="117"/>
                  </a:lnTo>
                  <a:lnTo>
                    <a:pt x="794" y="109"/>
                  </a:lnTo>
                  <a:lnTo>
                    <a:pt x="794" y="97"/>
                  </a:lnTo>
                  <a:lnTo>
                    <a:pt x="829" y="100"/>
                  </a:lnTo>
                  <a:lnTo>
                    <a:pt x="864" y="140"/>
                  </a:lnTo>
                  <a:lnTo>
                    <a:pt x="856" y="160"/>
                  </a:lnTo>
                  <a:lnTo>
                    <a:pt x="857" y="172"/>
                  </a:lnTo>
                  <a:lnTo>
                    <a:pt x="883" y="194"/>
                  </a:lnTo>
                  <a:lnTo>
                    <a:pt x="925" y="192"/>
                  </a:lnTo>
                  <a:lnTo>
                    <a:pt x="958" y="168"/>
                  </a:lnTo>
                  <a:lnTo>
                    <a:pt x="1018" y="174"/>
                  </a:lnTo>
                  <a:lnTo>
                    <a:pt x="1031" y="189"/>
                  </a:lnTo>
                  <a:lnTo>
                    <a:pt x="1021" y="206"/>
                  </a:lnTo>
                  <a:lnTo>
                    <a:pt x="1021" y="228"/>
                  </a:lnTo>
                  <a:lnTo>
                    <a:pt x="971" y="320"/>
                  </a:lnTo>
                  <a:lnTo>
                    <a:pt x="960" y="327"/>
                  </a:lnTo>
                  <a:lnTo>
                    <a:pt x="960" y="342"/>
                  </a:lnTo>
                  <a:lnTo>
                    <a:pt x="967" y="352"/>
                  </a:lnTo>
                  <a:lnTo>
                    <a:pt x="949" y="379"/>
                  </a:lnTo>
                  <a:lnTo>
                    <a:pt x="960" y="413"/>
                  </a:lnTo>
                  <a:lnTo>
                    <a:pt x="977" y="417"/>
                  </a:lnTo>
                  <a:lnTo>
                    <a:pt x="990" y="427"/>
                  </a:lnTo>
                  <a:lnTo>
                    <a:pt x="1010" y="422"/>
                  </a:lnTo>
                  <a:lnTo>
                    <a:pt x="1018" y="437"/>
                  </a:lnTo>
                  <a:lnTo>
                    <a:pt x="1022" y="454"/>
                  </a:lnTo>
                  <a:lnTo>
                    <a:pt x="1043" y="476"/>
                  </a:lnTo>
                  <a:lnTo>
                    <a:pt x="1057" y="474"/>
                  </a:lnTo>
                  <a:lnTo>
                    <a:pt x="1063" y="480"/>
                  </a:lnTo>
                  <a:lnTo>
                    <a:pt x="1062" y="493"/>
                  </a:lnTo>
                  <a:lnTo>
                    <a:pt x="1083" y="507"/>
                  </a:lnTo>
                  <a:lnTo>
                    <a:pt x="1096" y="509"/>
                  </a:lnTo>
                  <a:lnTo>
                    <a:pt x="1098" y="526"/>
                  </a:lnTo>
                  <a:lnTo>
                    <a:pt x="1076" y="548"/>
                  </a:lnTo>
                  <a:lnTo>
                    <a:pt x="1035" y="549"/>
                  </a:lnTo>
                  <a:lnTo>
                    <a:pt x="1010" y="533"/>
                  </a:lnTo>
                  <a:lnTo>
                    <a:pt x="996" y="533"/>
                  </a:lnTo>
                  <a:lnTo>
                    <a:pt x="990" y="540"/>
                  </a:lnTo>
                  <a:lnTo>
                    <a:pt x="1060" y="633"/>
                  </a:lnTo>
                  <a:lnTo>
                    <a:pt x="1070" y="639"/>
                  </a:lnTo>
                  <a:lnTo>
                    <a:pt x="1067" y="678"/>
                  </a:lnTo>
                  <a:lnTo>
                    <a:pt x="1061" y="693"/>
                  </a:lnTo>
                  <a:lnTo>
                    <a:pt x="1045" y="700"/>
                  </a:lnTo>
                  <a:lnTo>
                    <a:pt x="1033" y="688"/>
                  </a:lnTo>
                  <a:lnTo>
                    <a:pt x="1020" y="687"/>
                  </a:lnTo>
                  <a:lnTo>
                    <a:pt x="1006" y="708"/>
                  </a:lnTo>
                  <a:lnTo>
                    <a:pt x="983" y="720"/>
                  </a:lnTo>
                  <a:lnTo>
                    <a:pt x="962" y="720"/>
                  </a:lnTo>
                  <a:lnTo>
                    <a:pt x="951" y="728"/>
                  </a:lnTo>
                  <a:lnTo>
                    <a:pt x="938" y="727"/>
                  </a:lnTo>
                  <a:lnTo>
                    <a:pt x="932" y="713"/>
                  </a:lnTo>
                  <a:lnTo>
                    <a:pt x="914" y="714"/>
                  </a:lnTo>
                  <a:lnTo>
                    <a:pt x="898" y="731"/>
                  </a:lnTo>
                  <a:lnTo>
                    <a:pt x="905" y="746"/>
                  </a:lnTo>
                  <a:lnTo>
                    <a:pt x="923" y="755"/>
                  </a:lnTo>
                  <a:lnTo>
                    <a:pt x="927" y="781"/>
                  </a:lnTo>
                  <a:lnTo>
                    <a:pt x="938" y="796"/>
                  </a:lnTo>
                  <a:lnTo>
                    <a:pt x="938" y="826"/>
                  </a:lnTo>
                  <a:lnTo>
                    <a:pt x="931" y="837"/>
                  </a:lnTo>
                  <a:lnTo>
                    <a:pt x="917" y="835"/>
                  </a:lnTo>
                  <a:lnTo>
                    <a:pt x="909" y="826"/>
                  </a:lnTo>
                  <a:lnTo>
                    <a:pt x="902" y="797"/>
                  </a:lnTo>
                  <a:lnTo>
                    <a:pt x="893" y="789"/>
                  </a:lnTo>
                  <a:lnTo>
                    <a:pt x="869" y="789"/>
                  </a:lnTo>
                  <a:lnTo>
                    <a:pt x="824" y="829"/>
                  </a:lnTo>
                  <a:lnTo>
                    <a:pt x="817" y="855"/>
                  </a:lnTo>
                  <a:lnTo>
                    <a:pt x="808" y="866"/>
                  </a:lnTo>
                  <a:lnTo>
                    <a:pt x="808" y="906"/>
                  </a:lnTo>
                  <a:lnTo>
                    <a:pt x="796" y="917"/>
                  </a:lnTo>
                  <a:lnTo>
                    <a:pt x="773" y="917"/>
                  </a:lnTo>
                  <a:lnTo>
                    <a:pt x="758" y="933"/>
                  </a:lnTo>
                  <a:lnTo>
                    <a:pt x="755" y="981"/>
                  </a:lnTo>
                  <a:lnTo>
                    <a:pt x="749" y="985"/>
                  </a:lnTo>
                  <a:lnTo>
                    <a:pt x="750" y="1001"/>
                  </a:lnTo>
                  <a:lnTo>
                    <a:pt x="778" y="1043"/>
                  </a:lnTo>
                  <a:lnTo>
                    <a:pt x="777" y="1066"/>
                  </a:lnTo>
                  <a:lnTo>
                    <a:pt x="749" y="1107"/>
                  </a:lnTo>
                  <a:lnTo>
                    <a:pt x="747" y="1147"/>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nvGrpSpPr>
            <p:cNvPr id="349" name="Group 556"/>
            <p:cNvGrpSpPr/>
            <p:nvPr/>
          </p:nvGrpSpPr>
          <p:grpSpPr>
            <a:xfrm>
              <a:off x="7368498" y="4853663"/>
              <a:ext cx="875344" cy="889353"/>
              <a:chOff x="10260238" y="3460489"/>
              <a:chExt cx="566110" cy="575170"/>
            </a:xfrm>
            <a:noFill/>
          </p:grpSpPr>
          <p:sp>
            <p:nvSpPr>
              <p:cNvPr id="539" name="Freeform 178"/>
              <p:cNvSpPr>
                <a:spLocks/>
              </p:cNvSpPr>
              <p:nvPr/>
            </p:nvSpPr>
            <p:spPr bwMode="auto">
              <a:xfrm>
                <a:off x="10645790" y="3574438"/>
                <a:ext cx="23079" cy="21705"/>
              </a:xfrm>
              <a:custGeom>
                <a:avLst/>
                <a:gdLst>
                  <a:gd name="T0" fmla="*/ 0 w 92"/>
                  <a:gd name="T1" fmla="*/ 0 h 85"/>
                  <a:gd name="T2" fmla="*/ 0 w 92"/>
                  <a:gd name="T3" fmla="*/ 0 h 85"/>
                  <a:gd name="T4" fmla="*/ 0 w 92"/>
                  <a:gd name="T5" fmla="*/ 0 h 85"/>
                  <a:gd name="T6" fmla="*/ 0 w 92"/>
                  <a:gd name="T7" fmla="*/ 0 h 85"/>
                  <a:gd name="T8" fmla="*/ 0 w 92"/>
                  <a:gd name="T9" fmla="*/ 0 h 85"/>
                  <a:gd name="T10" fmla="*/ 0 w 92"/>
                  <a:gd name="T11" fmla="*/ 0 h 85"/>
                  <a:gd name="T12" fmla="*/ 0 w 92"/>
                  <a:gd name="T13" fmla="*/ 0 h 85"/>
                  <a:gd name="T14" fmla="*/ 0 w 92"/>
                  <a:gd name="T15" fmla="*/ 0 h 85"/>
                  <a:gd name="T16" fmla="*/ 0 w 92"/>
                  <a:gd name="T17" fmla="*/ 0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85"/>
                  <a:gd name="T29" fmla="*/ 92 w 92"/>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85">
                    <a:moveTo>
                      <a:pt x="63" y="74"/>
                    </a:moveTo>
                    <a:lnTo>
                      <a:pt x="92" y="59"/>
                    </a:lnTo>
                    <a:lnTo>
                      <a:pt x="77" y="46"/>
                    </a:lnTo>
                    <a:lnTo>
                      <a:pt x="72" y="7"/>
                    </a:lnTo>
                    <a:lnTo>
                      <a:pt x="46" y="0"/>
                    </a:lnTo>
                    <a:lnTo>
                      <a:pt x="0" y="46"/>
                    </a:lnTo>
                    <a:lnTo>
                      <a:pt x="6" y="70"/>
                    </a:lnTo>
                    <a:lnTo>
                      <a:pt x="39" y="85"/>
                    </a:lnTo>
                    <a:lnTo>
                      <a:pt x="63" y="74"/>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0" name="Freeform 179"/>
              <p:cNvSpPr>
                <a:spLocks/>
              </p:cNvSpPr>
              <p:nvPr/>
            </p:nvSpPr>
            <p:spPr bwMode="auto">
              <a:xfrm>
                <a:off x="10645790" y="3574438"/>
                <a:ext cx="23079" cy="21705"/>
              </a:xfrm>
              <a:custGeom>
                <a:avLst/>
                <a:gdLst>
                  <a:gd name="T0" fmla="*/ 0 w 92"/>
                  <a:gd name="T1" fmla="*/ 0 h 85"/>
                  <a:gd name="T2" fmla="*/ 0 w 92"/>
                  <a:gd name="T3" fmla="*/ 0 h 85"/>
                  <a:gd name="T4" fmla="*/ 0 w 92"/>
                  <a:gd name="T5" fmla="*/ 0 h 85"/>
                  <a:gd name="T6" fmla="*/ 0 w 92"/>
                  <a:gd name="T7" fmla="*/ 0 h 85"/>
                  <a:gd name="T8" fmla="*/ 0 w 92"/>
                  <a:gd name="T9" fmla="*/ 0 h 85"/>
                  <a:gd name="T10" fmla="*/ 0 w 92"/>
                  <a:gd name="T11" fmla="*/ 0 h 85"/>
                  <a:gd name="T12" fmla="*/ 0 w 92"/>
                  <a:gd name="T13" fmla="*/ 0 h 85"/>
                  <a:gd name="T14" fmla="*/ 0 w 92"/>
                  <a:gd name="T15" fmla="*/ 0 h 85"/>
                  <a:gd name="T16" fmla="*/ 0 w 92"/>
                  <a:gd name="T17" fmla="*/ 0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85"/>
                  <a:gd name="T29" fmla="*/ 92 w 92"/>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85">
                    <a:moveTo>
                      <a:pt x="63" y="74"/>
                    </a:moveTo>
                    <a:lnTo>
                      <a:pt x="92" y="59"/>
                    </a:lnTo>
                    <a:lnTo>
                      <a:pt x="77" y="46"/>
                    </a:lnTo>
                    <a:lnTo>
                      <a:pt x="72" y="7"/>
                    </a:lnTo>
                    <a:lnTo>
                      <a:pt x="46" y="0"/>
                    </a:lnTo>
                    <a:lnTo>
                      <a:pt x="0" y="46"/>
                    </a:lnTo>
                    <a:lnTo>
                      <a:pt x="6" y="70"/>
                    </a:lnTo>
                    <a:lnTo>
                      <a:pt x="39" y="85"/>
                    </a:lnTo>
                    <a:lnTo>
                      <a:pt x="63" y="74"/>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1" name="Freeform 180"/>
              <p:cNvSpPr>
                <a:spLocks/>
              </p:cNvSpPr>
              <p:nvPr/>
            </p:nvSpPr>
            <p:spPr bwMode="auto">
              <a:xfrm>
                <a:off x="10690590" y="3655830"/>
                <a:ext cx="27152" cy="20348"/>
              </a:xfrm>
              <a:custGeom>
                <a:avLst/>
                <a:gdLst>
                  <a:gd name="T0" fmla="*/ 0 w 102"/>
                  <a:gd name="T1" fmla="*/ 0 h 77"/>
                  <a:gd name="T2" fmla="*/ 0 w 102"/>
                  <a:gd name="T3" fmla="*/ 0 h 77"/>
                  <a:gd name="T4" fmla="*/ 0 w 102"/>
                  <a:gd name="T5" fmla="*/ 0 h 77"/>
                  <a:gd name="T6" fmla="*/ 0 w 102"/>
                  <a:gd name="T7" fmla="*/ 0 h 77"/>
                  <a:gd name="T8" fmla="*/ 0 w 102"/>
                  <a:gd name="T9" fmla="*/ 0 h 77"/>
                  <a:gd name="T10" fmla="*/ 0 w 102"/>
                  <a:gd name="T11" fmla="*/ 0 h 77"/>
                  <a:gd name="T12" fmla="*/ 0 w 102"/>
                  <a:gd name="T13" fmla="*/ 0 h 77"/>
                  <a:gd name="T14" fmla="*/ 0 w 102"/>
                  <a:gd name="T15" fmla="*/ 0 h 77"/>
                  <a:gd name="T16" fmla="*/ 0 w 102"/>
                  <a:gd name="T17" fmla="*/ 0 h 77"/>
                  <a:gd name="T18" fmla="*/ 0 w 102"/>
                  <a:gd name="T19" fmla="*/ 0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2"/>
                  <a:gd name="T31" fmla="*/ 0 h 77"/>
                  <a:gd name="T32" fmla="*/ 102 w 102"/>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2" h="77">
                    <a:moveTo>
                      <a:pt x="102" y="22"/>
                    </a:moveTo>
                    <a:lnTo>
                      <a:pt x="92" y="23"/>
                    </a:lnTo>
                    <a:lnTo>
                      <a:pt x="87" y="1"/>
                    </a:lnTo>
                    <a:lnTo>
                      <a:pt x="54" y="0"/>
                    </a:lnTo>
                    <a:lnTo>
                      <a:pt x="11" y="12"/>
                    </a:lnTo>
                    <a:lnTo>
                      <a:pt x="0" y="67"/>
                    </a:lnTo>
                    <a:lnTo>
                      <a:pt x="21" y="77"/>
                    </a:lnTo>
                    <a:lnTo>
                      <a:pt x="36" y="57"/>
                    </a:lnTo>
                    <a:lnTo>
                      <a:pt x="78" y="72"/>
                    </a:lnTo>
                    <a:lnTo>
                      <a:pt x="102" y="22"/>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2" name="Freeform 181"/>
              <p:cNvSpPr>
                <a:spLocks/>
              </p:cNvSpPr>
              <p:nvPr/>
            </p:nvSpPr>
            <p:spPr bwMode="auto">
              <a:xfrm>
                <a:off x="10690590" y="3655830"/>
                <a:ext cx="27152" cy="20348"/>
              </a:xfrm>
              <a:custGeom>
                <a:avLst/>
                <a:gdLst>
                  <a:gd name="T0" fmla="*/ 0 w 102"/>
                  <a:gd name="T1" fmla="*/ 0 h 77"/>
                  <a:gd name="T2" fmla="*/ 0 w 102"/>
                  <a:gd name="T3" fmla="*/ 0 h 77"/>
                  <a:gd name="T4" fmla="*/ 0 w 102"/>
                  <a:gd name="T5" fmla="*/ 0 h 77"/>
                  <a:gd name="T6" fmla="*/ 0 w 102"/>
                  <a:gd name="T7" fmla="*/ 0 h 77"/>
                  <a:gd name="T8" fmla="*/ 0 w 102"/>
                  <a:gd name="T9" fmla="*/ 0 h 77"/>
                  <a:gd name="T10" fmla="*/ 0 w 102"/>
                  <a:gd name="T11" fmla="*/ 0 h 77"/>
                  <a:gd name="T12" fmla="*/ 0 w 102"/>
                  <a:gd name="T13" fmla="*/ 0 h 77"/>
                  <a:gd name="T14" fmla="*/ 0 w 102"/>
                  <a:gd name="T15" fmla="*/ 0 h 77"/>
                  <a:gd name="T16" fmla="*/ 0 w 102"/>
                  <a:gd name="T17" fmla="*/ 0 h 77"/>
                  <a:gd name="T18" fmla="*/ 0 w 102"/>
                  <a:gd name="T19" fmla="*/ 0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2"/>
                  <a:gd name="T31" fmla="*/ 0 h 77"/>
                  <a:gd name="T32" fmla="*/ 102 w 102"/>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2" h="77">
                    <a:moveTo>
                      <a:pt x="102" y="22"/>
                    </a:moveTo>
                    <a:lnTo>
                      <a:pt x="92" y="23"/>
                    </a:lnTo>
                    <a:lnTo>
                      <a:pt x="87" y="1"/>
                    </a:lnTo>
                    <a:lnTo>
                      <a:pt x="54" y="0"/>
                    </a:lnTo>
                    <a:lnTo>
                      <a:pt x="11" y="12"/>
                    </a:lnTo>
                    <a:lnTo>
                      <a:pt x="0" y="67"/>
                    </a:lnTo>
                    <a:lnTo>
                      <a:pt x="21" y="77"/>
                    </a:lnTo>
                    <a:lnTo>
                      <a:pt x="36" y="57"/>
                    </a:lnTo>
                    <a:lnTo>
                      <a:pt x="78" y="72"/>
                    </a:lnTo>
                    <a:lnTo>
                      <a:pt x="102" y="22"/>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3" name="Freeform 182"/>
              <p:cNvSpPr>
                <a:spLocks/>
              </p:cNvSpPr>
              <p:nvPr/>
            </p:nvSpPr>
            <p:spPr bwMode="auto">
              <a:xfrm>
                <a:off x="10763899" y="3704665"/>
                <a:ext cx="62449" cy="46122"/>
              </a:xfrm>
              <a:custGeom>
                <a:avLst/>
                <a:gdLst>
                  <a:gd name="T0" fmla="*/ 0 w 241"/>
                  <a:gd name="T1" fmla="*/ 0 h 176"/>
                  <a:gd name="T2" fmla="*/ 0 w 241"/>
                  <a:gd name="T3" fmla="*/ 0 h 176"/>
                  <a:gd name="T4" fmla="*/ 0 w 241"/>
                  <a:gd name="T5" fmla="*/ 0 h 176"/>
                  <a:gd name="T6" fmla="*/ 0 w 241"/>
                  <a:gd name="T7" fmla="*/ 0 h 176"/>
                  <a:gd name="T8" fmla="*/ 0 w 241"/>
                  <a:gd name="T9" fmla="*/ 0 h 176"/>
                  <a:gd name="T10" fmla="*/ 0 w 241"/>
                  <a:gd name="T11" fmla="*/ 0 h 176"/>
                  <a:gd name="T12" fmla="*/ 0 w 241"/>
                  <a:gd name="T13" fmla="*/ 0 h 176"/>
                  <a:gd name="T14" fmla="*/ 0 w 241"/>
                  <a:gd name="T15" fmla="*/ 0 h 176"/>
                  <a:gd name="T16" fmla="*/ 0 w 241"/>
                  <a:gd name="T17" fmla="*/ 0 h 176"/>
                  <a:gd name="T18" fmla="*/ 0 w 241"/>
                  <a:gd name="T19" fmla="*/ 0 h 176"/>
                  <a:gd name="T20" fmla="*/ 0 w 241"/>
                  <a:gd name="T21" fmla="*/ 0 h 176"/>
                  <a:gd name="T22" fmla="*/ 0 w 241"/>
                  <a:gd name="T23" fmla="*/ 0 h 176"/>
                  <a:gd name="T24" fmla="*/ 0 w 241"/>
                  <a:gd name="T25" fmla="*/ 0 h 1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1"/>
                  <a:gd name="T40" fmla="*/ 0 h 176"/>
                  <a:gd name="T41" fmla="*/ 241 w 241"/>
                  <a:gd name="T42" fmla="*/ 176 h 1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1" h="176">
                    <a:moveTo>
                      <a:pt x="207" y="143"/>
                    </a:moveTo>
                    <a:lnTo>
                      <a:pt x="241" y="147"/>
                    </a:lnTo>
                    <a:lnTo>
                      <a:pt x="144" y="0"/>
                    </a:lnTo>
                    <a:lnTo>
                      <a:pt x="11" y="74"/>
                    </a:lnTo>
                    <a:lnTo>
                      <a:pt x="0" y="125"/>
                    </a:lnTo>
                    <a:lnTo>
                      <a:pt x="39" y="130"/>
                    </a:lnTo>
                    <a:lnTo>
                      <a:pt x="80" y="103"/>
                    </a:lnTo>
                    <a:lnTo>
                      <a:pt x="114" y="96"/>
                    </a:lnTo>
                    <a:lnTo>
                      <a:pt x="91" y="155"/>
                    </a:lnTo>
                    <a:lnTo>
                      <a:pt x="141" y="176"/>
                    </a:lnTo>
                    <a:lnTo>
                      <a:pt x="186" y="145"/>
                    </a:lnTo>
                    <a:lnTo>
                      <a:pt x="185" y="124"/>
                    </a:lnTo>
                    <a:lnTo>
                      <a:pt x="207" y="143"/>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4" name="Freeform 183"/>
              <p:cNvSpPr>
                <a:spLocks/>
              </p:cNvSpPr>
              <p:nvPr/>
            </p:nvSpPr>
            <p:spPr bwMode="auto">
              <a:xfrm>
                <a:off x="10763899" y="3704665"/>
                <a:ext cx="62449" cy="46122"/>
              </a:xfrm>
              <a:custGeom>
                <a:avLst/>
                <a:gdLst>
                  <a:gd name="T0" fmla="*/ 0 w 241"/>
                  <a:gd name="T1" fmla="*/ 0 h 176"/>
                  <a:gd name="T2" fmla="*/ 0 w 241"/>
                  <a:gd name="T3" fmla="*/ 0 h 176"/>
                  <a:gd name="T4" fmla="*/ 0 w 241"/>
                  <a:gd name="T5" fmla="*/ 0 h 176"/>
                  <a:gd name="T6" fmla="*/ 0 w 241"/>
                  <a:gd name="T7" fmla="*/ 0 h 176"/>
                  <a:gd name="T8" fmla="*/ 0 w 241"/>
                  <a:gd name="T9" fmla="*/ 0 h 176"/>
                  <a:gd name="T10" fmla="*/ 0 w 241"/>
                  <a:gd name="T11" fmla="*/ 0 h 176"/>
                  <a:gd name="T12" fmla="*/ 0 w 241"/>
                  <a:gd name="T13" fmla="*/ 0 h 176"/>
                  <a:gd name="T14" fmla="*/ 0 w 241"/>
                  <a:gd name="T15" fmla="*/ 0 h 176"/>
                  <a:gd name="T16" fmla="*/ 0 w 241"/>
                  <a:gd name="T17" fmla="*/ 0 h 176"/>
                  <a:gd name="T18" fmla="*/ 0 w 241"/>
                  <a:gd name="T19" fmla="*/ 0 h 176"/>
                  <a:gd name="T20" fmla="*/ 0 w 241"/>
                  <a:gd name="T21" fmla="*/ 0 h 176"/>
                  <a:gd name="T22" fmla="*/ 0 w 241"/>
                  <a:gd name="T23" fmla="*/ 0 h 176"/>
                  <a:gd name="T24" fmla="*/ 0 w 241"/>
                  <a:gd name="T25" fmla="*/ 0 h 1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1"/>
                  <a:gd name="T40" fmla="*/ 0 h 176"/>
                  <a:gd name="T41" fmla="*/ 241 w 241"/>
                  <a:gd name="T42" fmla="*/ 176 h 1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1" h="176">
                    <a:moveTo>
                      <a:pt x="207" y="143"/>
                    </a:moveTo>
                    <a:lnTo>
                      <a:pt x="241" y="147"/>
                    </a:lnTo>
                    <a:lnTo>
                      <a:pt x="144" y="0"/>
                    </a:lnTo>
                    <a:lnTo>
                      <a:pt x="11" y="74"/>
                    </a:lnTo>
                    <a:lnTo>
                      <a:pt x="0" y="125"/>
                    </a:lnTo>
                    <a:lnTo>
                      <a:pt x="39" y="130"/>
                    </a:lnTo>
                    <a:lnTo>
                      <a:pt x="80" y="103"/>
                    </a:lnTo>
                    <a:lnTo>
                      <a:pt x="114" y="96"/>
                    </a:lnTo>
                    <a:lnTo>
                      <a:pt x="91" y="155"/>
                    </a:lnTo>
                    <a:lnTo>
                      <a:pt x="141" y="176"/>
                    </a:lnTo>
                    <a:lnTo>
                      <a:pt x="186" y="145"/>
                    </a:lnTo>
                    <a:lnTo>
                      <a:pt x="185" y="124"/>
                    </a:lnTo>
                    <a:lnTo>
                      <a:pt x="207" y="143"/>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5" name="Freeform 184"/>
              <p:cNvSpPr>
                <a:spLocks/>
              </p:cNvSpPr>
              <p:nvPr/>
            </p:nvSpPr>
            <p:spPr bwMode="auto">
              <a:xfrm>
                <a:off x="10767972" y="3791483"/>
                <a:ext cx="20364" cy="40696"/>
              </a:xfrm>
              <a:custGeom>
                <a:avLst/>
                <a:gdLst>
                  <a:gd name="T0" fmla="*/ 0 w 81"/>
                  <a:gd name="T1" fmla="*/ 0 h 155"/>
                  <a:gd name="T2" fmla="*/ 0 w 81"/>
                  <a:gd name="T3" fmla="*/ 0 h 155"/>
                  <a:gd name="T4" fmla="*/ 0 w 81"/>
                  <a:gd name="T5" fmla="*/ 0 h 155"/>
                  <a:gd name="T6" fmla="*/ 0 w 81"/>
                  <a:gd name="T7" fmla="*/ 0 h 155"/>
                  <a:gd name="T8" fmla="*/ 0 w 81"/>
                  <a:gd name="T9" fmla="*/ 0 h 155"/>
                  <a:gd name="T10" fmla="*/ 0 w 81"/>
                  <a:gd name="T11" fmla="*/ 0 h 155"/>
                  <a:gd name="T12" fmla="*/ 0 w 81"/>
                  <a:gd name="T13" fmla="*/ 0 h 155"/>
                  <a:gd name="T14" fmla="*/ 0 w 81"/>
                  <a:gd name="T15" fmla="*/ 0 h 155"/>
                  <a:gd name="T16" fmla="*/ 0 w 81"/>
                  <a:gd name="T17" fmla="*/ 0 h 155"/>
                  <a:gd name="T18" fmla="*/ 0 w 81"/>
                  <a:gd name="T19" fmla="*/ 0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155"/>
                  <a:gd name="T32" fmla="*/ 81 w 81"/>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155">
                    <a:moveTo>
                      <a:pt x="39" y="155"/>
                    </a:moveTo>
                    <a:lnTo>
                      <a:pt x="75" y="128"/>
                    </a:lnTo>
                    <a:lnTo>
                      <a:pt x="81" y="25"/>
                    </a:lnTo>
                    <a:lnTo>
                      <a:pt x="66" y="2"/>
                    </a:lnTo>
                    <a:lnTo>
                      <a:pt x="0" y="0"/>
                    </a:lnTo>
                    <a:lnTo>
                      <a:pt x="3" y="44"/>
                    </a:lnTo>
                    <a:lnTo>
                      <a:pt x="42" y="87"/>
                    </a:lnTo>
                    <a:lnTo>
                      <a:pt x="16" y="127"/>
                    </a:lnTo>
                    <a:lnTo>
                      <a:pt x="17" y="153"/>
                    </a:lnTo>
                    <a:lnTo>
                      <a:pt x="39" y="155"/>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6" name="Freeform 185"/>
              <p:cNvSpPr>
                <a:spLocks/>
              </p:cNvSpPr>
              <p:nvPr/>
            </p:nvSpPr>
            <p:spPr bwMode="auto">
              <a:xfrm>
                <a:off x="10767972" y="3791483"/>
                <a:ext cx="20364" cy="40696"/>
              </a:xfrm>
              <a:custGeom>
                <a:avLst/>
                <a:gdLst>
                  <a:gd name="T0" fmla="*/ 0 w 81"/>
                  <a:gd name="T1" fmla="*/ 0 h 155"/>
                  <a:gd name="T2" fmla="*/ 0 w 81"/>
                  <a:gd name="T3" fmla="*/ 0 h 155"/>
                  <a:gd name="T4" fmla="*/ 0 w 81"/>
                  <a:gd name="T5" fmla="*/ 0 h 155"/>
                  <a:gd name="T6" fmla="*/ 0 w 81"/>
                  <a:gd name="T7" fmla="*/ 0 h 155"/>
                  <a:gd name="T8" fmla="*/ 0 w 81"/>
                  <a:gd name="T9" fmla="*/ 0 h 155"/>
                  <a:gd name="T10" fmla="*/ 0 w 81"/>
                  <a:gd name="T11" fmla="*/ 0 h 155"/>
                  <a:gd name="T12" fmla="*/ 0 w 81"/>
                  <a:gd name="T13" fmla="*/ 0 h 155"/>
                  <a:gd name="T14" fmla="*/ 0 w 81"/>
                  <a:gd name="T15" fmla="*/ 0 h 155"/>
                  <a:gd name="T16" fmla="*/ 0 w 81"/>
                  <a:gd name="T17" fmla="*/ 0 h 155"/>
                  <a:gd name="T18" fmla="*/ 0 w 81"/>
                  <a:gd name="T19" fmla="*/ 0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155"/>
                  <a:gd name="T32" fmla="*/ 81 w 81"/>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155">
                    <a:moveTo>
                      <a:pt x="39" y="155"/>
                    </a:moveTo>
                    <a:lnTo>
                      <a:pt x="75" y="128"/>
                    </a:lnTo>
                    <a:lnTo>
                      <a:pt x="81" y="25"/>
                    </a:lnTo>
                    <a:lnTo>
                      <a:pt x="66" y="2"/>
                    </a:lnTo>
                    <a:lnTo>
                      <a:pt x="0" y="0"/>
                    </a:lnTo>
                    <a:lnTo>
                      <a:pt x="3" y="44"/>
                    </a:lnTo>
                    <a:lnTo>
                      <a:pt x="42" y="87"/>
                    </a:lnTo>
                    <a:lnTo>
                      <a:pt x="16" y="127"/>
                    </a:lnTo>
                    <a:lnTo>
                      <a:pt x="17" y="153"/>
                    </a:lnTo>
                    <a:lnTo>
                      <a:pt x="39" y="155"/>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7" name="Freeform 190"/>
              <p:cNvSpPr>
                <a:spLocks/>
              </p:cNvSpPr>
              <p:nvPr/>
            </p:nvSpPr>
            <p:spPr bwMode="auto">
              <a:xfrm>
                <a:off x="10677014" y="3867449"/>
                <a:ext cx="25794" cy="31200"/>
              </a:xfrm>
              <a:custGeom>
                <a:avLst/>
                <a:gdLst>
                  <a:gd name="T0" fmla="*/ 0 w 98"/>
                  <a:gd name="T1" fmla="*/ 0 h 119"/>
                  <a:gd name="T2" fmla="*/ 0 w 98"/>
                  <a:gd name="T3" fmla="*/ 0 h 119"/>
                  <a:gd name="T4" fmla="*/ 0 w 98"/>
                  <a:gd name="T5" fmla="*/ 0 h 119"/>
                  <a:gd name="T6" fmla="*/ 0 w 98"/>
                  <a:gd name="T7" fmla="*/ 0 h 119"/>
                  <a:gd name="T8" fmla="*/ 0 w 98"/>
                  <a:gd name="T9" fmla="*/ 0 h 119"/>
                  <a:gd name="T10" fmla="*/ 0 w 98"/>
                  <a:gd name="T11" fmla="*/ 0 h 119"/>
                  <a:gd name="T12" fmla="*/ 0 w 98"/>
                  <a:gd name="T13" fmla="*/ 0 h 119"/>
                  <a:gd name="T14" fmla="*/ 0 w 98"/>
                  <a:gd name="T15" fmla="*/ 0 h 119"/>
                  <a:gd name="T16" fmla="*/ 0 w 98"/>
                  <a:gd name="T17" fmla="*/ 0 h 119"/>
                  <a:gd name="T18" fmla="*/ 0 w 98"/>
                  <a:gd name="T19" fmla="*/ 0 h 1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119"/>
                  <a:gd name="T32" fmla="*/ 98 w 98"/>
                  <a:gd name="T33" fmla="*/ 119 h 1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119">
                    <a:moveTo>
                      <a:pt x="82" y="119"/>
                    </a:moveTo>
                    <a:lnTo>
                      <a:pt x="98" y="98"/>
                    </a:lnTo>
                    <a:lnTo>
                      <a:pt x="96" y="58"/>
                    </a:lnTo>
                    <a:lnTo>
                      <a:pt x="84" y="34"/>
                    </a:lnTo>
                    <a:lnTo>
                      <a:pt x="44" y="9"/>
                    </a:lnTo>
                    <a:lnTo>
                      <a:pt x="2" y="0"/>
                    </a:lnTo>
                    <a:lnTo>
                      <a:pt x="0" y="27"/>
                    </a:lnTo>
                    <a:lnTo>
                      <a:pt x="30" y="58"/>
                    </a:lnTo>
                    <a:lnTo>
                      <a:pt x="65" y="118"/>
                    </a:lnTo>
                    <a:lnTo>
                      <a:pt x="82" y="119"/>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8" name="Freeform 191"/>
              <p:cNvSpPr>
                <a:spLocks/>
              </p:cNvSpPr>
              <p:nvPr/>
            </p:nvSpPr>
            <p:spPr bwMode="auto">
              <a:xfrm>
                <a:off x="10677014" y="3867449"/>
                <a:ext cx="25794" cy="31200"/>
              </a:xfrm>
              <a:custGeom>
                <a:avLst/>
                <a:gdLst>
                  <a:gd name="T0" fmla="*/ 0 w 98"/>
                  <a:gd name="T1" fmla="*/ 0 h 119"/>
                  <a:gd name="T2" fmla="*/ 0 w 98"/>
                  <a:gd name="T3" fmla="*/ 0 h 119"/>
                  <a:gd name="T4" fmla="*/ 0 w 98"/>
                  <a:gd name="T5" fmla="*/ 0 h 119"/>
                  <a:gd name="T6" fmla="*/ 0 w 98"/>
                  <a:gd name="T7" fmla="*/ 0 h 119"/>
                  <a:gd name="T8" fmla="*/ 0 w 98"/>
                  <a:gd name="T9" fmla="*/ 0 h 119"/>
                  <a:gd name="T10" fmla="*/ 0 w 98"/>
                  <a:gd name="T11" fmla="*/ 0 h 119"/>
                  <a:gd name="T12" fmla="*/ 0 w 98"/>
                  <a:gd name="T13" fmla="*/ 0 h 119"/>
                  <a:gd name="T14" fmla="*/ 0 w 98"/>
                  <a:gd name="T15" fmla="*/ 0 h 119"/>
                  <a:gd name="T16" fmla="*/ 0 w 98"/>
                  <a:gd name="T17" fmla="*/ 0 h 119"/>
                  <a:gd name="T18" fmla="*/ 0 w 98"/>
                  <a:gd name="T19" fmla="*/ 0 h 1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119"/>
                  <a:gd name="T32" fmla="*/ 98 w 98"/>
                  <a:gd name="T33" fmla="*/ 119 h 1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119">
                    <a:moveTo>
                      <a:pt x="82" y="119"/>
                    </a:moveTo>
                    <a:lnTo>
                      <a:pt x="98" y="98"/>
                    </a:lnTo>
                    <a:lnTo>
                      <a:pt x="96" y="58"/>
                    </a:lnTo>
                    <a:lnTo>
                      <a:pt x="84" y="34"/>
                    </a:lnTo>
                    <a:lnTo>
                      <a:pt x="44" y="9"/>
                    </a:lnTo>
                    <a:lnTo>
                      <a:pt x="2" y="0"/>
                    </a:lnTo>
                    <a:lnTo>
                      <a:pt x="0" y="27"/>
                    </a:lnTo>
                    <a:lnTo>
                      <a:pt x="30" y="58"/>
                    </a:lnTo>
                    <a:lnTo>
                      <a:pt x="65" y="118"/>
                    </a:lnTo>
                    <a:lnTo>
                      <a:pt x="82" y="119"/>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49" name="Freeform 194"/>
              <p:cNvSpPr>
                <a:spLocks/>
              </p:cNvSpPr>
              <p:nvPr/>
            </p:nvSpPr>
            <p:spPr bwMode="auto">
              <a:xfrm>
                <a:off x="10382420" y="3840318"/>
                <a:ext cx="194134" cy="195341"/>
              </a:xfrm>
              <a:custGeom>
                <a:avLst/>
                <a:gdLst>
                  <a:gd name="T0" fmla="*/ 0 w 742"/>
                  <a:gd name="T1" fmla="*/ 0 h 744"/>
                  <a:gd name="T2" fmla="*/ 0 w 742"/>
                  <a:gd name="T3" fmla="*/ 0 h 744"/>
                  <a:gd name="T4" fmla="*/ 0 w 742"/>
                  <a:gd name="T5" fmla="*/ 0 h 744"/>
                  <a:gd name="T6" fmla="*/ 0 w 742"/>
                  <a:gd name="T7" fmla="*/ 0 h 744"/>
                  <a:gd name="T8" fmla="*/ 0 w 742"/>
                  <a:gd name="T9" fmla="*/ 0 h 744"/>
                  <a:gd name="T10" fmla="*/ 0 w 742"/>
                  <a:gd name="T11" fmla="*/ 0 h 744"/>
                  <a:gd name="T12" fmla="*/ 0 w 742"/>
                  <a:gd name="T13" fmla="*/ 0 h 744"/>
                  <a:gd name="T14" fmla="*/ 0 w 742"/>
                  <a:gd name="T15" fmla="*/ 0 h 744"/>
                  <a:gd name="T16" fmla="*/ 0 w 742"/>
                  <a:gd name="T17" fmla="*/ 0 h 744"/>
                  <a:gd name="T18" fmla="*/ 0 w 742"/>
                  <a:gd name="T19" fmla="*/ 0 h 744"/>
                  <a:gd name="T20" fmla="*/ 0 w 742"/>
                  <a:gd name="T21" fmla="*/ 0 h 744"/>
                  <a:gd name="T22" fmla="*/ 0 w 742"/>
                  <a:gd name="T23" fmla="*/ 0 h 744"/>
                  <a:gd name="T24" fmla="*/ 0 w 742"/>
                  <a:gd name="T25" fmla="*/ 0 h 744"/>
                  <a:gd name="T26" fmla="*/ 0 w 742"/>
                  <a:gd name="T27" fmla="*/ 0 h 744"/>
                  <a:gd name="T28" fmla="*/ 0 w 742"/>
                  <a:gd name="T29" fmla="*/ 0 h 744"/>
                  <a:gd name="T30" fmla="*/ 0 w 742"/>
                  <a:gd name="T31" fmla="*/ 0 h 744"/>
                  <a:gd name="T32" fmla="*/ 0 w 742"/>
                  <a:gd name="T33" fmla="*/ 0 h 744"/>
                  <a:gd name="T34" fmla="*/ 0 w 742"/>
                  <a:gd name="T35" fmla="*/ 0 h 744"/>
                  <a:gd name="T36" fmla="*/ 0 w 742"/>
                  <a:gd name="T37" fmla="*/ 0 h 744"/>
                  <a:gd name="T38" fmla="*/ 0 w 742"/>
                  <a:gd name="T39" fmla="*/ 0 h 744"/>
                  <a:gd name="T40" fmla="*/ 0 w 742"/>
                  <a:gd name="T41" fmla="*/ 0 h 744"/>
                  <a:gd name="T42" fmla="*/ 0 w 742"/>
                  <a:gd name="T43" fmla="*/ 0 h 744"/>
                  <a:gd name="T44" fmla="*/ 0 w 742"/>
                  <a:gd name="T45" fmla="*/ 0 h 744"/>
                  <a:gd name="T46" fmla="*/ 0 w 742"/>
                  <a:gd name="T47" fmla="*/ 0 h 744"/>
                  <a:gd name="T48" fmla="*/ 0 w 742"/>
                  <a:gd name="T49" fmla="*/ 0 h 744"/>
                  <a:gd name="T50" fmla="*/ 0 w 742"/>
                  <a:gd name="T51" fmla="*/ 0 h 744"/>
                  <a:gd name="T52" fmla="*/ 0 w 742"/>
                  <a:gd name="T53" fmla="*/ 0 h 744"/>
                  <a:gd name="T54" fmla="*/ 0 w 742"/>
                  <a:gd name="T55" fmla="*/ 0 h 744"/>
                  <a:gd name="T56" fmla="*/ 0 w 742"/>
                  <a:gd name="T57" fmla="*/ 0 h 744"/>
                  <a:gd name="T58" fmla="*/ 0 w 742"/>
                  <a:gd name="T59" fmla="*/ 0 h 744"/>
                  <a:gd name="T60" fmla="*/ 0 w 742"/>
                  <a:gd name="T61" fmla="*/ 0 h 744"/>
                  <a:gd name="T62" fmla="*/ 0 w 742"/>
                  <a:gd name="T63" fmla="*/ 0 h 744"/>
                  <a:gd name="T64" fmla="*/ 0 w 742"/>
                  <a:gd name="T65" fmla="*/ 0 h 744"/>
                  <a:gd name="T66" fmla="*/ 0 w 742"/>
                  <a:gd name="T67" fmla="*/ 0 h 744"/>
                  <a:gd name="T68" fmla="*/ 0 w 742"/>
                  <a:gd name="T69" fmla="*/ 0 h 744"/>
                  <a:gd name="T70" fmla="*/ 0 w 742"/>
                  <a:gd name="T71" fmla="*/ 0 h 744"/>
                  <a:gd name="T72" fmla="*/ 0 w 742"/>
                  <a:gd name="T73" fmla="*/ 0 h 744"/>
                  <a:gd name="T74" fmla="*/ 0 w 742"/>
                  <a:gd name="T75" fmla="*/ 0 h 7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42"/>
                  <a:gd name="T115" fmla="*/ 0 h 744"/>
                  <a:gd name="T116" fmla="*/ 742 w 742"/>
                  <a:gd name="T117" fmla="*/ 744 h 7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42" h="744">
                    <a:moveTo>
                      <a:pt x="279" y="0"/>
                    </a:moveTo>
                    <a:lnTo>
                      <a:pt x="204" y="13"/>
                    </a:lnTo>
                    <a:lnTo>
                      <a:pt x="122" y="69"/>
                    </a:lnTo>
                    <a:lnTo>
                      <a:pt x="76" y="54"/>
                    </a:lnTo>
                    <a:lnTo>
                      <a:pt x="13" y="161"/>
                    </a:lnTo>
                    <a:lnTo>
                      <a:pt x="0" y="212"/>
                    </a:lnTo>
                    <a:lnTo>
                      <a:pt x="39" y="288"/>
                    </a:lnTo>
                    <a:lnTo>
                      <a:pt x="126" y="327"/>
                    </a:lnTo>
                    <a:lnTo>
                      <a:pt x="170" y="399"/>
                    </a:lnTo>
                    <a:lnTo>
                      <a:pt x="144" y="493"/>
                    </a:lnTo>
                    <a:lnTo>
                      <a:pt x="160" y="569"/>
                    </a:lnTo>
                    <a:lnTo>
                      <a:pt x="191" y="603"/>
                    </a:lnTo>
                    <a:lnTo>
                      <a:pt x="239" y="620"/>
                    </a:lnTo>
                    <a:lnTo>
                      <a:pt x="251" y="557"/>
                    </a:lnTo>
                    <a:lnTo>
                      <a:pt x="288" y="508"/>
                    </a:lnTo>
                    <a:lnTo>
                      <a:pt x="314" y="548"/>
                    </a:lnTo>
                    <a:lnTo>
                      <a:pt x="360" y="586"/>
                    </a:lnTo>
                    <a:lnTo>
                      <a:pt x="400" y="742"/>
                    </a:lnTo>
                    <a:lnTo>
                      <a:pt x="429" y="744"/>
                    </a:lnTo>
                    <a:lnTo>
                      <a:pt x="450" y="627"/>
                    </a:lnTo>
                    <a:lnTo>
                      <a:pt x="502" y="602"/>
                    </a:lnTo>
                    <a:lnTo>
                      <a:pt x="539" y="660"/>
                    </a:lnTo>
                    <a:lnTo>
                      <a:pt x="637" y="726"/>
                    </a:lnTo>
                    <a:lnTo>
                      <a:pt x="574" y="429"/>
                    </a:lnTo>
                    <a:lnTo>
                      <a:pt x="530" y="368"/>
                    </a:lnTo>
                    <a:lnTo>
                      <a:pt x="510" y="299"/>
                    </a:lnTo>
                    <a:lnTo>
                      <a:pt x="616" y="362"/>
                    </a:lnTo>
                    <a:lnTo>
                      <a:pt x="628" y="396"/>
                    </a:lnTo>
                    <a:lnTo>
                      <a:pt x="656" y="387"/>
                    </a:lnTo>
                    <a:lnTo>
                      <a:pt x="693" y="351"/>
                    </a:lnTo>
                    <a:lnTo>
                      <a:pt x="742" y="343"/>
                    </a:lnTo>
                    <a:lnTo>
                      <a:pt x="730" y="302"/>
                    </a:lnTo>
                    <a:lnTo>
                      <a:pt x="658" y="259"/>
                    </a:lnTo>
                    <a:lnTo>
                      <a:pt x="613" y="175"/>
                    </a:lnTo>
                    <a:lnTo>
                      <a:pt x="615" y="131"/>
                    </a:lnTo>
                    <a:lnTo>
                      <a:pt x="350" y="43"/>
                    </a:lnTo>
                    <a:lnTo>
                      <a:pt x="319" y="44"/>
                    </a:lnTo>
                    <a:lnTo>
                      <a:pt x="279" y="0"/>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50" name="Freeform 196"/>
              <p:cNvSpPr>
                <a:spLocks/>
              </p:cNvSpPr>
              <p:nvPr/>
            </p:nvSpPr>
            <p:spPr bwMode="auto">
              <a:xfrm>
                <a:off x="10317256" y="3832179"/>
                <a:ext cx="35297" cy="36626"/>
              </a:xfrm>
              <a:custGeom>
                <a:avLst/>
                <a:gdLst>
                  <a:gd name="T0" fmla="*/ 0 w 131"/>
                  <a:gd name="T1" fmla="*/ 0 h 133"/>
                  <a:gd name="T2" fmla="*/ 0 w 131"/>
                  <a:gd name="T3" fmla="*/ 0 h 133"/>
                  <a:gd name="T4" fmla="*/ 0 w 131"/>
                  <a:gd name="T5" fmla="*/ 0 h 133"/>
                  <a:gd name="T6" fmla="*/ 0 w 131"/>
                  <a:gd name="T7" fmla="*/ 0 h 133"/>
                  <a:gd name="T8" fmla="*/ 0 w 131"/>
                  <a:gd name="T9" fmla="*/ 0 h 133"/>
                  <a:gd name="T10" fmla="*/ 0 w 131"/>
                  <a:gd name="T11" fmla="*/ 0 h 133"/>
                  <a:gd name="T12" fmla="*/ 0 w 131"/>
                  <a:gd name="T13" fmla="*/ 0 h 133"/>
                  <a:gd name="T14" fmla="*/ 0 w 131"/>
                  <a:gd name="T15" fmla="*/ 0 h 133"/>
                  <a:gd name="T16" fmla="*/ 0 w 131"/>
                  <a:gd name="T17" fmla="*/ 0 h 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1"/>
                  <a:gd name="T28" fmla="*/ 0 h 133"/>
                  <a:gd name="T29" fmla="*/ 131 w 131"/>
                  <a:gd name="T30" fmla="*/ 133 h 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1" h="133">
                    <a:moveTo>
                      <a:pt x="117" y="133"/>
                    </a:moveTo>
                    <a:lnTo>
                      <a:pt x="131" y="86"/>
                    </a:lnTo>
                    <a:lnTo>
                      <a:pt x="90" y="56"/>
                    </a:lnTo>
                    <a:lnTo>
                      <a:pt x="76" y="0"/>
                    </a:lnTo>
                    <a:lnTo>
                      <a:pt x="44" y="19"/>
                    </a:lnTo>
                    <a:lnTo>
                      <a:pt x="0" y="64"/>
                    </a:lnTo>
                    <a:lnTo>
                      <a:pt x="46" y="110"/>
                    </a:lnTo>
                    <a:lnTo>
                      <a:pt x="87" y="116"/>
                    </a:lnTo>
                    <a:lnTo>
                      <a:pt x="117" y="133"/>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51" name="Freeform 197"/>
              <p:cNvSpPr>
                <a:spLocks/>
              </p:cNvSpPr>
              <p:nvPr/>
            </p:nvSpPr>
            <p:spPr bwMode="auto">
              <a:xfrm>
                <a:off x="10317256" y="3832179"/>
                <a:ext cx="35297" cy="36626"/>
              </a:xfrm>
              <a:custGeom>
                <a:avLst/>
                <a:gdLst>
                  <a:gd name="T0" fmla="*/ 0 w 131"/>
                  <a:gd name="T1" fmla="*/ 0 h 133"/>
                  <a:gd name="T2" fmla="*/ 0 w 131"/>
                  <a:gd name="T3" fmla="*/ 0 h 133"/>
                  <a:gd name="T4" fmla="*/ 0 w 131"/>
                  <a:gd name="T5" fmla="*/ 0 h 133"/>
                  <a:gd name="T6" fmla="*/ 0 w 131"/>
                  <a:gd name="T7" fmla="*/ 0 h 133"/>
                  <a:gd name="T8" fmla="*/ 0 w 131"/>
                  <a:gd name="T9" fmla="*/ 0 h 133"/>
                  <a:gd name="T10" fmla="*/ 0 w 131"/>
                  <a:gd name="T11" fmla="*/ 0 h 133"/>
                  <a:gd name="T12" fmla="*/ 0 w 131"/>
                  <a:gd name="T13" fmla="*/ 0 h 133"/>
                  <a:gd name="T14" fmla="*/ 0 w 131"/>
                  <a:gd name="T15" fmla="*/ 0 h 133"/>
                  <a:gd name="T16" fmla="*/ 0 w 131"/>
                  <a:gd name="T17" fmla="*/ 0 h 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1"/>
                  <a:gd name="T28" fmla="*/ 0 h 133"/>
                  <a:gd name="T29" fmla="*/ 131 w 131"/>
                  <a:gd name="T30" fmla="*/ 133 h 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1" h="133">
                    <a:moveTo>
                      <a:pt x="117" y="133"/>
                    </a:moveTo>
                    <a:lnTo>
                      <a:pt x="131" y="86"/>
                    </a:lnTo>
                    <a:lnTo>
                      <a:pt x="90" y="56"/>
                    </a:lnTo>
                    <a:lnTo>
                      <a:pt x="76" y="0"/>
                    </a:lnTo>
                    <a:lnTo>
                      <a:pt x="44" y="19"/>
                    </a:lnTo>
                    <a:lnTo>
                      <a:pt x="0" y="64"/>
                    </a:lnTo>
                    <a:lnTo>
                      <a:pt x="46" y="110"/>
                    </a:lnTo>
                    <a:lnTo>
                      <a:pt x="87" y="116"/>
                    </a:lnTo>
                    <a:lnTo>
                      <a:pt x="117" y="133"/>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52" name="Freeform 198"/>
              <p:cNvSpPr>
                <a:spLocks/>
              </p:cNvSpPr>
              <p:nvPr/>
            </p:nvSpPr>
            <p:spPr bwMode="auto">
              <a:xfrm>
                <a:off x="10529038" y="3762996"/>
                <a:ext cx="139831" cy="107166"/>
              </a:xfrm>
              <a:custGeom>
                <a:avLst/>
                <a:gdLst>
                  <a:gd name="T0" fmla="*/ 0 w 530"/>
                  <a:gd name="T1" fmla="*/ 0 h 406"/>
                  <a:gd name="T2" fmla="*/ 0 w 530"/>
                  <a:gd name="T3" fmla="*/ 0 h 406"/>
                  <a:gd name="T4" fmla="*/ 0 w 530"/>
                  <a:gd name="T5" fmla="*/ 0 h 406"/>
                  <a:gd name="T6" fmla="*/ 0 w 530"/>
                  <a:gd name="T7" fmla="*/ 0 h 406"/>
                  <a:gd name="T8" fmla="*/ 0 w 530"/>
                  <a:gd name="T9" fmla="*/ 0 h 406"/>
                  <a:gd name="T10" fmla="*/ 0 w 530"/>
                  <a:gd name="T11" fmla="*/ 0 h 406"/>
                  <a:gd name="T12" fmla="*/ 0 w 530"/>
                  <a:gd name="T13" fmla="*/ 0 h 406"/>
                  <a:gd name="T14" fmla="*/ 0 w 530"/>
                  <a:gd name="T15" fmla="*/ 0 h 406"/>
                  <a:gd name="T16" fmla="*/ 0 w 530"/>
                  <a:gd name="T17" fmla="*/ 0 h 406"/>
                  <a:gd name="T18" fmla="*/ 0 w 530"/>
                  <a:gd name="T19" fmla="*/ 0 h 406"/>
                  <a:gd name="T20" fmla="*/ 0 w 530"/>
                  <a:gd name="T21" fmla="*/ 0 h 406"/>
                  <a:gd name="T22" fmla="*/ 0 w 530"/>
                  <a:gd name="T23" fmla="*/ 0 h 406"/>
                  <a:gd name="T24" fmla="*/ 0 w 530"/>
                  <a:gd name="T25" fmla="*/ 0 h 406"/>
                  <a:gd name="T26" fmla="*/ 0 w 530"/>
                  <a:gd name="T27" fmla="*/ 0 h 406"/>
                  <a:gd name="T28" fmla="*/ 0 w 530"/>
                  <a:gd name="T29" fmla="*/ 0 h 406"/>
                  <a:gd name="T30" fmla="*/ 0 w 530"/>
                  <a:gd name="T31" fmla="*/ 0 h 406"/>
                  <a:gd name="T32" fmla="*/ 0 w 530"/>
                  <a:gd name="T33" fmla="*/ 0 h 406"/>
                  <a:gd name="T34" fmla="*/ 0 w 530"/>
                  <a:gd name="T35" fmla="*/ 0 h 406"/>
                  <a:gd name="T36" fmla="*/ 0 w 530"/>
                  <a:gd name="T37" fmla="*/ 0 h 406"/>
                  <a:gd name="T38" fmla="*/ 0 w 530"/>
                  <a:gd name="T39" fmla="*/ 0 h 406"/>
                  <a:gd name="T40" fmla="*/ 0 w 530"/>
                  <a:gd name="T41" fmla="*/ 0 h 406"/>
                  <a:gd name="T42" fmla="*/ 0 w 530"/>
                  <a:gd name="T43" fmla="*/ 0 h 406"/>
                  <a:gd name="T44" fmla="*/ 0 w 530"/>
                  <a:gd name="T45" fmla="*/ 0 h 4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30"/>
                  <a:gd name="T70" fmla="*/ 0 h 406"/>
                  <a:gd name="T71" fmla="*/ 530 w 530"/>
                  <a:gd name="T72" fmla="*/ 406 h 4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30" h="406">
                    <a:moveTo>
                      <a:pt x="516" y="353"/>
                    </a:moveTo>
                    <a:lnTo>
                      <a:pt x="530" y="371"/>
                    </a:lnTo>
                    <a:lnTo>
                      <a:pt x="524" y="323"/>
                    </a:lnTo>
                    <a:lnTo>
                      <a:pt x="433" y="301"/>
                    </a:lnTo>
                    <a:lnTo>
                      <a:pt x="394" y="220"/>
                    </a:lnTo>
                    <a:lnTo>
                      <a:pt x="392" y="173"/>
                    </a:lnTo>
                    <a:lnTo>
                      <a:pt x="359" y="141"/>
                    </a:lnTo>
                    <a:lnTo>
                      <a:pt x="214" y="103"/>
                    </a:lnTo>
                    <a:lnTo>
                      <a:pt x="122" y="23"/>
                    </a:lnTo>
                    <a:lnTo>
                      <a:pt x="110" y="0"/>
                    </a:lnTo>
                    <a:lnTo>
                      <a:pt x="76" y="1"/>
                    </a:lnTo>
                    <a:lnTo>
                      <a:pt x="0" y="78"/>
                    </a:lnTo>
                    <a:lnTo>
                      <a:pt x="58" y="76"/>
                    </a:lnTo>
                    <a:lnTo>
                      <a:pt x="183" y="173"/>
                    </a:lnTo>
                    <a:lnTo>
                      <a:pt x="195" y="217"/>
                    </a:lnTo>
                    <a:lnTo>
                      <a:pt x="244" y="241"/>
                    </a:lnTo>
                    <a:lnTo>
                      <a:pt x="309" y="246"/>
                    </a:lnTo>
                    <a:lnTo>
                      <a:pt x="374" y="290"/>
                    </a:lnTo>
                    <a:lnTo>
                      <a:pt x="395" y="323"/>
                    </a:lnTo>
                    <a:lnTo>
                      <a:pt x="413" y="373"/>
                    </a:lnTo>
                    <a:lnTo>
                      <a:pt x="445" y="399"/>
                    </a:lnTo>
                    <a:lnTo>
                      <a:pt x="518" y="406"/>
                    </a:lnTo>
                    <a:lnTo>
                      <a:pt x="516" y="353"/>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53" name="Freeform 199"/>
              <p:cNvSpPr>
                <a:spLocks/>
              </p:cNvSpPr>
              <p:nvPr/>
            </p:nvSpPr>
            <p:spPr bwMode="auto">
              <a:xfrm>
                <a:off x="10529038" y="3762996"/>
                <a:ext cx="139831" cy="107166"/>
              </a:xfrm>
              <a:custGeom>
                <a:avLst/>
                <a:gdLst>
                  <a:gd name="T0" fmla="*/ 0 w 530"/>
                  <a:gd name="T1" fmla="*/ 0 h 406"/>
                  <a:gd name="T2" fmla="*/ 0 w 530"/>
                  <a:gd name="T3" fmla="*/ 0 h 406"/>
                  <a:gd name="T4" fmla="*/ 0 w 530"/>
                  <a:gd name="T5" fmla="*/ 0 h 406"/>
                  <a:gd name="T6" fmla="*/ 0 w 530"/>
                  <a:gd name="T7" fmla="*/ 0 h 406"/>
                  <a:gd name="T8" fmla="*/ 0 w 530"/>
                  <a:gd name="T9" fmla="*/ 0 h 406"/>
                  <a:gd name="T10" fmla="*/ 0 w 530"/>
                  <a:gd name="T11" fmla="*/ 0 h 406"/>
                  <a:gd name="T12" fmla="*/ 0 w 530"/>
                  <a:gd name="T13" fmla="*/ 0 h 406"/>
                  <a:gd name="T14" fmla="*/ 0 w 530"/>
                  <a:gd name="T15" fmla="*/ 0 h 406"/>
                  <a:gd name="T16" fmla="*/ 0 w 530"/>
                  <a:gd name="T17" fmla="*/ 0 h 406"/>
                  <a:gd name="T18" fmla="*/ 0 w 530"/>
                  <a:gd name="T19" fmla="*/ 0 h 406"/>
                  <a:gd name="T20" fmla="*/ 0 w 530"/>
                  <a:gd name="T21" fmla="*/ 0 h 406"/>
                  <a:gd name="T22" fmla="*/ 0 w 530"/>
                  <a:gd name="T23" fmla="*/ 0 h 406"/>
                  <a:gd name="T24" fmla="*/ 0 w 530"/>
                  <a:gd name="T25" fmla="*/ 0 h 406"/>
                  <a:gd name="T26" fmla="*/ 0 w 530"/>
                  <a:gd name="T27" fmla="*/ 0 h 406"/>
                  <a:gd name="T28" fmla="*/ 0 w 530"/>
                  <a:gd name="T29" fmla="*/ 0 h 406"/>
                  <a:gd name="T30" fmla="*/ 0 w 530"/>
                  <a:gd name="T31" fmla="*/ 0 h 406"/>
                  <a:gd name="T32" fmla="*/ 0 w 530"/>
                  <a:gd name="T33" fmla="*/ 0 h 406"/>
                  <a:gd name="T34" fmla="*/ 0 w 530"/>
                  <a:gd name="T35" fmla="*/ 0 h 406"/>
                  <a:gd name="T36" fmla="*/ 0 w 530"/>
                  <a:gd name="T37" fmla="*/ 0 h 406"/>
                  <a:gd name="T38" fmla="*/ 0 w 530"/>
                  <a:gd name="T39" fmla="*/ 0 h 406"/>
                  <a:gd name="T40" fmla="*/ 0 w 530"/>
                  <a:gd name="T41" fmla="*/ 0 h 406"/>
                  <a:gd name="T42" fmla="*/ 0 w 530"/>
                  <a:gd name="T43" fmla="*/ 0 h 406"/>
                  <a:gd name="T44" fmla="*/ 0 w 530"/>
                  <a:gd name="T45" fmla="*/ 0 h 4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30"/>
                  <a:gd name="T70" fmla="*/ 0 h 406"/>
                  <a:gd name="T71" fmla="*/ 530 w 530"/>
                  <a:gd name="T72" fmla="*/ 406 h 4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30" h="406">
                    <a:moveTo>
                      <a:pt x="516" y="353"/>
                    </a:moveTo>
                    <a:lnTo>
                      <a:pt x="530" y="371"/>
                    </a:lnTo>
                    <a:lnTo>
                      <a:pt x="524" y="323"/>
                    </a:lnTo>
                    <a:lnTo>
                      <a:pt x="433" y="301"/>
                    </a:lnTo>
                    <a:lnTo>
                      <a:pt x="394" y="220"/>
                    </a:lnTo>
                    <a:lnTo>
                      <a:pt x="392" y="173"/>
                    </a:lnTo>
                    <a:lnTo>
                      <a:pt x="359" y="141"/>
                    </a:lnTo>
                    <a:lnTo>
                      <a:pt x="214" y="103"/>
                    </a:lnTo>
                    <a:lnTo>
                      <a:pt x="122" y="23"/>
                    </a:lnTo>
                    <a:lnTo>
                      <a:pt x="110" y="0"/>
                    </a:lnTo>
                    <a:lnTo>
                      <a:pt x="76" y="1"/>
                    </a:lnTo>
                    <a:lnTo>
                      <a:pt x="0" y="78"/>
                    </a:lnTo>
                    <a:lnTo>
                      <a:pt x="58" y="76"/>
                    </a:lnTo>
                    <a:lnTo>
                      <a:pt x="183" y="173"/>
                    </a:lnTo>
                    <a:lnTo>
                      <a:pt x="195" y="217"/>
                    </a:lnTo>
                    <a:lnTo>
                      <a:pt x="244" y="241"/>
                    </a:lnTo>
                    <a:lnTo>
                      <a:pt x="309" y="246"/>
                    </a:lnTo>
                    <a:lnTo>
                      <a:pt x="374" y="290"/>
                    </a:lnTo>
                    <a:lnTo>
                      <a:pt x="395" y="323"/>
                    </a:lnTo>
                    <a:lnTo>
                      <a:pt x="413" y="373"/>
                    </a:lnTo>
                    <a:lnTo>
                      <a:pt x="445" y="399"/>
                    </a:lnTo>
                    <a:lnTo>
                      <a:pt x="518" y="406"/>
                    </a:lnTo>
                    <a:lnTo>
                      <a:pt x="516" y="353"/>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54" name="Freeform 200"/>
              <p:cNvSpPr>
                <a:spLocks/>
              </p:cNvSpPr>
              <p:nvPr/>
            </p:nvSpPr>
            <p:spPr bwMode="auto">
              <a:xfrm>
                <a:off x="10260238" y="3692456"/>
                <a:ext cx="33939" cy="39339"/>
              </a:xfrm>
              <a:custGeom>
                <a:avLst/>
                <a:gdLst>
                  <a:gd name="T0" fmla="*/ 0 w 124"/>
                  <a:gd name="T1" fmla="*/ 0 h 154"/>
                  <a:gd name="T2" fmla="*/ 0 w 124"/>
                  <a:gd name="T3" fmla="*/ 0 h 154"/>
                  <a:gd name="T4" fmla="*/ 0 w 124"/>
                  <a:gd name="T5" fmla="*/ 0 h 154"/>
                  <a:gd name="T6" fmla="*/ 0 w 124"/>
                  <a:gd name="T7" fmla="*/ 0 h 154"/>
                  <a:gd name="T8" fmla="*/ 0 w 124"/>
                  <a:gd name="T9" fmla="*/ 0 h 154"/>
                  <a:gd name="T10" fmla="*/ 0 w 124"/>
                  <a:gd name="T11" fmla="*/ 0 h 154"/>
                  <a:gd name="T12" fmla="*/ 0 w 124"/>
                  <a:gd name="T13" fmla="*/ 0 h 154"/>
                  <a:gd name="T14" fmla="*/ 0 w 124"/>
                  <a:gd name="T15" fmla="*/ 0 h 154"/>
                  <a:gd name="T16" fmla="*/ 0 60000 65536"/>
                  <a:gd name="T17" fmla="*/ 0 60000 65536"/>
                  <a:gd name="T18" fmla="*/ 0 60000 65536"/>
                  <a:gd name="T19" fmla="*/ 0 60000 65536"/>
                  <a:gd name="T20" fmla="*/ 0 60000 65536"/>
                  <a:gd name="T21" fmla="*/ 0 60000 65536"/>
                  <a:gd name="T22" fmla="*/ 0 60000 65536"/>
                  <a:gd name="T23" fmla="*/ 0 60000 65536"/>
                  <a:gd name="T24" fmla="*/ 0 w 124"/>
                  <a:gd name="T25" fmla="*/ 0 h 154"/>
                  <a:gd name="T26" fmla="*/ 124 w 124"/>
                  <a:gd name="T27" fmla="*/ 154 h 1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4" h="154">
                    <a:moveTo>
                      <a:pt x="120" y="152"/>
                    </a:moveTo>
                    <a:lnTo>
                      <a:pt x="124" y="128"/>
                    </a:lnTo>
                    <a:lnTo>
                      <a:pt x="73" y="27"/>
                    </a:lnTo>
                    <a:lnTo>
                      <a:pt x="39" y="0"/>
                    </a:lnTo>
                    <a:lnTo>
                      <a:pt x="0" y="13"/>
                    </a:lnTo>
                    <a:lnTo>
                      <a:pt x="49" y="114"/>
                    </a:lnTo>
                    <a:lnTo>
                      <a:pt x="86" y="154"/>
                    </a:lnTo>
                    <a:lnTo>
                      <a:pt x="120" y="152"/>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55" name="Freeform 201"/>
              <p:cNvSpPr>
                <a:spLocks/>
              </p:cNvSpPr>
              <p:nvPr/>
            </p:nvSpPr>
            <p:spPr bwMode="auto">
              <a:xfrm>
                <a:off x="10260238" y="3692456"/>
                <a:ext cx="33939" cy="39339"/>
              </a:xfrm>
              <a:custGeom>
                <a:avLst/>
                <a:gdLst>
                  <a:gd name="T0" fmla="*/ 0 w 124"/>
                  <a:gd name="T1" fmla="*/ 0 h 154"/>
                  <a:gd name="T2" fmla="*/ 0 w 124"/>
                  <a:gd name="T3" fmla="*/ 0 h 154"/>
                  <a:gd name="T4" fmla="*/ 0 w 124"/>
                  <a:gd name="T5" fmla="*/ 0 h 154"/>
                  <a:gd name="T6" fmla="*/ 0 w 124"/>
                  <a:gd name="T7" fmla="*/ 0 h 154"/>
                  <a:gd name="T8" fmla="*/ 0 w 124"/>
                  <a:gd name="T9" fmla="*/ 0 h 154"/>
                  <a:gd name="T10" fmla="*/ 0 w 124"/>
                  <a:gd name="T11" fmla="*/ 0 h 154"/>
                  <a:gd name="T12" fmla="*/ 0 w 124"/>
                  <a:gd name="T13" fmla="*/ 0 h 154"/>
                  <a:gd name="T14" fmla="*/ 0 w 124"/>
                  <a:gd name="T15" fmla="*/ 0 h 154"/>
                  <a:gd name="T16" fmla="*/ 0 60000 65536"/>
                  <a:gd name="T17" fmla="*/ 0 60000 65536"/>
                  <a:gd name="T18" fmla="*/ 0 60000 65536"/>
                  <a:gd name="T19" fmla="*/ 0 60000 65536"/>
                  <a:gd name="T20" fmla="*/ 0 60000 65536"/>
                  <a:gd name="T21" fmla="*/ 0 60000 65536"/>
                  <a:gd name="T22" fmla="*/ 0 60000 65536"/>
                  <a:gd name="T23" fmla="*/ 0 60000 65536"/>
                  <a:gd name="T24" fmla="*/ 0 w 124"/>
                  <a:gd name="T25" fmla="*/ 0 h 154"/>
                  <a:gd name="T26" fmla="*/ 124 w 124"/>
                  <a:gd name="T27" fmla="*/ 154 h 1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4" h="154">
                    <a:moveTo>
                      <a:pt x="120" y="152"/>
                    </a:moveTo>
                    <a:lnTo>
                      <a:pt x="124" y="128"/>
                    </a:lnTo>
                    <a:lnTo>
                      <a:pt x="73" y="27"/>
                    </a:lnTo>
                    <a:lnTo>
                      <a:pt x="39" y="0"/>
                    </a:lnTo>
                    <a:lnTo>
                      <a:pt x="0" y="13"/>
                    </a:lnTo>
                    <a:lnTo>
                      <a:pt x="49" y="114"/>
                    </a:lnTo>
                    <a:lnTo>
                      <a:pt x="86" y="154"/>
                    </a:lnTo>
                    <a:lnTo>
                      <a:pt x="120" y="152"/>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56" name="Freeform 208"/>
              <p:cNvSpPr>
                <a:spLocks/>
              </p:cNvSpPr>
              <p:nvPr/>
            </p:nvSpPr>
            <p:spPr bwMode="auto">
              <a:xfrm>
                <a:off x="10302323" y="3460489"/>
                <a:ext cx="498231" cy="438160"/>
              </a:xfrm>
              <a:custGeom>
                <a:avLst/>
                <a:gdLst>
                  <a:gd name="T0" fmla="*/ 0 w 1898"/>
                  <a:gd name="T1" fmla="*/ 0 h 1670"/>
                  <a:gd name="T2" fmla="*/ 0 w 1898"/>
                  <a:gd name="T3" fmla="*/ 0 h 1670"/>
                  <a:gd name="T4" fmla="*/ 0 w 1898"/>
                  <a:gd name="T5" fmla="*/ 0 h 1670"/>
                  <a:gd name="T6" fmla="*/ 0 w 1898"/>
                  <a:gd name="T7" fmla="*/ 0 h 1670"/>
                  <a:gd name="T8" fmla="*/ 0 w 1898"/>
                  <a:gd name="T9" fmla="*/ 0 h 1670"/>
                  <a:gd name="T10" fmla="*/ 0 w 1898"/>
                  <a:gd name="T11" fmla="*/ 0 h 1670"/>
                  <a:gd name="T12" fmla="*/ 0 w 1898"/>
                  <a:gd name="T13" fmla="*/ 0 h 1670"/>
                  <a:gd name="T14" fmla="*/ 0 w 1898"/>
                  <a:gd name="T15" fmla="*/ 0 h 1670"/>
                  <a:gd name="T16" fmla="*/ 0 w 1898"/>
                  <a:gd name="T17" fmla="*/ 0 h 1670"/>
                  <a:gd name="T18" fmla="*/ 0 w 1898"/>
                  <a:gd name="T19" fmla="*/ 0 h 1670"/>
                  <a:gd name="T20" fmla="*/ 0 w 1898"/>
                  <a:gd name="T21" fmla="*/ 0 h 1670"/>
                  <a:gd name="T22" fmla="*/ 0 w 1898"/>
                  <a:gd name="T23" fmla="*/ 0 h 1670"/>
                  <a:gd name="T24" fmla="*/ 0 w 1898"/>
                  <a:gd name="T25" fmla="*/ 0 h 1670"/>
                  <a:gd name="T26" fmla="*/ 0 w 1898"/>
                  <a:gd name="T27" fmla="*/ 0 h 1670"/>
                  <a:gd name="T28" fmla="*/ 0 w 1898"/>
                  <a:gd name="T29" fmla="*/ 0 h 1670"/>
                  <a:gd name="T30" fmla="*/ 0 w 1898"/>
                  <a:gd name="T31" fmla="*/ 0 h 1670"/>
                  <a:gd name="T32" fmla="*/ 0 w 1898"/>
                  <a:gd name="T33" fmla="*/ 0 h 1670"/>
                  <a:gd name="T34" fmla="*/ 0 w 1898"/>
                  <a:gd name="T35" fmla="*/ 0 h 1670"/>
                  <a:gd name="T36" fmla="*/ 0 w 1898"/>
                  <a:gd name="T37" fmla="*/ 0 h 1670"/>
                  <a:gd name="T38" fmla="*/ 0 w 1898"/>
                  <a:gd name="T39" fmla="*/ 0 h 1670"/>
                  <a:gd name="T40" fmla="*/ 0 w 1898"/>
                  <a:gd name="T41" fmla="*/ 0 h 1670"/>
                  <a:gd name="T42" fmla="*/ 0 w 1898"/>
                  <a:gd name="T43" fmla="*/ 0 h 1670"/>
                  <a:gd name="T44" fmla="*/ 0 w 1898"/>
                  <a:gd name="T45" fmla="*/ 0 h 1670"/>
                  <a:gd name="T46" fmla="*/ 0 w 1898"/>
                  <a:gd name="T47" fmla="*/ 0 h 1670"/>
                  <a:gd name="T48" fmla="*/ 0 w 1898"/>
                  <a:gd name="T49" fmla="*/ 0 h 1670"/>
                  <a:gd name="T50" fmla="*/ 0 w 1898"/>
                  <a:gd name="T51" fmla="*/ 0 h 1670"/>
                  <a:gd name="T52" fmla="*/ 0 w 1898"/>
                  <a:gd name="T53" fmla="*/ 0 h 1670"/>
                  <a:gd name="T54" fmla="*/ 0 w 1898"/>
                  <a:gd name="T55" fmla="*/ 0 h 1670"/>
                  <a:gd name="T56" fmla="*/ 0 w 1898"/>
                  <a:gd name="T57" fmla="*/ 0 h 1670"/>
                  <a:gd name="T58" fmla="*/ 0 w 1898"/>
                  <a:gd name="T59" fmla="*/ 0 h 1670"/>
                  <a:gd name="T60" fmla="*/ 0 w 1898"/>
                  <a:gd name="T61" fmla="*/ 0 h 1670"/>
                  <a:gd name="T62" fmla="*/ 0 w 1898"/>
                  <a:gd name="T63" fmla="*/ 0 h 1670"/>
                  <a:gd name="T64" fmla="*/ 0 w 1898"/>
                  <a:gd name="T65" fmla="*/ 0 h 1670"/>
                  <a:gd name="T66" fmla="*/ 0 w 1898"/>
                  <a:gd name="T67" fmla="*/ 0 h 1670"/>
                  <a:gd name="T68" fmla="*/ 0 w 1898"/>
                  <a:gd name="T69" fmla="*/ 0 h 1670"/>
                  <a:gd name="T70" fmla="*/ 0 w 1898"/>
                  <a:gd name="T71" fmla="*/ 0 h 1670"/>
                  <a:gd name="T72" fmla="*/ 0 w 1898"/>
                  <a:gd name="T73" fmla="*/ 0 h 1670"/>
                  <a:gd name="T74" fmla="*/ 0 w 1898"/>
                  <a:gd name="T75" fmla="*/ 0 h 1670"/>
                  <a:gd name="T76" fmla="*/ 0 w 1898"/>
                  <a:gd name="T77" fmla="*/ 0 h 1670"/>
                  <a:gd name="T78" fmla="*/ 0 w 1898"/>
                  <a:gd name="T79" fmla="*/ 0 h 1670"/>
                  <a:gd name="T80" fmla="*/ 0 w 1898"/>
                  <a:gd name="T81" fmla="*/ 0 h 1670"/>
                  <a:gd name="T82" fmla="*/ 0 w 1898"/>
                  <a:gd name="T83" fmla="*/ 0 h 1670"/>
                  <a:gd name="T84" fmla="*/ 0 w 1898"/>
                  <a:gd name="T85" fmla="*/ 0 h 1670"/>
                  <a:gd name="T86" fmla="*/ 0 w 1898"/>
                  <a:gd name="T87" fmla="*/ 0 h 1670"/>
                  <a:gd name="T88" fmla="*/ 0 w 1898"/>
                  <a:gd name="T89" fmla="*/ 0 h 1670"/>
                  <a:gd name="T90" fmla="*/ 0 w 1898"/>
                  <a:gd name="T91" fmla="*/ 0 h 1670"/>
                  <a:gd name="T92" fmla="*/ 0 w 1898"/>
                  <a:gd name="T93" fmla="*/ 0 h 1670"/>
                  <a:gd name="T94" fmla="*/ 0 w 1898"/>
                  <a:gd name="T95" fmla="*/ 0 h 1670"/>
                  <a:gd name="T96" fmla="*/ 0 w 1898"/>
                  <a:gd name="T97" fmla="*/ 0 h 1670"/>
                  <a:gd name="T98" fmla="*/ 0 w 1898"/>
                  <a:gd name="T99" fmla="*/ 0 h 1670"/>
                  <a:gd name="T100" fmla="*/ 0 w 1898"/>
                  <a:gd name="T101" fmla="*/ 0 h 1670"/>
                  <a:gd name="T102" fmla="*/ 0 w 1898"/>
                  <a:gd name="T103" fmla="*/ 0 h 1670"/>
                  <a:gd name="T104" fmla="*/ 0 w 1898"/>
                  <a:gd name="T105" fmla="*/ 0 h 16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98"/>
                  <a:gd name="T160" fmla="*/ 0 h 1670"/>
                  <a:gd name="T161" fmla="*/ 1898 w 1898"/>
                  <a:gd name="T162" fmla="*/ 1670 h 16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98" h="1670">
                    <a:moveTo>
                      <a:pt x="1773" y="431"/>
                    </a:moveTo>
                    <a:lnTo>
                      <a:pt x="1720" y="392"/>
                    </a:lnTo>
                    <a:lnTo>
                      <a:pt x="1458" y="344"/>
                    </a:lnTo>
                    <a:lnTo>
                      <a:pt x="1378" y="393"/>
                    </a:lnTo>
                    <a:lnTo>
                      <a:pt x="1339" y="395"/>
                    </a:lnTo>
                    <a:lnTo>
                      <a:pt x="1277" y="375"/>
                    </a:lnTo>
                    <a:lnTo>
                      <a:pt x="1225" y="438"/>
                    </a:lnTo>
                    <a:lnTo>
                      <a:pt x="1136" y="461"/>
                    </a:lnTo>
                    <a:lnTo>
                      <a:pt x="1056" y="519"/>
                    </a:lnTo>
                    <a:lnTo>
                      <a:pt x="1104" y="563"/>
                    </a:lnTo>
                    <a:lnTo>
                      <a:pt x="1186" y="589"/>
                    </a:lnTo>
                    <a:lnTo>
                      <a:pt x="1241" y="644"/>
                    </a:lnTo>
                    <a:lnTo>
                      <a:pt x="1256" y="674"/>
                    </a:lnTo>
                    <a:lnTo>
                      <a:pt x="1195" y="627"/>
                    </a:lnTo>
                    <a:lnTo>
                      <a:pt x="1107" y="612"/>
                    </a:lnTo>
                    <a:lnTo>
                      <a:pt x="1086" y="663"/>
                    </a:lnTo>
                    <a:lnTo>
                      <a:pt x="1147" y="703"/>
                    </a:lnTo>
                    <a:lnTo>
                      <a:pt x="1158" y="773"/>
                    </a:lnTo>
                    <a:lnTo>
                      <a:pt x="1076" y="677"/>
                    </a:lnTo>
                    <a:lnTo>
                      <a:pt x="1022" y="659"/>
                    </a:lnTo>
                    <a:lnTo>
                      <a:pt x="999" y="666"/>
                    </a:lnTo>
                    <a:lnTo>
                      <a:pt x="1014" y="726"/>
                    </a:lnTo>
                    <a:lnTo>
                      <a:pt x="1067" y="764"/>
                    </a:lnTo>
                    <a:lnTo>
                      <a:pt x="1037" y="789"/>
                    </a:lnTo>
                    <a:lnTo>
                      <a:pt x="978" y="736"/>
                    </a:lnTo>
                    <a:lnTo>
                      <a:pt x="946" y="666"/>
                    </a:lnTo>
                    <a:lnTo>
                      <a:pt x="816" y="587"/>
                    </a:lnTo>
                    <a:lnTo>
                      <a:pt x="811" y="568"/>
                    </a:lnTo>
                    <a:lnTo>
                      <a:pt x="826" y="528"/>
                    </a:lnTo>
                    <a:lnTo>
                      <a:pt x="751" y="557"/>
                    </a:lnTo>
                    <a:lnTo>
                      <a:pt x="754" y="787"/>
                    </a:lnTo>
                    <a:lnTo>
                      <a:pt x="794" y="825"/>
                    </a:lnTo>
                    <a:lnTo>
                      <a:pt x="819" y="907"/>
                    </a:lnTo>
                    <a:lnTo>
                      <a:pt x="921" y="998"/>
                    </a:lnTo>
                    <a:lnTo>
                      <a:pt x="965" y="1097"/>
                    </a:lnTo>
                    <a:lnTo>
                      <a:pt x="940" y="1116"/>
                    </a:lnTo>
                    <a:lnTo>
                      <a:pt x="914" y="1109"/>
                    </a:lnTo>
                    <a:lnTo>
                      <a:pt x="925" y="1073"/>
                    </a:lnTo>
                    <a:lnTo>
                      <a:pt x="898" y="1039"/>
                    </a:lnTo>
                    <a:lnTo>
                      <a:pt x="847" y="1035"/>
                    </a:lnTo>
                    <a:lnTo>
                      <a:pt x="836" y="1082"/>
                    </a:lnTo>
                    <a:lnTo>
                      <a:pt x="869" y="1159"/>
                    </a:lnTo>
                    <a:lnTo>
                      <a:pt x="853" y="1177"/>
                    </a:lnTo>
                    <a:lnTo>
                      <a:pt x="737" y="1195"/>
                    </a:lnTo>
                    <a:lnTo>
                      <a:pt x="763" y="1231"/>
                    </a:lnTo>
                    <a:lnTo>
                      <a:pt x="921" y="1293"/>
                    </a:lnTo>
                    <a:lnTo>
                      <a:pt x="973" y="1294"/>
                    </a:lnTo>
                    <a:lnTo>
                      <a:pt x="1004" y="1357"/>
                    </a:lnTo>
                    <a:lnTo>
                      <a:pt x="1041" y="1356"/>
                    </a:lnTo>
                    <a:lnTo>
                      <a:pt x="1130" y="1430"/>
                    </a:lnTo>
                    <a:lnTo>
                      <a:pt x="1162" y="1432"/>
                    </a:lnTo>
                    <a:lnTo>
                      <a:pt x="1204" y="1458"/>
                    </a:lnTo>
                    <a:lnTo>
                      <a:pt x="1222" y="1670"/>
                    </a:lnTo>
                    <a:lnTo>
                      <a:pt x="1143" y="1626"/>
                    </a:lnTo>
                    <a:lnTo>
                      <a:pt x="1081" y="1556"/>
                    </a:lnTo>
                    <a:lnTo>
                      <a:pt x="922" y="1577"/>
                    </a:lnTo>
                    <a:lnTo>
                      <a:pt x="869" y="1550"/>
                    </a:lnTo>
                    <a:lnTo>
                      <a:pt x="927" y="1531"/>
                    </a:lnTo>
                    <a:lnTo>
                      <a:pt x="936" y="1486"/>
                    </a:lnTo>
                    <a:lnTo>
                      <a:pt x="870" y="1479"/>
                    </a:lnTo>
                    <a:lnTo>
                      <a:pt x="788" y="1407"/>
                    </a:lnTo>
                    <a:lnTo>
                      <a:pt x="756" y="1439"/>
                    </a:lnTo>
                    <a:lnTo>
                      <a:pt x="700" y="1420"/>
                    </a:lnTo>
                    <a:lnTo>
                      <a:pt x="628" y="1432"/>
                    </a:lnTo>
                    <a:lnTo>
                      <a:pt x="557" y="1421"/>
                    </a:lnTo>
                    <a:lnTo>
                      <a:pt x="459" y="1437"/>
                    </a:lnTo>
                    <a:lnTo>
                      <a:pt x="380" y="1407"/>
                    </a:lnTo>
                    <a:lnTo>
                      <a:pt x="359" y="1407"/>
                    </a:lnTo>
                    <a:lnTo>
                      <a:pt x="348" y="1428"/>
                    </a:lnTo>
                    <a:lnTo>
                      <a:pt x="314" y="1439"/>
                    </a:lnTo>
                    <a:lnTo>
                      <a:pt x="185" y="1226"/>
                    </a:lnTo>
                    <a:lnTo>
                      <a:pt x="243" y="1232"/>
                    </a:lnTo>
                    <a:lnTo>
                      <a:pt x="298" y="1221"/>
                    </a:lnTo>
                    <a:lnTo>
                      <a:pt x="277" y="1174"/>
                    </a:lnTo>
                    <a:lnTo>
                      <a:pt x="195" y="1141"/>
                    </a:lnTo>
                    <a:lnTo>
                      <a:pt x="182" y="1192"/>
                    </a:lnTo>
                    <a:lnTo>
                      <a:pt x="95" y="1051"/>
                    </a:lnTo>
                    <a:lnTo>
                      <a:pt x="40" y="1010"/>
                    </a:lnTo>
                    <a:lnTo>
                      <a:pt x="17" y="921"/>
                    </a:lnTo>
                    <a:lnTo>
                      <a:pt x="7" y="907"/>
                    </a:lnTo>
                    <a:lnTo>
                      <a:pt x="0" y="907"/>
                    </a:lnTo>
                    <a:lnTo>
                      <a:pt x="7" y="911"/>
                    </a:lnTo>
                    <a:lnTo>
                      <a:pt x="53" y="874"/>
                    </a:lnTo>
                    <a:lnTo>
                      <a:pt x="76" y="838"/>
                    </a:lnTo>
                    <a:lnTo>
                      <a:pt x="94" y="773"/>
                    </a:lnTo>
                    <a:lnTo>
                      <a:pt x="147" y="733"/>
                    </a:lnTo>
                    <a:lnTo>
                      <a:pt x="196" y="638"/>
                    </a:lnTo>
                    <a:lnTo>
                      <a:pt x="265" y="572"/>
                    </a:lnTo>
                    <a:lnTo>
                      <a:pt x="254" y="441"/>
                    </a:lnTo>
                    <a:lnTo>
                      <a:pt x="448" y="411"/>
                    </a:lnTo>
                    <a:lnTo>
                      <a:pt x="508" y="353"/>
                    </a:lnTo>
                    <a:lnTo>
                      <a:pt x="605" y="313"/>
                    </a:lnTo>
                    <a:lnTo>
                      <a:pt x="716" y="309"/>
                    </a:lnTo>
                    <a:lnTo>
                      <a:pt x="793" y="234"/>
                    </a:lnTo>
                    <a:lnTo>
                      <a:pt x="1336" y="123"/>
                    </a:lnTo>
                    <a:lnTo>
                      <a:pt x="1391" y="166"/>
                    </a:lnTo>
                    <a:lnTo>
                      <a:pt x="1588" y="221"/>
                    </a:lnTo>
                    <a:lnTo>
                      <a:pt x="1696" y="190"/>
                    </a:lnTo>
                    <a:lnTo>
                      <a:pt x="1765" y="119"/>
                    </a:lnTo>
                    <a:lnTo>
                      <a:pt x="1767" y="10"/>
                    </a:lnTo>
                    <a:lnTo>
                      <a:pt x="1829" y="0"/>
                    </a:lnTo>
                    <a:lnTo>
                      <a:pt x="1845" y="31"/>
                    </a:lnTo>
                    <a:lnTo>
                      <a:pt x="1898" y="69"/>
                    </a:lnTo>
                    <a:lnTo>
                      <a:pt x="1896" y="131"/>
                    </a:lnTo>
                    <a:lnTo>
                      <a:pt x="1842" y="182"/>
                    </a:lnTo>
                    <a:lnTo>
                      <a:pt x="1825" y="348"/>
                    </a:lnTo>
                    <a:lnTo>
                      <a:pt x="1773" y="431"/>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sp>
          <p:nvSpPr>
            <p:cNvPr id="350" name="Freeform 211"/>
            <p:cNvSpPr>
              <a:spLocks/>
            </p:cNvSpPr>
            <p:nvPr/>
          </p:nvSpPr>
          <p:spPr bwMode="auto">
            <a:xfrm>
              <a:off x="6975521" y="3802802"/>
              <a:ext cx="732602" cy="442578"/>
            </a:xfrm>
            <a:custGeom>
              <a:avLst/>
              <a:gdLst>
                <a:gd name="T0" fmla="*/ 0 w 1803"/>
                <a:gd name="T1" fmla="*/ 0 h 1088"/>
                <a:gd name="T2" fmla="*/ 0 w 1803"/>
                <a:gd name="T3" fmla="*/ 0 h 1088"/>
                <a:gd name="T4" fmla="*/ 0 w 1803"/>
                <a:gd name="T5" fmla="*/ 0 h 1088"/>
                <a:gd name="T6" fmla="*/ 0 w 1803"/>
                <a:gd name="T7" fmla="*/ 0 h 1088"/>
                <a:gd name="T8" fmla="*/ 0 w 1803"/>
                <a:gd name="T9" fmla="*/ 0 h 1088"/>
                <a:gd name="T10" fmla="*/ 0 w 1803"/>
                <a:gd name="T11" fmla="*/ 0 h 1088"/>
                <a:gd name="T12" fmla="*/ 0 w 1803"/>
                <a:gd name="T13" fmla="*/ 0 h 1088"/>
                <a:gd name="T14" fmla="*/ 0 w 1803"/>
                <a:gd name="T15" fmla="*/ 0 h 1088"/>
                <a:gd name="T16" fmla="*/ 0 w 1803"/>
                <a:gd name="T17" fmla="*/ 0 h 1088"/>
                <a:gd name="T18" fmla="*/ 0 w 1803"/>
                <a:gd name="T19" fmla="*/ 0 h 1088"/>
                <a:gd name="T20" fmla="*/ 0 w 1803"/>
                <a:gd name="T21" fmla="*/ 0 h 1088"/>
                <a:gd name="T22" fmla="*/ 0 w 1803"/>
                <a:gd name="T23" fmla="*/ 0 h 1088"/>
                <a:gd name="T24" fmla="*/ 0 w 1803"/>
                <a:gd name="T25" fmla="*/ 0 h 1088"/>
                <a:gd name="T26" fmla="*/ 0 w 1803"/>
                <a:gd name="T27" fmla="*/ 0 h 1088"/>
                <a:gd name="T28" fmla="*/ 0 w 1803"/>
                <a:gd name="T29" fmla="*/ 0 h 1088"/>
                <a:gd name="T30" fmla="*/ 0 w 1803"/>
                <a:gd name="T31" fmla="*/ 0 h 1088"/>
                <a:gd name="T32" fmla="*/ 0 w 1803"/>
                <a:gd name="T33" fmla="*/ 0 h 1088"/>
                <a:gd name="T34" fmla="*/ 0 w 1803"/>
                <a:gd name="T35" fmla="*/ 0 h 1088"/>
                <a:gd name="T36" fmla="*/ 0 w 1803"/>
                <a:gd name="T37" fmla="*/ 0 h 1088"/>
                <a:gd name="T38" fmla="*/ 0 w 1803"/>
                <a:gd name="T39" fmla="*/ 0 h 1088"/>
                <a:gd name="T40" fmla="*/ 0 w 1803"/>
                <a:gd name="T41" fmla="*/ 0 h 1088"/>
                <a:gd name="T42" fmla="*/ 0 w 1803"/>
                <a:gd name="T43" fmla="*/ 0 h 1088"/>
                <a:gd name="T44" fmla="*/ 0 w 1803"/>
                <a:gd name="T45" fmla="*/ 0 h 1088"/>
                <a:gd name="T46" fmla="*/ 0 w 1803"/>
                <a:gd name="T47" fmla="*/ 0 h 1088"/>
                <a:gd name="T48" fmla="*/ 0 w 1803"/>
                <a:gd name="T49" fmla="*/ 0 h 1088"/>
                <a:gd name="T50" fmla="*/ 0 w 1803"/>
                <a:gd name="T51" fmla="*/ 0 h 1088"/>
                <a:gd name="T52" fmla="*/ 0 w 1803"/>
                <a:gd name="T53" fmla="*/ 0 h 1088"/>
                <a:gd name="T54" fmla="*/ 0 w 1803"/>
                <a:gd name="T55" fmla="*/ 0 h 1088"/>
                <a:gd name="T56" fmla="*/ 0 w 1803"/>
                <a:gd name="T57" fmla="*/ 0 h 1088"/>
                <a:gd name="T58" fmla="*/ 0 w 1803"/>
                <a:gd name="T59" fmla="*/ 0 h 1088"/>
                <a:gd name="T60" fmla="*/ 0 w 1803"/>
                <a:gd name="T61" fmla="*/ 0 h 1088"/>
                <a:gd name="T62" fmla="*/ 0 w 1803"/>
                <a:gd name="T63" fmla="*/ 0 h 1088"/>
                <a:gd name="T64" fmla="*/ 0 w 1803"/>
                <a:gd name="T65" fmla="*/ 0 h 1088"/>
                <a:gd name="T66" fmla="*/ 0 w 1803"/>
                <a:gd name="T67" fmla="*/ 0 h 1088"/>
                <a:gd name="T68" fmla="*/ 0 w 1803"/>
                <a:gd name="T69" fmla="*/ 0 h 1088"/>
                <a:gd name="T70" fmla="*/ 0 w 1803"/>
                <a:gd name="T71" fmla="*/ 0 h 1088"/>
                <a:gd name="T72" fmla="*/ 0 w 1803"/>
                <a:gd name="T73" fmla="*/ 0 h 1088"/>
                <a:gd name="T74" fmla="*/ 0 w 1803"/>
                <a:gd name="T75" fmla="*/ 0 h 1088"/>
                <a:gd name="T76" fmla="*/ 0 w 1803"/>
                <a:gd name="T77" fmla="*/ 0 h 1088"/>
                <a:gd name="T78" fmla="*/ 0 w 1803"/>
                <a:gd name="T79" fmla="*/ 0 h 1088"/>
                <a:gd name="T80" fmla="*/ 0 w 1803"/>
                <a:gd name="T81" fmla="*/ 0 h 1088"/>
                <a:gd name="T82" fmla="*/ 0 w 1803"/>
                <a:gd name="T83" fmla="*/ 0 h 1088"/>
                <a:gd name="T84" fmla="*/ 0 w 1803"/>
                <a:gd name="T85" fmla="*/ 0 h 1088"/>
                <a:gd name="T86" fmla="*/ 0 w 1803"/>
                <a:gd name="T87" fmla="*/ 0 h 1088"/>
                <a:gd name="T88" fmla="*/ 0 w 1803"/>
                <a:gd name="T89" fmla="*/ 0 h 1088"/>
                <a:gd name="T90" fmla="*/ 0 w 1803"/>
                <a:gd name="T91" fmla="*/ 0 h 1088"/>
                <a:gd name="T92" fmla="*/ 0 w 1803"/>
                <a:gd name="T93" fmla="*/ 0 h 1088"/>
                <a:gd name="T94" fmla="*/ 0 w 1803"/>
                <a:gd name="T95" fmla="*/ 0 h 1088"/>
                <a:gd name="T96" fmla="*/ 0 w 1803"/>
                <a:gd name="T97" fmla="*/ 0 h 1088"/>
                <a:gd name="T98" fmla="*/ 0 w 1803"/>
                <a:gd name="T99" fmla="*/ 0 h 1088"/>
                <a:gd name="T100" fmla="*/ 0 w 1803"/>
                <a:gd name="T101" fmla="*/ 0 h 1088"/>
                <a:gd name="T102" fmla="*/ 0 w 1803"/>
                <a:gd name="T103" fmla="*/ 0 h 1088"/>
                <a:gd name="T104" fmla="*/ 0 w 1803"/>
                <a:gd name="T105" fmla="*/ 0 h 108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3"/>
                <a:gd name="T160" fmla="*/ 0 h 1088"/>
                <a:gd name="T161" fmla="*/ 1803 w 1803"/>
                <a:gd name="T162" fmla="*/ 1088 h 108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3" h="1088">
                  <a:moveTo>
                    <a:pt x="302" y="175"/>
                  </a:moveTo>
                  <a:lnTo>
                    <a:pt x="479" y="308"/>
                  </a:lnTo>
                  <a:lnTo>
                    <a:pt x="669" y="303"/>
                  </a:lnTo>
                  <a:lnTo>
                    <a:pt x="735" y="210"/>
                  </a:lnTo>
                  <a:lnTo>
                    <a:pt x="960" y="126"/>
                  </a:lnTo>
                  <a:lnTo>
                    <a:pt x="1041" y="151"/>
                  </a:lnTo>
                  <a:lnTo>
                    <a:pt x="1155" y="105"/>
                  </a:lnTo>
                  <a:lnTo>
                    <a:pt x="1177" y="51"/>
                  </a:lnTo>
                  <a:lnTo>
                    <a:pt x="1254" y="7"/>
                  </a:lnTo>
                  <a:lnTo>
                    <a:pt x="1337" y="13"/>
                  </a:lnTo>
                  <a:lnTo>
                    <a:pt x="1394" y="0"/>
                  </a:lnTo>
                  <a:lnTo>
                    <a:pt x="1469" y="18"/>
                  </a:lnTo>
                  <a:lnTo>
                    <a:pt x="1548" y="68"/>
                  </a:lnTo>
                  <a:lnTo>
                    <a:pt x="1609" y="52"/>
                  </a:lnTo>
                  <a:lnTo>
                    <a:pt x="1781" y="168"/>
                  </a:lnTo>
                  <a:lnTo>
                    <a:pt x="1803" y="220"/>
                  </a:lnTo>
                  <a:lnTo>
                    <a:pt x="1751" y="289"/>
                  </a:lnTo>
                  <a:lnTo>
                    <a:pt x="1715" y="290"/>
                  </a:lnTo>
                  <a:lnTo>
                    <a:pt x="1645" y="322"/>
                  </a:lnTo>
                  <a:lnTo>
                    <a:pt x="1598" y="375"/>
                  </a:lnTo>
                  <a:lnTo>
                    <a:pt x="1595" y="411"/>
                  </a:lnTo>
                  <a:lnTo>
                    <a:pt x="1567" y="462"/>
                  </a:lnTo>
                  <a:lnTo>
                    <a:pt x="1557" y="518"/>
                  </a:lnTo>
                  <a:lnTo>
                    <a:pt x="1366" y="869"/>
                  </a:lnTo>
                  <a:lnTo>
                    <a:pt x="1128" y="954"/>
                  </a:lnTo>
                  <a:lnTo>
                    <a:pt x="1113" y="954"/>
                  </a:lnTo>
                  <a:lnTo>
                    <a:pt x="1089" y="919"/>
                  </a:lnTo>
                  <a:lnTo>
                    <a:pt x="1028" y="939"/>
                  </a:lnTo>
                  <a:lnTo>
                    <a:pt x="968" y="943"/>
                  </a:lnTo>
                  <a:lnTo>
                    <a:pt x="888" y="994"/>
                  </a:lnTo>
                  <a:lnTo>
                    <a:pt x="816" y="996"/>
                  </a:lnTo>
                  <a:lnTo>
                    <a:pt x="783" y="1023"/>
                  </a:lnTo>
                  <a:lnTo>
                    <a:pt x="713" y="1029"/>
                  </a:lnTo>
                  <a:lnTo>
                    <a:pt x="648" y="1066"/>
                  </a:lnTo>
                  <a:lnTo>
                    <a:pt x="493" y="1088"/>
                  </a:lnTo>
                  <a:lnTo>
                    <a:pt x="421" y="1037"/>
                  </a:lnTo>
                  <a:lnTo>
                    <a:pt x="364" y="1016"/>
                  </a:lnTo>
                  <a:lnTo>
                    <a:pt x="309" y="938"/>
                  </a:lnTo>
                  <a:lnTo>
                    <a:pt x="241" y="900"/>
                  </a:lnTo>
                  <a:lnTo>
                    <a:pt x="193" y="822"/>
                  </a:lnTo>
                  <a:lnTo>
                    <a:pt x="137" y="793"/>
                  </a:lnTo>
                  <a:lnTo>
                    <a:pt x="71" y="659"/>
                  </a:lnTo>
                  <a:lnTo>
                    <a:pt x="36" y="638"/>
                  </a:lnTo>
                  <a:lnTo>
                    <a:pt x="0" y="635"/>
                  </a:lnTo>
                  <a:lnTo>
                    <a:pt x="54" y="584"/>
                  </a:lnTo>
                  <a:lnTo>
                    <a:pt x="108" y="572"/>
                  </a:lnTo>
                  <a:lnTo>
                    <a:pt x="109" y="472"/>
                  </a:lnTo>
                  <a:lnTo>
                    <a:pt x="156" y="385"/>
                  </a:lnTo>
                  <a:lnTo>
                    <a:pt x="124" y="343"/>
                  </a:lnTo>
                  <a:lnTo>
                    <a:pt x="146" y="307"/>
                  </a:lnTo>
                  <a:lnTo>
                    <a:pt x="274" y="309"/>
                  </a:lnTo>
                  <a:lnTo>
                    <a:pt x="297" y="271"/>
                  </a:lnTo>
                  <a:lnTo>
                    <a:pt x="302" y="175"/>
                  </a:lnTo>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51" name="Freeform 212"/>
            <p:cNvSpPr>
              <a:spLocks/>
            </p:cNvSpPr>
            <p:nvPr/>
          </p:nvSpPr>
          <p:spPr bwMode="auto">
            <a:xfrm>
              <a:off x="6836591" y="2793891"/>
              <a:ext cx="984499" cy="918718"/>
            </a:xfrm>
            <a:custGeom>
              <a:avLst/>
              <a:gdLst>
                <a:gd name="T0" fmla="*/ 0 w 2420"/>
                <a:gd name="T1" fmla="*/ 0 h 2261"/>
                <a:gd name="T2" fmla="*/ 0 w 2420"/>
                <a:gd name="T3" fmla="*/ 0 h 2261"/>
                <a:gd name="T4" fmla="*/ 0 w 2420"/>
                <a:gd name="T5" fmla="*/ 0 h 2261"/>
                <a:gd name="T6" fmla="*/ 0 w 2420"/>
                <a:gd name="T7" fmla="*/ 0 h 2261"/>
                <a:gd name="T8" fmla="*/ 0 w 2420"/>
                <a:gd name="T9" fmla="*/ 0 h 2261"/>
                <a:gd name="T10" fmla="*/ 0 w 2420"/>
                <a:gd name="T11" fmla="*/ 0 h 2261"/>
                <a:gd name="T12" fmla="*/ 0 w 2420"/>
                <a:gd name="T13" fmla="*/ 0 h 2261"/>
                <a:gd name="T14" fmla="*/ 0 w 2420"/>
                <a:gd name="T15" fmla="*/ 0 h 2261"/>
                <a:gd name="T16" fmla="*/ 0 w 2420"/>
                <a:gd name="T17" fmla="*/ 0 h 2261"/>
                <a:gd name="T18" fmla="*/ 0 w 2420"/>
                <a:gd name="T19" fmla="*/ 0 h 2261"/>
                <a:gd name="T20" fmla="*/ 0 w 2420"/>
                <a:gd name="T21" fmla="*/ 0 h 2261"/>
                <a:gd name="T22" fmla="*/ 0 w 2420"/>
                <a:gd name="T23" fmla="*/ 0 h 2261"/>
                <a:gd name="T24" fmla="*/ 0 w 2420"/>
                <a:gd name="T25" fmla="*/ 0 h 2261"/>
                <a:gd name="T26" fmla="*/ 0 w 2420"/>
                <a:gd name="T27" fmla="*/ 0 h 2261"/>
                <a:gd name="T28" fmla="*/ 0 w 2420"/>
                <a:gd name="T29" fmla="*/ 0 h 2261"/>
                <a:gd name="T30" fmla="*/ 0 w 2420"/>
                <a:gd name="T31" fmla="*/ 0 h 2261"/>
                <a:gd name="T32" fmla="*/ 0 w 2420"/>
                <a:gd name="T33" fmla="*/ 0 h 2261"/>
                <a:gd name="T34" fmla="*/ 0 w 2420"/>
                <a:gd name="T35" fmla="*/ 0 h 2261"/>
                <a:gd name="T36" fmla="*/ 0 w 2420"/>
                <a:gd name="T37" fmla="*/ 0 h 2261"/>
                <a:gd name="T38" fmla="*/ 0 w 2420"/>
                <a:gd name="T39" fmla="*/ 0 h 2261"/>
                <a:gd name="T40" fmla="*/ 0 w 2420"/>
                <a:gd name="T41" fmla="*/ 0 h 2261"/>
                <a:gd name="T42" fmla="*/ 0 w 2420"/>
                <a:gd name="T43" fmla="*/ 0 h 2261"/>
                <a:gd name="T44" fmla="*/ 0 w 2420"/>
                <a:gd name="T45" fmla="*/ 0 h 2261"/>
                <a:gd name="T46" fmla="*/ 0 w 2420"/>
                <a:gd name="T47" fmla="*/ 0 h 2261"/>
                <a:gd name="T48" fmla="*/ 0 w 2420"/>
                <a:gd name="T49" fmla="*/ 0 h 2261"/>
                <a:gd name="T50" fmla="*/ 0 w 2420"/>
                <a:gd name="T51" fmla="*/ 0 h 2261"/>
                <a:gd name="T52" fmla="*/ 0 w 2420"/>
                <a:gd name="T53" fmla="*/ 0 h 2261"/>
                <a:gd name="T54" fmla="*/ 0 w 2420"/>
                <a:gd name="T55" fmla="*/ 0 h 2261"/>
                <a:gd name="T56" fmla="*/ 0 w 2420"/>
                <a:gd name="T57" fmla="*/ 0 h 2261"/>
                <a:gd name="T58" fmla="*/ 0 w 2420"/>
                <a:gd name="T59" fmla="*/ 0 h 2261"/>
                <a:gd name="T60" fmla="*/ 0 w 2420"/>
                <a:gd name="T61" fmla="*/ 0 h 2261"/>
                <a:gd name="T62" fmla="*/ 0 w 2420"/>
                <a:gd name="T63" fmla="*/ 0 h 2261"/>
                <a:gd name="T64" fmla="*/ 0 w 2420"/>
                <a:gd name="T65" fmla="*/ 0 h 2261"/>
                <a:gd name="T66" fmla="*/ 0 w 2420"/>
                <a:gd name="T67" fmla="*/ 0 h 2261"/>
                <a:gd name="T68" fmla="*/ 0 w 2420"/>
                <a:gd name="T69" fmla="*/ 0 h 2261"/>
                <a:gd name="T70" fmla="*/ 0 w 2420"/>
                <a:gd name="T71" fmla="*/ 0 h 2261"/>
                <a:gd name="T72" fmla="*/ 0 w 2420"/>
                <a:gd name="T73" fmla="*/ 0 h 2261"/>
                <a:gd name="T74" fmla="*/ 0 w 2420"/>
                <a:gd name="T75" fmla="*/ 0 h 2261"/>
                <a:gd name="T76" fmla="*/ 0 w 2420"/>
                <a:gd name="T77" fmla="*/ 0 h 2261"/>
                <a:gd name="T78" fmla="*/ 0 w 2420"/>
                <a:gd name="T79" fmla="*/ 0 h 2261"/>
                <a:gd name="T80" fmla="*/ 0 w 2420"/>
                <a:gd name="T81" fmla="*/ 0 h 2261"/>
                <a:gd name="T82" fmla="*/ 0 w 2420"/>
                <a:gd name="T83" fmla="*/ 0 h 2261"/>
                <a:gd name="T84" fmla="*/ 0 w 2420"/>
                <a:gd name="T85" fmla="*/ 0 h 22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20"/>
                <a:gd name="T130" fmla="*/ 0 h 2261"/>
                <a:gd name="T131" fmla="*/ 2420 w 2420"/>
                <a:gd name="T132" fmla="*/ 2261 h 22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20" h="2261">
                  <a:moveTo>
                    <a:pt x="2258" y="1271"/>
                  </a:moveTo>
                  <a:lnTo>
                    <a:pt x="2342" y="1479"/>
                  </a:lnTo>
                  <a:lnTo>
                    <a:pt x="2391" y="1529"/>
                  </a:lnTo>
                  <a:lnTo>
                    <a:pt x="2388" y="1580"/>
                  </a:lnTo>
                  <a:lnTo>
                    <a:pt x="2420" y="1648"/>
                  </a:lnTo>
                  <a:lnTo>
                    <a:pt x="2401" y="1712"/>
                  </a:lnTo>
                  <a:lnTo>
                    <a:pt x="2235" y="1850"/>
                  </a:lnTo>
                  <a:lnTo>
                    <a:pt x="2094" y="2123"/>
                  </a:lnTo>
                  <a:lnTo>
                    <a:pt x="2087" y="2190"/>
                  </a:lnTo>
                  <a:lnTo>
                    <a:pt x="2101" y="2250"/>
                  </a:lnTo>
                  <a:lnTo>
                    <a:pt x="2053" y="2261"/>
                  </a:lnTo>
                  <a:lnTo>
                    <a:pt x="1983" y="2242"/>
                  </a:lnTo>
                  <a:lnTo>
                    <a:pt x="1842" y="2134"/>
                  </a:lnTo>
                  <a:lnTo>
                    <a:pt x="1719" y="2138"/>
                  </a:lnTo>
                  <a:lnTo>
                    <a:pt x="1638" y="2188"/>
                  </a:lnTo>
                  <a:lnTo>
                    <a:pt x="1589" y="2154"/>
                  </a:lnTo>
                  <a:lnTo>
                    <a:pt x="1499" y="2154"/>
                  </a:lnTo>
                  <a:lnTo>
                    <a:pt x="1456" y="2199"/>
                  </a:lnTo>
                  <a:lnTo>
                    <a:pt x="1410" y="2222"/>
                  </a:lnTo>
                  <a:lnTo>
                    <a:pt x="1374" y="2211"/>
                  </a:lnTo>
                  <a:lnTo>
                    <a:pt x="1258" y="2091"/>
                  </a:lnTo>
                  <a:lnTo>
                    <a:pt x="1158" y="2124"/>
                  </a:lnTo>
                  <a:lnTo>
                    <a:pt x="1018" y="2057"/>
                  </a:lnTo>
                  <a:lnTo>
                    <a:pt x="931" y="1923"/>
                  </a:lnTo>
                  <a:lnTo>
                    <a:pt x="889" y="1900"/>
                  </a:lnTo>
                  <a:lnTo>
                    <a:pt x="867" y="1907"/>
                  </a:lnTo>
                  <a:lnTo>
                    <a:pt x="825" y="1874"/>
                  </a:lnTo>
                  <a:lnTo>
                    <a:pt x="825" y="1800"/>
                  </a:lnTo>
                  <a:lnTo>
                    <a:pt x="624" y="1740"/>
                  </a:lnTo>
                  <a:lnTo>
                    <a:pt x="618" y="1768"/>
                  </a:lnTo>
                  <a:lnTo>
                    <a:pt x="630" y="1796"/>
                  </a:lnTo>
                  <a:lnTo>
                    <a:pt x="575" y="1829"/>
                  </a:lnTo>
                  <a:lnTo>
                    <a:pt x="543" y="1814"/>
                  </a:lnTo>
                  <a:lnTo>
                    <a:pt x="458" y="1726"/>
                  </a:lnTo>
                  <a:lnTo>
                    <a:pt x="482" y="1678"/>
                  </a:lnTo>
                  <a:lnTo>
                    <a:pt x="484" y="1664"/>
                  </a:lnTo>
                  <a:lnTo>
                    <a:pt x="478" y="1656"/>
                  </a:lnTo>
                  <a:lnTo>
                    <a:pt x="426" y="1645"/>
                  </a:lnTo>
                  <a:lnTo>
                    <a:pt x="387" y="1587"/>
                  </a:lnTo>
                  <a:lnTo>
                    <a:pt x="256" y="1564"/>
                  </a:lnTo>
                  <a:lnTo>
                    <a:pt x="234" y="1518"/>
                  </a:lnTo>
                  <a:lnTo>
                    <a:pt x="189" y="1490"/>
                  </a:lnTo>
                  <a:lnTo>
                    <a:pt x="118" y="1557"/>
                  </a:lnTo>
                  <a:lnTo>
                    <a:pt x="89" y="1536"/>
                  </a:lnTo>
                  <a:lnTo>
                    <a:pt x="143" y="1329"/>
                  </a:lnTo>
                  <a:lnTo>
                    <a:pt x="139" y="1309"/>
                  </a:lnTo>
                  <a:lnTo>
                    <a:pt x="74" y="1220"/>
                  </a:lnTo>
                  <a:lnTo>
                    <a:pt x="59" y="806"/>
                  </a:lnTo>
                  <a:lnTo>
                    <a:pt x="0" y="754"/>
                  </a:lnTo>
                  <a:lnTo>
                    <a:pt x="1" y="723"/>
                  </a:lnTo>
                  <a:lnTo>
                    <a:pt x="53" y="620"/>
                  </a:lnTo>
                  <a:lnTo>
                    <a:pt x="69" y="494"/>
                  </a:lnTo>
                  <a:lnTo>
                    <a:pt x="34" y="381"/>
                  </a:lnTo>
                  <a:lnTo>
                    <a:pt x="100" y="419"/>
                  </a:lnTo>
                  <a:lnTo>
                    <a:pt x="116" y="395"/>
                  </a:lnTo>
                  <a:lnTo>
                    <a:pt x="118" y="361"/>
                  </a:lnTo>
                  <a:lnTo>
                    <a:pt x="63" y="339"/>
                  </a:lnTo>
                  <a:lnTo>
                    <a:pt x="101" y="316"/>
                  </a:lnTo>
                  <a:lnTo>
                    <a:pt x="143" y="304"/>
                  </a:lnTo>
                  <a:lnTo>
                    <a:pt x="147" y="319"/>
                  </a:lnTo>
                  <a:lnTo>
                    <a:pt x="200" y="272"/>
                  </a:lnTo>
                  <a:lnTo>
                    <a:pt x="472" y="202"/>
                  </a:lnTo>
                  <a:lnTo>
                    <a:pt x="616" y="93"/>
                  </a:lnTo>
                  <a:lnTo>
                    <a:pt x="1011" y="0"/>
                  </a:lnTo>
                  <a:lnTo>
                    <a:pt x="1092" y="31"/>
                  </a:lnTo>
                  <a:lnTo>
                    <a:pt x="1122" y="64"/>
                  </a:lnTo>
                  <a:lnTo>
                    <a:pt x="1116" y="91"/>
                  </a:lnTo>
                  <a:lnTo>
                    <a:pt x="1042" y="42"/>
                  </a:lnTo>
                  <a:lnTo>
                    <a:pt x="1097" y="208"/>
                  </a:lnTo>
                  <a:lnTo>
                    <a:pt x="1125" y="221"/>
                  </a:lnTo>
                  <a:lnTo>
                    <a:pt x="1130" y="206"/>
                  </a:lnTo>
                  <a:lnTo>
                    <a:pt x="1148" y="191"/>
                  </a:lnTo>
                  <a:lnTo>
                    <a:pt x="1166" y="205"/>
                  </a:lnTo>
                  <a:lnTo>
                    <a:pt x="1268" y="178"/>
                  </a:lnTo>
                  <a:lnTo>
                    <a:pt x="1308" y="154"/>
                  </a:lnTo>
                  <a:lnTo>
                    <a:pt x="1637" y="219"/>
                  </a:lnTo>
                  <a:lnTo>
                    <a:pt x="2051" y="169"/>
                  </a:lnTo>
                  <a:lnTo>
                    <a:pt x="2194" y="249"/>
                  </a:lnTo>
                  <a:lnTo>
                    <a:pt x="2325" y="739"/>
                  </a:lnTo>
                  <a:lnTo>
                    <a:pt x="2324" y="815"/>
                  </a:lnTo>
                  <a:lnTo>
                    <a:pt x="2278" y="890"/>
                  </a:lnTo>
                  <a:lnTo>
                    <a:pt x="2213" y="930"/>
                  </a:lnTo>
                  <a:lnTo>
                    <a:pt x="2170" y="987"/>
                  </a:lnTo>
                  <a:lnTo>
                    <a:pt x="2196" y="1034"/>
                  </a:lnTo>
                  <a:lnTo>
                    <a:pt x="2266" y="1090"/>
                  </a:lnTo>
                  <a:lnTo>
                    <a:pt x="2258" y="1271"/>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52" name="Freeform 214"/>
            <p:cNvSpPr>
              <a:spLocks/>
            </p:cNvSpPr>
            <p:nvPr/>
          </p:nvSpPr>
          <p:spPr bwMode="auto">
            <a:xfrm>
              <a:off x="7483970" y="2263216"/>
              <a:ext cx="659131" cy="371262"/>
            </a:xfrm>
            <a:custGeom>
              <a:avLst/>
              <a:gdLst>
                <a:gd name="T0" fmla="*/ 0 w 1625"/>
                <a:gd name="T1" fmla="*/ 0 h 912"/>
                <a:gd name="T2" fmla="*/ 0 w 1625"/>
                <a:gd name="T3" fmla="*/ 0 h 912"/>
                <a:gd name="T4" fmla="*/ 0 w 1625"/>
                <a:gd name="T5" fmla="*/ 0 h 912"/>
                <a:gd name="T6" fmla="*/ 0 w 1625"/>
                <a:gd name="T7" fmla="*/ 0 h 912"/>
                <a:gd name="T8" fmla="*/ 0 w 1625"/>
                <a:gd name="T9" fmla="*/ 0 h 912"/>
                <a:gd name="T10" fmla="*/ 0 w 1625"/>
                <a:gd name="T11" fmla="*/ 0 h 912"/>
                <a:gd name="T12" fmla="*/ 0 w 1625"/>
                <a:gd name="T13" fmla="*/ 0 h 912"/>
                <a:gd name="T14" fmla="*/ 0 w 1625"/>
                <a:gd name="T15" fmla="*/ 0 h 912"/>
                <a:gd name="T16" fmla="*/ 0 w 1625"/>
                <a:gd name="T17" fmla="*/ 0 h 912"/>
                <a:gd name="T18" fmla="*/ 0 w 1625"/>
                <a:gd name="T19" fmla="*/ 0 h 912"/>
                <a:gd name="T20" fmla="*/ 0 w 1625"/>
                <a:gd name="T21" fmla="*/ 0 h 912"/>
                <a:gd name="T22" fmla="*/ 0 w 1625"/>
                <a:gd name="T23" fmla="*/ 0 h 912"/>
                <a:gd name="T24" fmla="*/ 0 w 1625"/>
                <a:gd name="T25" fmla="*/ 0 h 912"/>
                <a:gd name="T26" fmla="*/ 0 w 1625"/>
                <a:gd name="T27" fmla="*/ 0 h 912"/>
                <a:gd name="T28" fmla="*/ 0 w 1625"/>
                <a:gd name="T29" fmla="*/ 0 h 912"/>
                <a:gd name="T30" fmla="*/ 0 w 1625"/>
                <a:gd name="T31" fmla="*/ 0 h 912"/>
                <a:gd name="T32" fmla="*/ 0 w 1625"/>
                <a:gd name="T33" fmla="*/ 0 h 912"/>
                <a:gd name="T34" fmla="*/ 0 w 1625"/>
                <a:gd name="T35" fmla="*/ 0 h 912"/>
                <a:gd name="T36" fmla="*/ 0 w 1625"/>
                <a:gd name="T37" fmla="*/ 0 h 912"/>
                <a:gd name="T38" fmla="*/ 0 w 1625"/>
                <a:gd name="T39" fmla="*/ 0 h 912"/>
                <a:gd name="T40" fmla="*/ 0 w 1625"/>
                <a:gd name="T41" fmla="*/ 0 h 912"/>
                <a:gd name="T42" fmla="*/ 0 w 1625"/>
                <a:gd name="T43" fmla="*/ 0 h 912"/>
                <a:gd name="T44" fmla="*/ 0 w 1625"/>
                <a:gd name="T45" fmla="*/ 0 h 912"/>
                <a:gd name="T46" fmla="*/ 0 w 1625"/>
                <a:gd name="T47" fmla="*/ 0 h 912"/>
                <a:gd name="T48" fmla="*/ 0 w 1625"/>
                <a:gd name="T49" fmla="*/ 0 h 912"/>
                <a:gd name="T50" fmla="*/ 0 w 1625"/>
                <a:gd name="T51" fmla="*/ 0 h 912"/>
                <a:gd name="T52" fmla="*/ 0 w 1625"/>
                <a:gd name="T53" fmla="*/ 0 h 912"/>
                <a:gd name="T54" fmla="*/ 0 w 1625"/>
                <a:gd name="T55" fmla="*/ 0 h 912"/>
                <a:gd name="T56" fmla="*/ 0 w 1625"/>
                <a:gd name="T57" fmla="*/ 0 h 912"/>
                <a:gd name="T58" fmla="*/ 0 w 1625"/>
                <a:gd name="T59" fmla="*/ 0 h 912"/>
                <a:gd name="T60" fmla="*/ 0 w 1625"/>
                <a:gd name="T61" fmla="*/ 0 h 912"/>
                <a:gd name="T62" fmla="*/ 0 w 1625"/>
                <a:gd name="T63" fmla="*/ 0 h 912"/>
                <a:gd name="T64" fmla="*/ 0 w 1625"/>
                <a:gd name="T65" fmla="*/ 0 h 912"/>
                <a:gd name="T66" fmla="*/ 0 w 1625"/>
                <a:gd name="T67" fmla="*/ 0 h 912"/>
                <a:gd name="T68" fmla="*/ 0 w 1625"/>
                <a:gd name="T69" fmla="*/ 0 h 912"/>
                <a:gd name="T70" fmla="*/ 0 w 1625"/>
                <a:gd name="T71" fmla="*/ 0 h 912"/>
                <a:gd name="T72" fmla="*/ 0 w 1625"/>
                <a:gd name="T73" fmla="*/ 0 h 9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25"/>
                <a:gd name="T112" fmla="*/ 0 h 912"/>
                <a:gd name="T113" fmla="*/ 1625 w 1625"/>
                <a:gd name="T114" fmla="*/ 912 h 9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25" h="912">
                  <a:moveTo>
                    <a:pt x="12" y="804"/>
                  </a:moveTo>
                  <a:lnTo>
                    <a:pt x="0" y="760"/>
                  </a:lnTo>
                  <a:lnTo>
                    <a:pt x="16" y="558"/>
                  </a:lnTo>
                  <a:lnTo>
                    <a:pt x="74" y="448"/>
                  </a:lnTo>
                  <a:lnTo>
                    <a:pt x="96" y="336"/>
                  </a:lnTo>
                  <a:lnTo>
                    <a:pt x="157" y="233"/>
                  </a:lnTo>
                  <a:lnTo>
                    <a:pt x="192" y="205"/>
                  </a:lnTo>
                  <a:lnTo>
                    <a:pt x="323" y="157"/>
                  </a:lnTo>
                  <a:lnTo>
                    <a:pt x="434" y="288"/>
                  </a:lnTo>
                  <a:lnTo>
                    <a:pt x="459" y="357"/>
                  </a:lnTo>
                  <a:lnTo>
                    <a:pt x="463" y="314"/>
                  </a:lnTo>
                  <a:lnTo>
                    <a:pt x="485" y="377"/>
                  </a:lnTo>
                  <a:lnTo>
                    <a:pt x="511" y="408"/>
                  </a:lnTo>
                  <a:lnTo>
                    <a:pt x="577" y="440"/>
                  </a:lnTo>
                  <a:lnTo>
                    <a:pt x="598" y="439"/>
                  </a:lnTo>
                  <a:lnTo>
                    <a:pt x="658" y="408"/>
                  </a:lnTo>
                  <a:lnTo>
                    <a:pt x="662" y="431"/>
                  </a:lnTo>
                  <a:lnTo>
                    <a:pt x="680" y="453"/>
                  </a:lnTo>
                  <a:lnTo>
                    <a:pt x="684" y="394"/>
                  </a:lnTo>
                  <a:lnTo>
                    <a:pt x="718" y="338"/>
                  </a:lnTo>
                  <a:lnTo>
                    <a:pt x="706" y="92"/>
                  </a:lnTo>
                  <a:lnTo>
                    <a:pt x="728" y="69"/>
                  </a:lnTo>
                  <a:lnTo>
                    <a:pt x="758" y="62"/>
                  </a:lnTo>
                  <a:lnTo>
                    <a:pt x="805" y="21"/>
                  </a:lnTo>
                  <a:lnTo>
                    <a:pt x="903" y="0"/>
                  </a:lnTo>
                  <a:lnTo>
                    <a:pt x="968" y="9"/>
                  </a:lnTo>
                  <a:lnTo>
                    <a:pt x="1019" y="44"/>
                  </a:lnTo>
                  <a:lnTo>
                    <a:pt x="1080" y="62"/>
                  </a:lnTo>
                  <a:lnTo>
                    <a:pt x="1103" y="95"/>
                  </a:lnTo>
                  <a:lnTo>
                    <a:pt x="1194" y="162"/>
                  </a:lnTo>
                  <a:lnTo>
                    <a:pt x="1225" y="161"/>
                  </a:lnTo>
                  <a:lnTo>
                    <a:pt x="1253" y="145"/>
                  </a:lnTo>
                  <a:lnTo>
                    <a:pt x="1313" y="131"/>
                  </a:lnTo>
                  <a:lnTo>
                    <a:pt x="1380" y="143"/>
                  </a:lnTo>
                  <a:lnTo>
                    <a:pt x="1423" y="192"/>
                  </a:lnTo>
                  <a:lnTo>
                    <a:pt x="1452" y="207"/>
                  </a:lnTo>
                  <a:lnTo>
                    <a:pt x="1472" y="233"/>
                  </a:lnTo>
                  <a:lnTo>
                    <a:pt x="1480" y="262"/>
                  </a:lnTo>
                  <a:lnTo>
                    <a:pt x="1460" y="388"/>
                  </a:lnTo>
                  <a:lnTo>
                    <a:pt x="1493" y="395"/>
                  </a:lnTo>
                  <a:lnTo>
                    <a:pt x="1522" y="410"/>
                  </a:lnTo>
                  <a:lnTo>
                    <a:pt x="1524" y="441"/>
                  </a:lnTo>
                  <a:lnTo>
                    <a:pt x="1615" y="579"/>
                  </a:lnTo>
                  <a:lnTo>
                    <a:pt x="1625" y="676"/>
                  </a:lnTo>
                  <a:lnTo>
                    <a:pt x="1583" y="682"/>
                  </a:lnTo>
                  <a:lnTo>
                    <a:pt x="1516" y="755"/>
                  </a:lnTo>
                  <a:lnTo>
                    <a:pt x="1511" y="789"/>
                  </a:lnTo>
                  <a:lnTo>
                    <a:pt x="1475" y="846"/>
                  </a:lnTo>
                  <a:lnTo>
                    <a:pt x="1445" y="855"/>
                  </a:lnTo>
                  <a:lnTo>
                    <a:pt x="1379" y="836"/>
                  </a:lnTo>
                  <a:lnTo>
                    <a:pt x="1355" y="857"/>
                  </a:lnTo>
                  <a:lnTo>
                    <a:pt x="1350" y="891"/>
                  </a:lnTo>
                  <a:lnTo>
                    <a:pt x="1325" y="912"/>
                  </a:lnTo>
                  <a:lnTo>
                    <a:pt x="1231" y="883"/>
                  </a:lnTo>
                  <a:lnTo>
                    <a:pt x="1147" y="798"/>
                  </a:lnTo>
                  <a:lnTo>
                    <a:pt x="1037" y="733"/>
                  </a:lnTo>
                  <a:lnTo>
                    <a:pt x="972" y="740"/>
                  </a:lnTo>
                  <a:lnTo>
                    <a:pt x="941" y="732"/>
                  </a:lnTo>
                  <a:lnTo>
                    <a:pt x="895" y="644"/>
                  </a:lnTo>
                  <a:lnTo>
                    <a:pt x="870" y="623"/>
                  </a:lnTo>
                  <a:lnTo>
                    <a:pt x="840" y="636"/>
                  </a:lnTo>
                  <a:lnTo>
                    <a:pt x="797" y="686"/>
                  </a:lnTo>
                  <a:lnTo>
                    <a:pt x="736" y="704"/>
                  </a:lnTo>
                  <a:lnTo>
                    <a:pt x="611" y="664"/>
                  </a:lnTo>
                  <a:lnTo>
                    <a:pt x="514" y="661"/>
                  </a:lnTo>
                  <a:lnTo>
                    <a:pt x="484" y="672"/>
                  </a:lnTo>
                  <a:lnTo>
                    <a:pt x="454" y="664"/>
                  </a:lnTo>
                  <a:lnTo>
                    <a:pt x="425" y="679"/>
                  </a:lnTo>
                  <a:lnTo>
                    <a:pt x="391" y="680"/>
                  </a:lnTo>
                  <a:lnTo>
                    <a:pt x="362" y="665"/>
                  </a:lnTo>
                  <a:lnTo>
                    <a:pt x="265" y="668"/>
                  </a:lnTo>
                  <a:lnTo>
                    <a:pt x="116" y="736"/>
                  </a:lnTo>
                  <a:lnTo>
                    <a:pt x="82" y="792"/>
                  </a:lnTo>
                  <a:lnTo>
                    <a:pt x="54" y="811"/>
                  </a:lnTo>
                  <a:lnTo>
                    <a:pt x="12" y="804"/>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nvGrpSpPr>
            <p:cNvPr id="353" name="Group 550"/>
            <p:cNvGrpSpPr/>
            <p:nvPr/>
          </p:nvGrpSpPr>
          <p:grpSpPr>
            <a:xfrm>
              <a:off x="6675344" y="518073"/>
              <a:ext cx="1013887" cy="2238062"/>
              <a:chOff x="11196967" y="656538"/>
              <a:chExt cx="655710" cy="1447419"/>
            </a:xfrm>
            <a:noFill/>
          </p:grpSpPr>
          <p:sp>
            <p:nvSpPr>
              <p:cNvPr id="533" name="Freeform 132"/>
              <p:cNvSpPr>
                <a:spLocks/>
              </p:cNvSpPr>
              <p:nvPr/>
            </p:nvSpPr>
            <p:spPr bwMode="auto">
              <a:xfrm>
                <a:off x="11461695" y="1865208"/>
                <a:ext cx="44800" cy="112592"/>
              </a:xfrm>
              <a:custGeom>
                <a:avLst/>
                <a:gdLst>
                  <a:gd name="T0" fmla="*/ 0 w 170"/>
                  <a:gd name="T1" fmla="*/ 0 h 427"/>
                  <a:gd name="T2" fmla="*/ 0 w 170"/>
                  <a:gd name="T3" fmla="*/ 0 h 427"/>
                  <a:gd name="T4" fmla="*/ 0 w 170"/>
                  <a:gd name="T5" fmla="*/ 0 h 427"/>
                  <a:gd name="T6" fmla="*/ 0 w 170"/>
                  <a:gd name="T7" fmla="*/ 0 h 427"/>
                  <a:gd name="T8" fmla="*/ 0 w 170"/>
                  <a:gd name="T9" fmla="*/ 0 h 427"/>
                  <a:gd name="T10" fmla="*/ 0 w 170"/>
                  <a:gd name="T11" fmla="*/ 0 h 427"/>
                  <a:gd name="T12" fmla="*/ 0 w 170"/>
                  <a:gd name="T13" fmla="*/ 0 h 427"/>
                  <a:gd name="T14" fmla="*/ 0 60000 65536"/>
                  <a:gd name="T15" fmla="*/ 0 60000 65536"/>
                  <a:gd name="T16" fmla="*/ 0 60000 65536"/>
                  <a:gd name="T17" fmla="*/ 0 60000 65536"/>
                  <a:gd name="T18" fmla="*/ 0 60000 65536"/>
                  <a:gd name="T19" fmla="*/ 0 60000 65536"/>
                  <a:gd name="T20" fmla="*/ 0 60000 65536"/>
                  <a:gd name="T21" fmla="*/ 0 w 170"/>
                  <a:gd name="T22" fmla="*/ 0 h 427"/>
                  <a:gd name="T23" fmla="*/ 170 w 170"/>
                  <a:gd name="T24" fmla="*/ 427 h 4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0" h="427">
                    <a:moveTo>
                      <a:pt x="0" y="427"/>
                    </a:moveTo>
                    <a:lnTo>
                      <a:pt x="34" y="391"/>
                    </a:lnTo>
                    <a:lnTo>
                      <a:pt x="153" y="35"/>
                    </a:lnTo>
                    <a:lnTo>
                      <a:pt x="166" y="17"/>
                    </a:lnTo>
                    <a:lnTo>
                      <a:pt x="170" y="0"/>
                    </a:lnTo>
                    <a:lnTo>
                      <a:pt x="150" y="18"/>
                    </a:lnTo>
                    <a:lnTo>
                      <a:pt x="0" y="427"/>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34" name="Freeform 133"/>
              <p:cNvSpPr>
                <a:spLocks/>
              </p:cNvSpPr>
              <p:nvPr/>
            </p:nvSpPr>
            <p:spPr bwMode="auto">
              <a:xfrm>
                <a:off x="11461695" y="1865208"/>
                <a:ext cx="44800" cy="112592"/>
              </a:xfrm>
              <a:custGeom>
                <a:avLst/>
                <a:gdLst>
                  <a:gd name="T0" fmla="*/ 0 w 170"/>
                  <a:gd name="T1" fmla="*/ 0 h 427"/>
                  <a:gd name="T2" fmla="*/ 0 w 170"/>
                  <a:gd name="T3" fmla="*/ 0 h 427"/>
                  <a:gd name="T4" fmla="*/ 0 w 170"/>
                  <a:gd name="T5" fmla="*/ 0 h 427"/>
                  <a:gd name="T6" fmla="*/ 0 w 170"/>
                  <a:gd name="T7" fmla="*/ 0 h 427"/>
                  <a:gd name="T8" fmla="*/ 0 w 170"/>
                  <a:gd name="T9" fmla="*/ 0 h 427"/>
                  <a:gd name="T10" fmla="*/ 0 w 170"/>
                  <a:gd name="T11" fmla="*/ 0 h 427"/>
                  <a:gd name="T12" fmla="*/ 0 w 170"/>
                  <a:gd name="T13" fmla="*/ 0 h 427"/>
                  <a:gd name="T14" fmla="*/ 0 60000 65536"/>
                  <a:gd name="T15" fmla="*/ 0 60000 65536"/>
                  <a:gd name="T16" fmla="*/ 0 60000 65536"/>
                  <a:gd name="T17" fmla="*/ 0 60000 65536"/>
                  <a:gd name="T18" fmla="*/ 0 60000 65536"/>
                  <a:gd name="T19" fmla="*/ 0 60000 65536"/>
                  <a:gd name="T20" fmla="*/ 0 60000 65536"/>
                  <a:gd name="T21" fmla="*/ 0 w 170"/>
                  <a:gd name="T22" fmla="*/ 0 h 427"/>
                  <a:gd name="T23" fmla="*/ 170 w 170"/>
                  <a:gd name="T24" fmla="*/ 427 h 4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0" h="427">
                    <a:moveTo>
                      <a:pt x="0" y="427"/>
                    </a:moveTo>
                    <a:lnTo>
                      <a:pt x="34" y="391"/>
                    </a:lnTo>
                    <a:lnTo>
                      <a:pt x="153" y="35"/>
                    </a:lnTo>
                    <a:lnTo>
                      <a:pt x="166" y="17"/>
                    </a:lnTo>
                    <a:lnTo>
                      <a:pt x="170" y="0"/>
                    </a:lnTo>
                    <a:lnTo>
                      <a:pt x="150" y="18"/>
                    </a:lnTo>
                    <a:lnTo>
                      <a:pt x="0" y="427"/>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35" name="Freeform 134"/>
              <p:cNvSpPr>
                <a:spLocks/>
              </p:cNvSpPr>
              <p:nvPr/>
            </p:nvSpPr>
            <p:spPr bwMode="auto">
              <a:xfrm>
                <a:off x="11566228" y="1810947"/>
                <a:ext cx="50230" cy="99027"/>
              </a:xfrm>
              <a:custGeom>
                <a:avLst/>
                <a:gdLst>
                  <a:gd name="T0" fmla="*/ 0 w 193"/>
                  <a:gd name="T1" fmla="*/ 0 h 383"/>
                  <a:gd name="T2" fmla="*/ 0 w 193"/>
                  <a:gd name="T3" fmla="*/ 0 h 383"/>
                  <a:gd name="T4" fmla="*/ 0 w 193"/>
                  <a:gd name="T5" fmla="*/ 0 h 383"/>
                  <a:gd name="T6" fmla="*/ 0 w 193"/>
                  <a:gd name="T7" fmla="*/ 0 h 383"/>
                  <a:gd name="T8" fmla="*/ 0 w 193"/>
                  <a:gd name="T9" fmla="*/ 0 h 383"/>
                  <a:gd name="T10" fmla="*/ 0 w 193"/>
                  <a:gd name="T11" fmla="*/ 0 h 383"/>
                  <a:gd name="T12" fmla="*/ 0 w 193"/>
                  <a:gd name="T13" fmla="*/ 0 h 383"/>
                  <a:gd name="T14" fmla="*/ 0 w 193"/>
                  <a:gd name="T15" fmla="*/ 0 h 383"/>
                  <a:gd name="T16" fmla="*/ 0 w 193"/>
                  <a:gd name="T17" fmla="*/ 0 h 383"/>
                  <a:gd name="T18" fmla="*/ 0 w 193"/>
                  <a:gd name="T19" fmla="*/ 0 h 383"/>
                  <a:gd name="T20" fmla="*/ 0 w 193"/>
                  <a:gd name="T21" fmla="*/ 0 h 383"/>
                  <a:gd name="T22" fmla="*/ 0 w 193"/>
                  <a:gd name="T23" fmla="*/ 0 h 383"/>
                  <a:gd name="T24" fmla="*/ 0 w 193"/>
                  <a:gd name="T25" fmla="*/ 0 h 383"/>
                  <a:gd name="T26" fmla="*/ 0 w 193"/>
                  <a:gd name="T27" fmla="*/ 0 h 383"/>
                  <a:gd name="T28" fmla="*/ 0 w 193"/>
                  <a:gd name="T29" fmla="*/ 0 h 383"/>
                  <a:gd name="T30" fmla="*/ 0 w 193"/>
                  <a:gd name="T31" fmla="*/ 0 h 383"/>
                  <a:gd name="T32" fmla="*/ 0 w 193"/>
                  <a:gd name="T33" fmla="*/ 0 h 383"/>
                  <a:gd name="T34" fmla="*/ 0 w 193"/>
                  <a:gd name="T35" fmla="*/ 0 h 383"/>
                  <a:gd name="T36" fmla="*/ 0 w 193"/>
                  <a:gd name="T37" fmla="*/ 0 h 383"/>
                  <a:gd name="T38" fmla="*/ 0 w 193"/>
                  <a:gd name="T39" fmla="*/ 0 h 3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3"/>
                  <a:gd name="T61" fmla="*/ 0 h 383"/>
                  <a:gd name="T62" fmla="*/ 193 w 193"/>
                  <a:gd name="T63" fmla="*/ 383 h 3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3" h="383">
                    <a:moveTo>
                      <a:pt x="1" y="383"/>
                    </a:moveTo>
                    <a:lnTo>
                      <a:pt x="28" y="368"/>
                    </a:lnTo>
                    <a:lnTo>
                      <a:pt x="62" y="307"/>
                    </a:lnTo>
                    <a:lnTo>
                      <a:pt x="123" y="252"/>
                    </a:lnTo>
                    <a:lnTo>
                      <a:pt x="124" y="236"/>
                    </a:lnTo>
                    <a:lnTo>
                      <a:pt x="167" y="202"/>
                    </a:lnTo>
                    <a:lnTo>
                      <a:pt x="156" y="86"/>
                    </a:lnTo>
                    <a:lnTo>
                      <a:pt x="167" y="70"/>
                    </a:lnTo>
                    <a:lnTo>
                      <a:pt x="190" y="56"/>
                    </a:lnTo>
                    <a:lnTo>
                      <a:pt x="193" y="10"/>
                    </a:lnTo>
                    <a:lnTo>
                      <a:pt x="173" y="0"/>
                    </a:lnTo>
                    <a:lnTo>
                      <a:pt x="148" y="24"/>
                    </a:lnTo>
                    <a:lnTo>
                      <a:pt x="118" y="8"/>
                    </a:lnTo>
                    <a:lnTo>
                      <a:pt x="17" y="142"/>
                    </a:lnTo>
                    <a:lnTo>
                      <a:pt x="0" y="276"/>
                    </a:lnTo>
                    <a:lnTo>
                      <a:pt x="11" y="296"/>
                    </a:lnTo>
                    <a:lnTo>
                      <a:pt x="8" y="327"/>
                    </a:lnTo>
                    <a:lnTo>
                      <a:pt x="29" y="325"/>
                    </a:lnTo>
                    <a:lnTo>
                      <a:pt x="24" y="349"/>
                    </a:lnTo>
                    <a:lnTo>
                      <a:pt x="1" y="383"/>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36" name="Freeform 148"/>
              <p:cNvSpPr>
                <a:spLocks/>
              </p:cNvSpPr>
              <p:nvPr/>
            </p:nvSpPr>
            <p:spPr bwMode="auto">
              <a:xfrm>
                <a:off x="11196967" y="656538"/>
                <a:ext cx="655710" cy="1402654"/>
              </a:xfrm>
              <a:custGeom>
                <a:avLst/>
                <a:gdLst>
                  <a:gd name="T0" fmla="*/ 0 w 2499"/>
                  <a:gd name="T1" fmla="*/ 0 h 5343"/>
                  <a:gd name="T2" fmla="*/ 0 w 2499"/>
                  <a:gd name="T3" fmla="*/ 0 h 5343"/>
                  <a:gd name="T4" fmla="*/ 0 w 2499"/>
                  <a:gd name="T5" fmla="*/ 0 h 5343"/>
                  <a:gd name="T6" fmla="*/ 0 w 2499"/>
                  <a:gd name="T7" fmla="*/ 0 h 5343"/>
                  <a:gd name="T8" fmla="*/ 0 w 2499"/>
                  <a:gd name="T9" fmla="*/ 0 h 5343"/>
                  <a:gd name="T10" fmla="*/ 0 w 2499"/>
                  <a:gd name="T11" fmla="*/ 0 h 5343"/>
                  <a:gd name="T12" fmla="*/ 0 w 2499"/>
                  <a:gd name="T13" fmla="*/ 0 h 5343"/>
                  <a:gd name="T14" fmla="*/ 0 w 2499"/>
                  <a:gd name="T15" fmla="*/ 0 h 5343"/>
                  <a:gd name="T16" fmla="*/ 0 w 2499"/>
                  <a:gd name="T17" fmla="*/ 0 h 5343"/>
                  <a:gd name="T18" fmla="*/ 0 w 2499"/>
                  <a:gd name="T19" fmla="*/ 0 h 5343"/>
                  <a:gd name="T20" fmla="*/ 0 w 2499"/>
                  <a:gd name="T21" fmla="*/ 0 h 5343"/>
                  <a:gd name="T22" fmla="*/ 0 w 2499"/>
                  <a:gd name="T23" fmla="*/ 0 h 5343"/>
                  <a:gd name="T24" fmla="*/ 0 w 2499"/>
                  <a:gd name="T25" fmla="*/ 0 h 5343"/>
                  <a:gd name="T26" fmla="*/ 0 w 2499"/>
                  <a:gd name="T27" fmla="*/ 0 h 5343"/>
                  <a:gd name="T28" fmla="*/ 0 w 2499"/>
                  <a:gd name="T29" fmla="*/ 0 h 5343"/>
                  <a:gd name="T30" fmla="*/ 0 w 2499"/>
                  <a:gd name="T31" fmla="*/ 0 h 5343"/>
                  <a:gd name="T32" fmla="*/ 0 w 2499"/>
                  <a:gd name="T33" fmla="*/ 0 h 5343"/>
                  <a:gd name="T34" fmla="*/ 0 w 2499"/>
                  <a:gd name="T35" fmla="*/ 0 h 5343"/>
                  <a:gd name="T36" fmla="*/ 0 w 2499"/>
                  <a:gd name="T37" fmla="*/ 0 h 5343"/>
                  <a:gd name="T38" fmla="*/ 0 w 2499"/>
                  <a:gd name="T39" fmla="*/ 0 h 5343"/>
                  <a:gd name="T40" fmla="*/ 0 w 2499"/>
                  <a:gd name="T41" fmla="*/ 0 h 5343"/>
                  <a:gd name="T42" fmla="*/ 0 w 2499"/>
                  <a:gd name="T43" fmla="*/ 0 h 5343"/>
                  <a:gd name="T44" fmla="*/ 0 w 2499"/>
                  <a:gd name="T45" fmla="*/ 0 h 5343"/>
                  <a:gd name="T46" fmla="*/ 0 w 2499"/>
                  <a:gd name="T47" fmla="*/ 0 h 5343"/>
                  <a:gd name="T48" fmla="*/ 0 w 2499"/>
                  <a:gd name="T49" fmla="*/ 0 h 5343"/>
                  <a:gd name="T50" fmla="*/ 0 w 2499"/>
                  <a:gd name="T51" fmla="*/ 0 h 5343"/>
                  <a:gd name="T52" fmla="*/ 0 w 2499"/>
                  <a:gd name="T53" fmla="*/ 0 h 5343"/>
                  <a:gd name="T54" fmla="*/ 0 w 2499"/>
                  <a:gd name="T55" fmla="*/ 0 h 5343"/>
                  <a:gd name="T56" fmla="*/ 0 w 2499"/>
                  <a:gd name="T57" fmla="*/ 0 h 5343"/>
                  <a:gd name="T58" fmla="*/ 0 w 2499"/>
                  <a:gd name="T59" fmla="*/ 0 h 5343"/>
                  <a:gd name="T60" fmla="*/ 0 w 2499"/>
                  <a:gd name="T61" fmla="*/ 0 h 5343"/>
                  <a:gd name="T62" fmla="*/ 0 w 2499"/>
                  <a:gd name="T63" fmla="*/ 0 h 5343"/>
                  <a:gd name="T64" fmla="*/ 0 w 2499"/>
                  <a:gd name="T65" fmla="*/ 0 h 5343"/>
                  <a:gd name="T66" fmla="*/ 0 w 2499"/>
                  <a:gd name="T67" fmla="*/ 0 h 5343"/>
                  <a:gd name="T68" fmla="*/ 0 w 2499"/>
                  <a:gd name="T69" fmla="*/ 0 h 5343"/>
                  <a:gd name="T70" fmla="*/ 0 w 2499"/>
                  <a:gd name="T71" fmla="*/ 0 h 5343"/>
                  <a:gd name="T72" fmla="*/ 0 w 2499"/>
                  <a:gd name="T73" fmla="*/ 0 h 5343"/>
                  <a:gd name="T74" fmla="*/ 0 w 2499"/>
                  <a:gd name="T75" fmla="*/ 0 h 5343"/>
                  <a:gd name="T76" fmla="*/ 0 w 2499"/>
                  <a:gd name="T77" fmla="*/ 0 h 5343"/>
                  <a:gd name="T78" fmla="*/ 0 w 2499"/>
                  <a:gd name="T79" fmla="*/ 0 h 5343"/>
                  <a:gd name="T80" fmla="*/ 0 w 2499"/>
                  <a:gd name="T81" fmla="*/ 0 h 5343"/>
                  <a:gd name="T82" fmla="*/ 0 w 2499"/>
                  <a:gd name="T83" fmla="*/ 0 h 5343"/>
                  <a:gd name="T84" fmla="*/ 0 w 2499"/>
                  <a:gd name="T85" fmla="*/ 0 h 5343"/>
                  <a:gd name="T86" fmla="*/ 0 w 2499"/>
                  <a:gd name="T87" fmla="*/ 0 h 5343"/>
                  <a:gd name="T88" fmla="*/ 0 w 2499"/>
                  <a:gd name="T89" fmla="*/ 0 h 5343"/>
                  <a:gd name="T90" fmla="*/ 0 w 2499"/>
                  <a:gd name="T91" fmla="*/ 0 h 5343"/>
                  <a:gd name="T92" fmla="*/ 0 w 2499"/>
                  <a:gd name="T93" fmla="*/ 0 h 5343"/>
                  <a:gd name="T94" fmla="*/ 0 w 2499"/>
                  <a:gd name="T95" fmla="*/ 0 h 5343"/>
                  <a:gd name="T96" fmla="*/ 0 w 2499"/>
                  <a:gd name="T97" fmla="*/ 0 h 5343"/>
                  <a:gd name="T98" fmla="*/ 0 w 2499"/>
                  <a:gd name="T99" fmla="*/ 0 h 5343"/>
                  <a:gd name="T100" fmla="*/ 0 w 2499"/>
                  <a:gd name="T101" fmla="*/ 0 h 5343"/>
                  <a:gd name="T102" fmla="*/ 0 w 2499"/>
                  <a:gd name="T103" fmla="*/ 0 h 5343"/>
                  <a:gd name="T104" fmla="*/ 0 w 2499"/>
                  <a:gd name="T105" fmla="*/ 0 h 5343"/>
                  <a:gd name="T106" fmla="*/ 0 w 2499"/>
                  <a:gd name="T107" fmla="*/ 0 h 5343"/>
                  <a:gd name="T108" fmla="*/ 0 w 2499"/>
                  <a:gd name="T109" fmla="*/ 0 h 5343"/>
                  <a:gd name="T110" fmla="*/ 0 w 2499"/>
                  <a:gd name="T111" fmla="*/ 0 h 5343"/>
                  <a:gd name="T112" fmla="*/ 0 w 2499"/>
                  <a:gd name="T113" fmla="*/ 0 h 5343"/>
                  <a:gd name="T114" fmla="*/ 0 w 2499"/>
                  <a:gd name="T115" fmla="*/ 0 h 534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99"/>
                  <a:gd name="T175" fmla="*/ 0 h 5343"/>
                  <a:gd name="T176" fmla="*/ 2499 w 2499"/>
                  <a:gd name="T177" fmla="*/ 5343 h 534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99" h="5343">
                    <a:moveTo>
                      <a:pt x="32" y="3830"/>
                    </a:moveTo>
                    <a:lnTo>
                      <a:pt x="0" y="3873"/>
                    </a:lnTo>
                    <a:lnTo>
                      <a:pt x="0" y="4088"/>
                    </a:lnTo>
                    <a:lnTo>
                      <a:pt x="18" y="4095"/>
                    </a:lnTo>
                    <a:lnTo>
                      <a:pt x="22" y="4111"/>
                    </a:lnTo>
                    <a:lnTo>
                      <a:pt x="21" y="4140"/>
                    </a:lnTo>
                    <a:lnTo>
                      <a:pt x="14" y="4154"/>
                    </a:lnTo>
                    <a:lnTo>
                      <a:pt x="41" y="4129"/>
                    </a:lnTo>
                    <a:lnTo>
                      <a:pt x="51" y="4103"/>
                    </a:lnTo>
                    <a:lnTo>
                      <a:pt x="65" y="4121"/>
                    </a:lnTo>
                    <a:lnTo>
                      <a:pt x="50" y="4155"/>
                    </a:lnTo>
                    <a:lnTo>
                      <a:pt x="66" y="4157"/>
                    </a:lnTo>
                    <a:lnTo>
                      <a:pt x="74" y="4166"/>
                    </a:lnTo>
                    <a:lnTo>
                      <a:pt x="54" y="4177"/>
                    </a:lnTo>
                    <a:lnTo>
                      <a:pt x="21" y="4213"/>
                    </a:lnTo>
                    <a:lnTo>
                      <a:pt x="79" y="4242"/>
                    </a:lnTo>
                    <a:lnTo>
                      <a:pt x="86" y="4282"/>
                    </a:lnTo>
                    <a:lnTo>
                      <a:pt x="66" y="4342"/>
                    </a:lnTo>
                    <a:lnTo>
                      <a:pt x="109" y="4337"/>
                    </a:lnTo>
                    <a:lnTo>
                      <a:pt x="113" y="4384"/>
                    </a:lnTo>
                    <a:lnTo>
                      <a:pt x="84" y="4414"/>
                    </a:lnTo>
                    <a:lnTo>
                      <a:pt x="88" y="4473"/>
                    </a:lnTo>
                    <a:lnTo>
                      <a:pt x="78" y="4518"/>
                    </a:lnTo>
                    <a:lnTo>
                      <a:pt x="112" y="4523"/>
                    </a:lnTo>
                    <a:lnTo>
                      <a:pt x="144" y="4698"/>
                    </a:lnTo>
                    <a:lnTo>
                      <a:pt x="182" y="4743"/>
                    </a:lnTo>
                    <a:lnTo>
                      <a:pt x="198" y="4791"/>
                    </a:lnTo>
                    <a:lnTo>
                      <a:pt x="240" y="4825"/>
                    </a:lnTo>
                    <a:lnTo>
                      <a:pt x="266" y="4869"/>
                    </a:lnTo>
                    <a:lnTo>
                      <a:pt x="262" y="4901"/>
                    </a:lnTo>
                    <a:lnTo>
                      <a:pt x="237" y="4912"/>
                    </a:lnTo>
                    <a:lnTo>
                      <a:pt x="208" y="4905"/>
                    </a:lnTo>
                    <a:lnTo>
                      <a:pt x="200" y="4918"/>
                    </a:lnTo>
                    <a:lnTo>
                      <a:pt x="222" y="4986"/>
                    </a:lnTo>
                    <a:lnTo>
                      <a:pt x="190" y="4981"/>
                    </a:lnTo>
                    <a:lnTo>
                      <a:pt x="165" y="4964"/>
                    </a:lnTo>
                    <a:lnTo>
                      <a:pt x="160" y="4990"/>
                    </a:lnTo>
                    <a:lnTo>
                      <a:pt x="246" y="5224"/>
                    </a:lnTo>
                    <a:lnTo>
                      <a:pt x="232" y="5246"/>
                    </a:lnTo>
                    <a:lnTo>
                      <a:pt x="223" y="5291"/>
                    </a:lnTo>
                    <a:lnTo>
                      <a:pt x="210" y="5295"/>
                    </a:lnTo>
                    <a:lnTo>
                      <a:pt x="203" y="5314"/>
                    </a:lnTo>
                    <a:lnTo>
                      <a:pt x="255" y="5317"/>
                    </a:lnTo>
                    <a:lnTo>
                      <a:pt x="300" y="5336"/>
                    </a:lnTo>
                    <a:lnTo>
                      <a:pt x="377" y="5316"/>
                    </a:lnTo>
                    <a:lnTo>
                      <a:pt x="445" y="5319"/>
                    </a:lnTo>
                    <a:lnTo>
                      <a:pt x="486" y="5343"/>
                    </a:lnTo>
                    <a:lnTo>
                      <a:pt x="508" y="5327"/>
                    </a:lnTo>
                    <a:lnTo>
                      <a:pt x="529" y="5273"/>
                    </a:lnTo>
                    <a:lnTo>
                      <a:pt x="524" y="5185"/>
                    </a:lnTo>
                    <a:lnTo>
                      <a:pt x="576" y="5086"/>
                    </a:lnTo>
                    <a:lnTo>
                      <a:pt x="615" y="5101"/>
                    </a:lnTo>
                    <a:lnTo>
                      <a:pt x="635" y="5062"/>
                    </a:lnTo>
                    <a:lnTo>
                      <a:pt x="678" y="5039"/>
                    </a:lnTo>
                    <a:lnTo>
                      <a:pt x="736" y="5044"/>
                    </a:lnTo>
                    <a:lnTo>
                      <a:pt x="771" y="5061"/>
                    </a:lnTo>
                    <a:lnTo>
                      <a:pt x="816" y="5052"/>
                    </a:lnTo>
                    <a:lnTo>
                      <a:pt x="864" y="5070"/>
                    </a:lnTo>
                    <a:lnTo>
                      <a:pt x="910" y="5072"/>
                    </a:lnTo>
                    <a:lnTo>
                      <a:pt x="1014" y="4842"/>
                    </a:lnTo>
                    <a:lnTo>
                      <a:pt x="1041" y="4655"/>
                    </a:lnTo>
                    <a:lnTo>
                      <a:pt x="1083" y="4570"/>
                    </a:lnTo>
                    <a:lnTo>
                      <a:pt x="1083" y="4527"/>
                    </a:lnTo>
                    <a:lnTo>
                      <a:pt x="1068" y="4502"/>
                    </a:lnTo>
                    <a:lnTo>
                      <a:pt x="1093" y="4463"/>
                    </a:lnTo>
                    <a:lnTo>
                      <a:pt x="1089" y="4429"/>
                    </a:lnTo>
                    <a:lnTo>
                      <a:pt x="1071" y="4401"/>
                    </a:lnTo>
                    <a:lnTo>
                      <a:pt x="1068" y="4381"/>
                    </a:lnTo>
                    <a:lnTo>
                      <a:pt x="1072" y="4365"/>
                    </a:lnTo>
                    <a:lnTo>
                      <a:pt x="1096" y="4378"/>
                    </a:lnTo>
                    <a:lnTo>
                      <a:pt x="1114" y="4377"/>
                    </a:lnTo>
                    <a:lnTo>
                      <a:pt x="1104" y="4350"/>
                    </a:lnTo>
                    <a:lnTo>
                      <a:pt x="1107" y="4334"/>
                    </a:lnTo>
                    <a:lnTo>
                      <a:pt x="1120" y="4312"/>
                    </a:lnTo>
                    <a:lnTo>
                      <a:pt x="1118" y="4293"/>
                    </a:lnTo>
                    <a:lnTo>
                      <a:pt x="1130" y="4230"/>
                    </a:lnTo>
                    <a:lnTo>
                      <a:pt x="1127" y="4211"/>
                    </a:lnTo>
                    <a:lnTo>
                      <a:pt x="1063" y="4164"/>
                    </a:lnTo>
                    <a:lnTo>
                      <a:pt x="1072" y="4161"/>
                    </a:lnTo>
                    <a:lnTo>
                      <a:pt x="1106" y="4174"/>
                    </a:lnTo>
                    <a:lnTo>
                      <a:pt x="1142" y="4171"/>
                    </a:lnTo>
                    <a:lnTo>
                      <a:pt x="1152" y="4153"/>
                    </a:lnTo>
                    <a:lnTo>
                      <a:pt x="1118" y="4120"/>
                    </a:lnTo>
                    <a:lnTo>
                      <a:pt x="1013" y="4099"/>
                    </a:lnTo>
                    <a:lnTo>
                      <a:pt x="1021" y="4088"/>
                    </a:lnTo>
                    <a:lnTo>
                      <a:pt x="1106" y="4082"/>
                    </a:lnTo>
                    <a:lnTo>
                      <a:pt x="1152" y="4101"/>
                    </a:lnTo>
                    <a:lnTo>
                      <a:pt x="1180" y="4088"/>
                    </a:lnTo>
                    <a:lnTo>
                      <a:pt x="1190" y="4055"/>
                    </a:lnTo>
                    <a:lnTo>
                      <a:pt x="1239" y="4055"/>
                    </a:lnTo>
                    <a:lnTo>
                      <a:pt x="1305" y="3987"/>
                    </a:lnTo>
                    <a:lnTo>
                      <a:pt x="1308" y="3942"/>
                    </a:lnTo>
                    <a:lnTo>
                      <a:pt x="1336" y="3953"/>
                    </a:lnTo>
                    <a:lnTo>
                      <a:pt x="1334" y="3998"/>
                    </a:lnTo>
                    <a:lnTo>
                      <a:pt x="1380" y="3994"/>
                    </a:lnTo>
                    <a:lnTo>
                      <a:pt x="1409" y="3948"/>
                    </a:lnTo>
                    <a:lnTo>
                      <a:pt x="1463" y="3905"/>
                    </a:lnTo>
                    <a:lnTo>
                      <a:pt x="1454" y="3858"/>
                    </a:lnTo>
                    <a:lnTo>
                      <a:pt x="1471" y="3876"/>
                    </a:lnTo>
                    <a:lnTo>
                      <a:pt x="1496" y="3876"/>
                    </a:lnTo>
                    <a:lnTo>
                      <a:pt x="1496" y="3854"/>
                    </a:lnTo>
                    <a:lnTo>
                      <a:pt x="1519" y="3837"/>
                    </a:lnTo>
                    <a:lnTo>
                      <a:pt x="1515" y="3819"/>
                    </a:lnTo>
                    <a:lnTo>
                      <a:pt x="1319" y="3855"/>
                    </a:lnTo>
                    <a:lnTo>
                      <a:pt x="1274" y="3845"/>
                    </a:lnTo>
                    <a:lnTo>
                      <a:pt x="1256" y="3858"/>
                    </a:lnTo>
                    <a:lnTo>
                      <a:pt x="1249" y="3832"/>
                    </a:lnTo>
                    <a:lnTo>
                      <a:pt x="1227" y="3811"/>
                    </a:lnTo>
                    <a:lnTo>
                      <a:pt x="1140" y="3768"/>
                    </a:lnTo>
                    <a:lnTo>
                      <a:pt x="1089" y="3775"/>
                    </a:lnTo>
                    <a:lnTo>
                      <a:pt x="1068" y="3763"/>
                    </a:lnTo>
                    <a:lnTo>
                      <a:pt x="1090" y="3752"/>
                    </a:lnTo>
                    <a:lnTo>
                      <a:pt x="1106" y="3729"/>
                    </a:lnTo>
                    <a:lnTo>
                      <a:pt x="1130" y="3737"/>
                    </a:lnTo>
                    <a:lnTo>
                      <a:pt x="1159" y="3730"/>
                    </a:lnTo>
                    <a:lnTo>
                      <a:pt x="1203" y="3738"/>
                    </a:lnTo>
                    <a:lnTo>
                      <a:pt x="1208" y="3735"/>
                    </a:lnTo>
                    <a:lnTo>
                      <a:pt x="1242" y="3771"/>
                    </a:lnTo>
                    <a:lnTo>
                      <a:pt x="1267" y="3758"/>
                    </a:lnTo>
                    <a:lnTo>
                      <a:pt x="1269" y="3745"/>
                    </a:lnTo>
                    <a:lnTo>
                      <a:pt x="1293" y="3766"/>
                    </a:lnTo>
                    <a:lnTo>
                      <a:pt x="1323" y="3778"/>
                    </a:lnTo>
                    <a:lnTo>
                      <a:pt x="1334" y="3757"/>
                    </a:lnTo>
                    <a:lnTo>
                      <a:pt x="1345" y="3768"/>
                    </a:lnTo>
                    <a:lnTo>
                      <a:pt x="1359" y="3808"/>
                    </a:lnTo>
                    <a:lnTo>
                      <a:pt x="1388" y="3817"/>
                    </a:lnTo>
                    <a:lnTo>
                      <a:pt x="1507" y="3759"/>
                    </a:lnTo>
                    <a:lnTo>
                      <a:pt x="1566" y="3676"/>
                    </a:lnTo>
                    <a:lnTo>
                      <a:pt x="1580" y="3615"/>
                    </a:lnTo>
                    <a:lnTo>
                      <a:pt x="1559" y="3561"/>
                    </a:lnTo>
                    <a:lnTo>
                      <a:pt x="1514" y="3527"/>
                    </a:lnTo>
                    <a:lnTo>
                      <a:pt x="1483" y="3474"/>
                    </a:lnTo>
                    <a:lnTo>
                      <a:pt x="1512" y="3473"/>
                    </a:lnTo>
                    <a:lnTo>
                      <a:pt x="1509" y="3459"/>
                    </a:lnTo>
                    <a:lnTo>
                      <a:pt x="1433" y="3421"/>
                    </a:lnTo>
                    <a:lnTo>
                      <a:pt x="1429" y="3387"/>
                    </a:lnTo>
                    <a:lnTo>
                      <a:pt x="1416" y="3351"/>
                    </a:lnTo>
                    <a:lnTo>
                      <a:pt x="1354" y="3358"/>
                    </a:lnTo>
                    <a:lnTo>
                      <a:pt x="1332" y="3320"/>
                    </a:lnTo>
                    <a:lnTo>
                      <a:pt x="1319" y="3318"/>
                    </a:lnTo>
                    <a:lnTo>
                      <a:pt x="1319" y="3333"/>
                    </a:lnTo>
                    <a:lnTo>
                      <a:pt x="1293" y="3398"/>
                    </a:lnTo>
                    <a:lnTo>
                      <a:pt x="1263" y="3436"/>
                    </a:lnTo>
                    <a:lnTo>
                      <a:pt x="1170" y="3501"/>
                    </a:lnTo>
                    <a:lnTo>
                      <a:pt x="1137" y="3498"/>
                    </a:lnTo>
                    <a:lnTo>
                      <a:pt x="1093" y="3509"/>
                    </a:lnTo>
                    <a:lnTo>
                      <a:pt x="1068" y="3498"/>
                    </a:lnTo>
                    <a:lnTo>
                      <a:pt x="1100" y="3480"/>
                    </a:lnTo>
                    <a:lnTo>
                      <a:pt x="1143" y="3473"/>
                    </a:lnTo>
                    <a:lnTo>
                      <a:pt x="1178" y="3442"/>
                    </a:lnTo>
                    <a:lnTo>
                      <a:pt x="1213" y="3428"/>
                    </a:lnTo>
                    <a:lnTo>
                      <a:pt x="1276" y="3376"/>
                    </a:lnTo>
                    <a:lnTo>
                      <a:pt x="1289" y="3341"/>
                    </a:lnTo>
                    <a:lnTo>
                      <a:pt x="1290" y="3296"/>
                    </a:lnTo>
                    <a:lnTo>
                      <a:pt x="1260" y="3289"/>
                    </a:lnTo>
                    <a:lnTo>
                      <a:pt x="1274" y="3261"/>
                    </a:lnTo>
                    <a:lnTo>
                      <a:pt x="1278" y="3226"/>
                    </a:lnTo>
                    <a:lnTo>
                      <a:pt x="1266" y="3194"/>
                    </a:lnTo>
                    <a:lnTo>
                      <a:pt x="1258" y="2956"/>
                    </a:lnTo>
                    <a:lnTo>
                      <a:pt x="1275" y="2905"/>
                    </a:lnTo>
                    <a:lnTo>
                      <a:pt x="1272" y="2884"/>
                    </a:lnTo>
                    <a:lnTo>
                      <a:pt x="1323" y="2915"/>
                    </a:lnTo>
                    <a:lnTo>
                      <a:pt x="1326" y="2886"/>
                    </a:lnTo>
                    <a:lnTo>
                      <a:pt x="1315" y="2812"/>
                    </a:lnTo>
                    <a:lnTo>
                      <a:pt x="1352" y="2683"/>
                    </a:lnTo>
                    <a:lnTo>
                      <a:pt x="1329" y="2650"/>
                    </a:lnTo>
                    <a:lnTo>
                      <a:pt x="1320" y="2621"/>
                    </a:lnTo>
                    <a:lnTo>
                      <a:pt x="1324" y="2574"/>
                    </a:lnTo>
                    <a:lnTo>
                      <a:pt x="1377" y="2605"/>
                    </a:lnTo>
                    <a:lnTo>
                      <a:pt x="1380" y="2596"/>
                    </a:lnTo>
                    <a:lnTo>
                      <a:pt x="1395" y="2587"/>
                    </a:lnTo>
                    <a:lnTo>
                      <a:pt x="1416" y="2557"/>
                    </a:lnTo>
                    <a:lnTo>
                      <a:pt x="1418" y="2548"/>
                    </a:lnTo>
                    <a:lnTo>
                      <a:pt x="1414" y="2538"/>
                    </a:lnTo>
                    <a:lnTo>
                      <a:pt x="1425" y="2483"/>
                    </a:lnTo>
                    <a:lnTo>
                      <a:pt x="1412" y="2448"/>
                    </a:lnTo>
                    <a:lnTo>
                      <a:pt x="1414" y="2419"/>
                    </a:lnTo>
                    <a:lnTo>
                      <a:pt x="1421" y="2452"/>
                    </a:lnTo>
                    <a:lnTo>
                      <a:pt x="1451" y="2477"/>
                    </a:lnTo>
                    <a:lnTo>
                      <a:pt x="1463" y="2474"/>
                    </a:lnTo>
                    <a:lnTo>
                      <a:pt x="1483" y="2441"/>
                    </a:lnTo>
                    <a:lnTo>
                      <a:pt x="1504" y="2454"/>
                    </a:lnTo>
                    <a:lnTo>
                      <a:pt x="1508" y="2429"/>
                    </a:lnTo>
                    <a:lnTo>
                      <a:pt x="1523" y="2411"/>
                    </a:lnTo>
                    <a:lnTo>
                      <a:pt x="1485" y="2393"/>
                    </a:lnTo>
                    <a:lnTo>
                      <a:pt x="1512" y="2396"/>
                    </a:lnTo>
                    <a:lnTo>
                      <a:pt x="1541" y="2377"/>
                    </a:lnTo>
                    <a:lnTo>
                      <a:pt x="1540" y="2363"/>
                    </a:lnTo>
                    <a:lnTo>
                      <a:pt x="1565" y="2350"/>
                    </a:lnTo>
                    <a:lnTo>
                      <a:pt x="1567" y="2317"/>
                    </a:lnTo>
                    <a:lnTo>
                      <a:pt x="1588" y="2310"/>
                    </a:lnTo>
                    <a:lnTo>
                      <a:pt x="1591" y="2272"/>
                    </a:lnTo>
                    <a:lnTo>
                      <a:pt x="1613" y="2269"/>
                    </a:lnTo>
                    <a:lnTo>
                      <a:pt x="1646" y="2276"/>
                    </a:lnTo>
                    <a:lnTo>
                      <a:pt x="1683" y="2246"/>
                    </a:lnTo>
                    <a:lnTo>
                      <a:pt x="1696" y="2211"/>
                    </a:lnTo>
                    <a:lnTo>
                      <a:pt x="1741" y="2175"/>
                    </a:lnTo>
                    <a:lnTo>
                      <a:pt x="1764" y="2197"/>
                    </a:lnTo>
                    <a:lnTo>
                      <a:pt x="1799" y="2173"/>
                    </a:lnTo>
                    <a:lnTo>
                      <a:pt x="1808" y="2142"/>
                    </a:lnTo>
                    <a:lnTo>
                      <a:pt x="1834" y="2122"/>
                    </a:lnTo>
                    <a:lnTo>
                      <a:pt x="1857" y="2130"/>
                    </a:lnTo>
                    <a:lnTo>
                      <a:pt x="1871" y="2115"/>
                    </a:lnTo>
                    <a:lnTo>
                      <a:pt x="1910" y="2093"/>
                    </a:lnTo>
                    <a:lnTo>
                      <a:pt x="1927" y="2065"/>
                    </a:lnTo>
                    <a:lnTo>
                      <a:pt x="1949" y="2053"/>
                    </a:lnTo>
                    <a:lnTo>
                      <a:pt x="2068" y="1833"/>
                    </a:lnTo>
                    <a:lnTo>
                      <a:pt x="2073" y="1850"/>
                    </a:lnTo>
                    <a:lnTo>
                      <a:pt x="2069" y="1882"/>
                    </a:lnTo>
                    <a:lnTo>
                      <a:pt x="2102" y="1825"/>
                    </a:lnTo>
                    <a:lnTo>
                      <a:pt x="2084" y="1809"/>
                    </a:lnTo>
                    <a:lnTo>
                      <a:pt x="2082" y="1791"/>
                    </a:lnTo>
                    <a:lnTo>
                      <a:pt x="2036" y="1746"/>
                    </a:lnTo>
                    <a:lnTo>
                      <a:pt x="2030" y="1725"/>
                    </a:lnTo>
                    <a:lnTo>
                      <a:pt x="2038" y="1719"/>
                    </a:lnTo>
                    <a:lnTo>
                      <a:pt x="2033" y="1699"/>
                    </a:lnTo>
                    <a:lnTo>
                      <a:pt x="2018" y="1681"/>
                    </a:lnTo>
                    <a:lnTo>
                      <a:pt x="2019" y="1671"/>
                    </a:lnTo>
                    <a:lnTo>
                      <a:pt x="2032" y="1657"/>
                    </a:lnTo>
                    <a:lnTo>
                      <a:pt x="2036" y="1637"/>
                    </a:lnTo>
                    <a:lnTo>
                      <a:pt x="2063" y="1623"/>
                    </a:lnTo>
                    <a:lnTo>
                      <a:pt x="2095" y="1528"/>
                    </a:lnTo>
                    <a:lnTo>
                      <a:pt x="2062" y="1476"/>
                    </a:lnTo>
                    <a:lnTo>
                      <a:pt x="2066" y="1468"/>
                    </a:lnTo>
                    <a:lnTo>
                      <a:pt x="2098" y="1446"/>
                    </a:lnTo>
                    <a:lnTo>
                      <a:pt x="2099" y="1423"/>
                    </a:lnTo>
                    <a:lnTo>
                      <a:pt x="2112" y="1419"/>
                    </a:lnTo>
                    <a:lnTo>
                      <a:pt x="2139" y="1430"/>
                    </a:lnTo>
                    <a:lnTo>
                      <a:pt x="2148" y="1426"/>
                    </a:lnTo>
                    <a:lnTo>
                      <a:pt x="2150" y="1405"/>
                    </a:lnTo>
                    <a:lnTo>
                      <a:pt x="2141" y="1393"/>
                    </a:lnTo>
                    <a:lnTo>
                      <a:pt x="2170" y="1388"/>
                    </a:lnTo>
                    <a:lnTo>
                      <a:pt x="2174" y="1371"/>
                    </a:lnTo>
                    <a:lnTo>
                      <a:pt x="2139" y="1325"/>
                    </a:lnTo>
                    <a:lnTo>
                      <a:pt x="2139" y="1314"/>
                    </a:lnTo>
                    <a:lnTo>
                      <a:pt x="2174" y="1338"/>
                    </a:lnTo>
                    <a:lnTo>
                      <a:pt x="2190" y="1361"/>
                    </a:lnTo>
                    <a:lnTo>
                      <a:pt x="2203" y="1361"/>
                    </a:lnTo>
                    <a:lnTo>
                      <a:pt x="2197" y="1313"/>
                    </a:lnTo>
                    <a:lnTo>
                      <a:pt x="2199" y="1318"/>
                    </a:lnTo>
                    <a:lnTo>
                      <a:pt x="2210" y="1313"/>
                    </a:lnTo>
                    <a:lnTo>
                      <a:pt x="2213" y="1250"/>
                    </a:lnTo>
                    <a:lnTo>
                      <a:pt x="2223" y="1247"/>
                    </a:lnTo>
                    <a:lnTo>
                      <a:pt x="2236" y="1245"/>
                    </a:lnTo>
                    <a:lnTo>
                      <a:pt x="2236" y="1262"/>
                    </a:lnTo>
                    <a:lnTo>
                      <a:pt x="2248" y="1277"/>
                    </a:lnTo>
                    <a:lnTo>
                      <a:pt x="2262" y="1283"/>
                    </a:lnTo>
                    <a:lnTo>
                      <a:pt x="2273" y="1242"/>
                    </a:lnTo>
                    <a:lnTo>
                      <a:pt x="2291" y="1254"/>
                    </a:lnTo>
                    <a:lnTo>
                      <a:pt x="2310" y="1284"/>
                    </a:lnTo>
                    <a:lnTo>
                      <a:pt x="2321" y="1283"/>
                    </a:lnTo>
                    <a:lnTo>
                      <a:pt x="2338" y="1298"/>
                    </a:lnTo>
                    <a:lnTo>
                      <a:pt x="2351" y="1261"/>
                    </a:lnTo>
                    <a:lnTo>
                      <a:pt x="2429" y="1251"/>
                    </a:lnTo>
                    <a:lnTo>
                      <a:pt x="2456" y="1266"/>
                    </a:lnTo>
                    <a:lnTo>
                      <a:pt x="2476" y="1287"/>
                    </a:lnTo>
                    <a:lnTo>
                      <a:pt x="2487" y="1264"/>
                    </a:lnTo>
                    <a:lnTo>
                      <a:pt x="2499" y="1255"/>
                    </a:lnTo>
                    <a:lnTo>
                      <a:pt x="2425" y="1065"/>
                    </a:lnTo>
                    <a:lnTo>
                      <a:pt x="2434" y="1014"/>
                    </a:lnTo>
                    <a:lnTo>
                      <a:pt x="2456" y="972"/>
                    </a:lnTo>
                    <a:lnTo>
                      <a:pt x="2456" y="908"/>
                    </a:lnTo>
                    <a:lnTo>
                      <a:pt x="2388" y="783"/>
                    </a:lnTo>
                    <a:lnTo>
                      <a:pt x="2378" y="737"/>
                    </a:lnTo>
                    <a:lnTo>
                      <a:pt x="2393" y="679"/>
                    </a:lnTo>
                    <a:lnTo>
                      <a:pt x="2385" y="638"/>
                    </a:lnTo>
                    <a:lnTo>
                      <a:pt x="2371" y="620"/>
                    </a:lnTo>
                    <a:lnTo>
                      <a:pt x="2359" y="522"/>
                    </a:lnTo>
                    <a:lnTo>
                      <a:pt x="2373" y="444"/>
                    </a:lnTo>
                    <a:lnTo>
                      <a:pt x="2269" y="277"/>
                    </a:lnTo>
                    <a:lnTo>
                      <a:pt x="2218" y="235"/>
                    </a:lnTo>
                    <a:lnTo>
                      <a:pt x="2123" y="208"/>
                    </a:lnTo>
                    <a:lnTo>
                      <a:pt x="1927" y="14"/>
                    </a:lnTo>
                    <a:lnTo>
                      <a:pt x="1920" y="1"/>
                    </a:lnTo>
                    <a:lnTo>
                      <a:pt x="1854" y="0"/>
                    </a:lnTo>
                    <a:lnTo>
                      <a:pt x="1839" y="8"/>
                    </a:lnTo>
                    <a:lnTo>
                      <a:pt x="1842" y="32"/>
                    </a:lnTo>
                    <a:lnTo>
                      <a:pt x="1855" y="46"/>
                    </a:lnTo>
                    <a:lnTo>
                      <a:pt x="1858" y="74"/>
                    </a:lnTo>
                    <a:lnTo>
                      <a:pt x="1854" y="97"/>
                    </a:lnTo>
                    <a:lnTo>
                      <a:pt x="1842" y="111"/>
                    </a:lnTo>
                    <a:lnTo>
                      <a:pt x="1833" y="151"/>
                    </a:lnTo>
                    <a:lnTo>
                      <a:pt x="1817" y="179"/>
                    </a:lnTo>
                    <a:lnTo>
                      <a:pt x="1820" y="207"/>
                    </a:lnTo>
                    <a:lnTo>
                      <a:pt x="1846" y="231"/>
                    </a:lnTo>
                    <a:lnTo>
                      <a:pt x="1828" y="253"/>
                    </a:lnTo>
                    <a:lnTo>
                      <a:pt x="1805" y="259"/>
                    </a:lnTo>
                    <a:lnTo>
                      <a:pt x="1604" y="207"/>
                    </a:lnTo>
                    <a:lnTo>
                      <a:pt x="1580" y="211"/>
                    </a:lnTo>
                    <a:lnTo>
                      <a:pt x="1566" y="221"/>
                    </a:lnTo>
                    <a:lnTo>
                      <a:pt x="1552" y="246"/>
                    </a:lnTo>
                    <a:lnTo>
                      <a:pt x="1555" y="310"/>
                    </a:lnTo>
                    <a:lnTo>
                      <a:pt x="1533" y="393"/>
                    </a:lnTo>
                    <a:lnTo>
                      <a:pt x="1506" y="435"/>
                    </a:lnTo>
                    <a:lnTo>
                      <a:pt x="1494" y="430"/>
                    </a:lnTo>
                    <a:lnTo>
                      <a:pt x="1470" y="395"/>
                    </a:lnTo>
                    <a:lnTo>
                      <a:pt x="1438" y="376"/>
                    </a:lnTo>
                    <a:lnTo>
                      <a:pt x="1404" y="382"/>
                    </a:lnTo>
                    <a:lnTo>
                      <a:pt x="1325" y="462"/>
                    </a:lnTo>
                    <a:lnTo>
                      <a:pt x="1304" y="543"/>
                    </a:lnTo>
                    <a:lnTo>
                      <a:pt x="1244" y="616"/>
                    </a:lnTo>
                    <a:lnTo>
                      <a:pt x="1234" y="653"/>
                    </a:lnTo>
                    <a:lnTo>
                      <a:pt x="1265" y="718"/>
                    </a:lnTo>
                    <a:lnTo>
                      <a:pt x="1268" y="754"/>
                    </a:lnTo>
                    <a:lnTo>
                      <a:pt x="1105" y="968"/>
                    </a:lnTo>
                    <a:lnTo>
                      <a:pt x="1055" y="1106"/>
                    </a:lnTo>
                    <a:lnTo>
                      <a:pt x="1001" y="1141"/>
                    </a:lnTo>
                    <a:lnTo>
                      <a:pt x="967" y="1139"/>
                    </a:lnTo>
                    <a:lnTo>
                      <a:pt x="946" y="1150"/>
                    </a:lnTo>
                    <a:lnTo>
                      <a:pt x="889" y="1492"/>
                    </a:lnTo>
                    <a:lnTo>
                      <a:pt x="758" y="1692"/>
                    </a:lnTo>
                    <a:lnTo>
                      <a:pt x="759" y="1723"/>
                    </a:lnTo>
                    <a:lnTo>
                      <a:pt x="817" y="1812"/>
                    </a:lnTo>
                    <a:lnTo>
                      <a:pt x="799" y="1910"/>
                    </a:lnTo>
                    <a:lnTo>
                      <a:pt x="765" y="1945"/>
                    </a:lnTo>
                    <a:lnTo>
                      <a:pt x="664" y="1921"/>
                    </a:lnTo>
                    <a:lnTo>
                      <a:pt x="595" y="1934"/>
                    </a:lnTo>
                    <a:lnTo>
                      <a:pt x="538" y="1963"/>
                    </a:lnTo>
                    <a:lnTo>
                      <a:pt x="448" y="2052"/>
                    </a:lnTo>
                    <a:lnTo>
                      <a:pt x="400" y="2160"/>
                    </a:lnTo>
                    <a:lnTo>
                      <a:pt x="404" y="2219"/>
                    </a:lnTo>
                    <a:lnTo>
                      <a:pt x="420" y="2266"/>
                    </a:lnTo>
                    <a:lnTo>
                      <a:pt x="434" y="2285"/>
                    </a:lnTo>
                    <a:lnTo>
                      <a:pt x="409" y="2314"/>
                    </a:lnTo>
                    <a:lnTo>
                      <a:pt x="358" y="2517"/>
                    </a:lnTo>
                    <a:lnTo>
                      <a:pt x="368" y="2528"/>
                    </a:lnTo>
                    <a:lnTo>
                      <a:pt x="376" y="2579"/>
                    </a:lnTo>
                    <a:lnTo>
                      <a:pt x="351" y="2793"/>
                    </a:lnTo>
                    <a:lnTo>
                      <a:pt x="376" y="2847"/>
                    </a:lnTo>
                    <a:lnTo>
                      <a:pt x="441" y="2907"/>
                    </a:lnTo>
                    <a:lnTo>
                      <a:pt x="444" y="2980"/>
                    </a:lnTo>
                    <a:lnTo>
                      <a:pt x="416" y="3041"/>
                    </a:lnTo>
                    <a:lnTo>
                      <a:pt x="376" y="3078"/>
                    </a:lnTo>
                    <a:lnTo>
                      <a:pt x="322" y="3093"/>
                    </a:lnTo>
                    <a:lnTo>
                      <a:pt x="309" y="3114"/>
                    </a:lnTo>
                    <a:lnTo>
                      <a:pt x="340" y="3163"/>
                    </a:lnTo>
                    <a:lnTo>
                      <a:pt x="357" y="3282"/>
                    </a:lnTo>
                    <a:lnTo>
                      <a:pt x="317" y="3384"/>
                    </a:lnTo>
                    <a:lnTo>
                      <a:pt x="331" y="3416"/>
                    </a:lnTo>
                    <a:lnTo>
                      <a:pt x="318" y="3469"/>
                    </a:lnTo>
                    <a:lnTo>
                      <a:pt x="292" y="3506"/>
                    </a:lnTo>
                    <a:lnTo>
                      <a:pt x="189" y="3534"/>
                    </a:lnTo>
                    <a:lnTo>
                      <a:pt x="183" y="3583"/>
                    </a:lnTo>
                    <a:lnTo>
                      <a:pt x="128" y="3656"/>
                    </a:lnTo>
                    <a:lnTo>
                      <a:pt x="135" y="3761"/>
                    </a:lnTo>
                    <a:lnTo>
                      <a:pt x="88" y="3897"/>
                    </a:lnTo>
                    <a:lnTo>
                      <a:pt x="57" y="3913"/>
                    </a:lnTo>
                    <a:lnTo>
                      <a:pt x="44" y="3881"/>
                    </a:lnTo>
                    <a:lnTo>
                      <a:pt x="27" y="3929"/>
                    </a:lnTo>
                    <a:lnTo>
                      <a:pt x="39" y="3846"/>
                    </a:lnTo>
                    <a:lnTo>
                      <a:pt x="32" y="3830"/>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37" name="Freeform 216"/>
              <p:cNvSpPr>
                <a:spLocks/>
              </p:cNvSpPr>
              <p:nvPr/>
            </p:nvSpPr>
            <p:spPr bwMode="auto">
              <a:xfrm>
                <a:off x="11355804" y="2075470"/>
                <a:ext cx="23079" cy="28487"/>
              </a:xfrm>
              <a:custGeom>
                <a:avLst/>
                <a:gdLst>
                  <a:gd name="T0" fmla="*/ 0 w 87"/>
                  <a:gd name="T1" fmla="*/ 0 h 111"/>
                  <a:gd name="T2" fmla="*/ 0 w 87"/>
                  <a:gd name="T3" fmla="*/ 0 h 111"/>
                  <a:gd name="T4" fmla="*/ 0 w 87"/>
                  <a:gd name="T5" fmla="*/ 0 h 111"/>
                  <a:gd name="T6" fmla="*/ 0 w 87"/>
                  <a:gd name="T7" fmla="*/ 0 h 111"/>
                  <a:gd name="T8" fmla="*/ 0 w 87"/>
                  <a:gd name="T9" fmla="*/ 0 h 111"/>
                  <a:gd name="T10" fmla="*/ 0 w 87"/>
                  <a:gd name="T11" fmla="*/ 0 h 111"/>
                  <a:gd name="T12" fmla="*/ 0 w 87"/>
                  <a:gd name="T13" fmla="*/ 0 h 111"/>
                  <a:gd name="T14" fmla="*/ 0 w 87"/>
                  <a:gd name="T15" fmla="*/ 0 h 111"/>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111"/>
                  <a:gd name="T26" fmla="*/ 87 w 87"/>
                  <a:gd name="T27" fmla="*/ 111 h 1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111">
                    <a:moveTo>
                      <a:pt x="87" y="111"/>
                    </a:moveTo>
                    <a:lnTo>
                      <a:pt x="79" y="48"/>
                    </a:lnTo>
                    <a:lnTo>
                      <a:pt x="47" y="16"/>
                    </a:lnTo>
                    <a:lnTo>
                      <a:pt x="18" y="0"/>
                    </a:lnTo>
                    <a:lnTo>
                      <a:pt x="0" y="70"/>
                    </a:lnTo>
                    <a:lnTo>
                      <a:pt x="18" y="93"/>
                    </a:lnTo>
                    <a:lnTo>
                      <a:pt x="45" y="106"/>
                    </a:lnTo>
                    <a:lnTo>
                      <a:pt x="87" y="111"/>
                    </a:lnTo>
                    <a:close/>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538" name="Freeform 217"/>
              <p:cNvSpPr>
                <a:spLocks/>
              </p:cNvSpPr>
              <p:nvPr/>
            </p:nvSpPr>
            <p:spPr bwMode="auto">
              <a:xfrm>
                <a:off x="11355804" y="2075470"/>
                <a:ext cx="23079" cy="28487"/>
              </a:xfrm>
              <a:custGeom>
                <a:avLst/>
                <a:gdLst>
                  <a:gd name="T0" fmla="*/ 0 w 87"/>
                  <a:gd name="T1" fmla="*/ 0 h 111"/>
                  <a:gd name="T2" fmla="*/ 0 w 87"/>
                  <a:gd name="T3" fmla="*/ 0 h 111"/>
                  <a:gd name="T4" fmla="*/ 0 w 87"/>
                  <a:gd name="T5" fmla="*/ 0 h 111"/>
                  <a:gd name="T6" fmla="*/ 0 w 87"/>
                  <a:gd name="T7" fmla="*/ 0 h 111"/>
                  <a:gd name="T8" fmla="*/ 0 w 87"/>
                  <a:gd name="T9" fmla="*/ 0 h 111"/>
                  <a:gd name="T10" fmla="*/ 0 w 87"/>
                  <a:gd name="T11" fmla="*/ 0 h 111"/>
                  <a:gd name="T12" fmla="*/ 0 w 87"/>
                  <a:gd name="T13" fmla="*/ 0 h 111"/>
                  <a:gd name="T14" fmla="*/ 0 w 87"/>
                  <a:gd name="T15" fmla="*/ 0 h 111"/>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111"/>
                  <a:gd name="T26" fmla="*/ 87 w 87"/>
                  <a:gd name="T27" fmla="*/ 111 h 1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111">
                    <a:moveTo>
                      <a:pt x="87" y="111"/>
                    </a:moveTo>
                    <a:lnTo>
                      <a:pt x="79" y="48"/>
                    </a:lnTo>
                    <a:lnTo>
                      <a:pt x="47" y="16"/>
                    </a:lnTo>
                    <a:lnTo>
                      <a:pt x="18" y="0"/>
                    </a:lnTo>
                    <a:lnTo>
                      <a:pt x="0" y="70"/>
                    </a:lnTo>
                    <a:lnTo>
                      <a:pt x="18" y="93"/>
                    </a:lnTo>
                    <a:lnTo>
                      <a:pt x="45" y="106"/>
                    </a:lnTo>
                    <a:lnTo>
                      <a:pt x="87" y="111"/>
                    </a:lnTo>
                  </a:path>
                </a:pathLst>
              </a:custGeom>
              <a:grp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grpSp>
        <p:sp>
          <p:nvSpPr>
            <p:cNvPr id="354" name="Freeform 230"/>
            <p:cNvSpPr>
              <a:spLocks/>
            </p:cNvSpPr>
            <p:nvPr/>
          </p:nvSpPr>
          <p:spPr bwMode="auto">
            <a:xfrm>
              <a:off x="5926998" y="3412662"/>
              <a:ext cx="67172" cy="102779"/>
            </a:xfrm>
            <a:custGeom>
              <a:avLst/>
              <a:gdLst>
                <a:gd name="T0" fmla="*/ 0 w 161"/>
                <a:gd name="T1" fmla="*/ 0 h 250"/>
                <a:gd name="T2" fmla="*/ 0 w 161"/>
                <a:gd name="T3" fmla="*/ 0 h 250"/>
                <a:gd name="T4" fmla="*/ 0 w 161"/>
                <a:gd name="T5" fmla="*/ 0 h 250"/>
                <a:gd name="T6" fmla="*/ 0 w 161"/>
                <a:gd name="T7" fmla="*/ 0 h 250"/>
                <a:gd name="T8" fmla="*/ 0 w 161"/>
                <a:gd name="T9" fmla="*/ 0 h 250"/>
                <a:gd name="T10" fmla="*/ 0 w 161"/>
                <a:gd name="T11" fmla="*/ 0 h 250"/>
                <a:gd name="T12" fmla="*/ 0 w 161"/>
                <a:gd name="T13" fmla="*/ 0 h 250"/>
                <a:gd name="T14" fmla="*/ 0 w 161"/>
                <a:gd name="T15" fmla="*/ 0 h 250"/>
                <a:gd name="T16" fmla="*/ 0 w 161"/>
                <a:gd name="T17" fmla="*/ 0 h 250"/>
                <a:gd name="T18" fmla="*/ 0 w 161"/>
                <a:gd name="T19" fmla="*/ 0 h 250"/>
                <a:gd name="T20" fmla="*/ 0 w 161"/>
                <a:gd name="T21" fmla="*/ 0 h 250"/>
                <a:gd name="T22" fmla="*/ 0 w 161"/>
                <a:gd name="T23" fmla="*/ 0 h 250"/>
                <a:gd name="T24" fmla="*/ 0 w 161"/>
                <a:gd name="T25" fmla="*/ 0 h 250"/>
                <a:gd name="T26" fmla="*/ 0 w 161"/>
                <a:gd name="T27" fmla="*/ 0 h 2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1"/>
                <a:gd name="T43" fmla="*/ 0 h 250"/>
                <a:gd name="T44" fmla="*/ 161 w 161"/>
                <a:gd name="T45" fmla="*/ 250 h 2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1" h="250">
                  <a:moveTo>
                    <a:pt x="72" y="244"/>
                  </a:moveTo>
                  <a:lnTo>
                    <a:pt x="129" y="250"/>
                  </a:lnTo>
                  <a:lnTo>
                    <a:pt x="156" y="226"/>
                  </a:lnTo>
                  <a:lnTo>
                    <a:pt x="161" y="169"/>
                  </a:lnTo>
                  <a:lnTo>
                    <a:pt x="137" y="96"/>
                  </a:lnTo>
                  <a:lnTo>
                    <a:pt x="140" y="62"/>
                  </a:lnTo>
                  <a:lnTo>
                    <a:pt x="158" y="31"/>
                  </a:lnTo>
                  <a:lnTo>
                    <a:pt x="126" y="3"/>
                  </a:lnTo>
                  <a:lnTo>
                    <a:pt x="95" y="0"/>
                  </a:lnTo>
                  <a:lnTo>
                    <a:pt x="45" y="24"/>
                  </a:lnTo>
                  <a:lnTo>
                    <a:pt x="6" y="77"/>
                  </a:lnTo>
                  <a:lnTo>
                    <a:pt x="14" y="139"/>
                  </a:lnTo>
                  <a:lnTo>
                    <a:pt x="0" y="208"/>
                  </a:lnTo>
                  <a:lnTo>
                    <a:pt x="72" y="244"/>
                  </a:lnTo>
                  <a:close/>
                </a:path>
              </a:pathLst>
            </a:custGeom>
            <a:noFill/>
            <a:ln>
              <a:noFill/>
              <a:headEnd type="none"/>
              <a:tailEnd type="triangle" w="lg" len="lg"/>
            </a:ln>
            <a:effectLst/>
          </p:spPr>
          <p:style>
            <a:lnRef idx="2">
              <a:schemeClr val="accent1"/>
            </a:lnRef>
            <a:fillRef idx="0">
              <a:schemeClr val="accent1"/>
            </a:fillRef>
            <a:effectRef idx="1">
              <a:schemeClr val="accent1"/>
            </a:effectRef>
            <a:fontRef idx="minor">
              <a:schemeClr val="tx1"/>
            </a:fontRef>
          </p:style>
          <p:txBody>
            <a:bodyPr/>
            <a:lstStyle/>
            <a:p>
              <a:pPr defTabSz="402174"/>
              <a:endParaRPr lang="en-GB" sz="1600" dirty="0">
                <a:solidFill>
                  <a:srgbClr val="197AA0"/>
                </a:solidFill>
                <a:latin typeface="Calibri" pitchFamily="34" charset="0"/>
              </a:endParaRPr>
            </a:p>
          </p:txBody>
        </p:sp>
        <p:sp>
          <p:nvSpPr>
            <p:cNvPr id="355" name="Freeform 4"/>
            <p:cNvSpPr>
              <a:spLocks/>
            </p:cNvSpPr>
            <p:nvPr/>
          </p:nvSpPr>
          <p:spPr bwMode="auto">
            <a:xfrm>
              <a:off x="7716590" y="2537994"/>
              <a:ext cx="911039" cy="771891"/>
            </a:xfrm>
            <a:custGeom>
              <a:avLst/>
              <a:gdLst>
                <a:gd name="T0" fmla="*/ 0 w 2247"/>
                <a:gd name="T1" fmla="*/ 0 h 1900"/>
                <a:gd name="T2" fmla="*/ 0 w 2247"/>
                <a:gd name="T3" fmla="*/ 0 h 1900"/>
                <a:gd name="T4" fmla="*/ 0 w 2247"/>
                <a:gd name="T5" fmla="*/ 0 h 1900"/>
                <a:gd name="T6" fmla="*/ 0 w 2247"/>
                <a:gd name="T7" fmla="*/ 0 h 1900"/>
                <a:gd name="T8" fmla="*/ 0 w 2247"/>
                <a:gd name="T9" fmla="*/ 0 h 1900"/>
                <a:gd name="T10" fmla="*/ 0 w 2247"/>
                <a:gd name="T11" fmla="*/ 0 h 1900"/>
                <a:gd name="T12" fmla="*/ 0 w 2247"/>
                <a:gd name="T13" fmla="*/ 0 h 1900"/>
                <a:gd name="T14" fmla="*/ 0 w 2247"/>
                <a:gd name="T15" fmla="*/ 0 h 1900"/>
                <a:gd name="T16" fmla="*/ 0 w 2247"/>
                <a:gd name="T17" fmla="*/ 0 h 1900"/>
                <a:gd name="T18" fmla="*/ 0 w 2247"/>
                <a:gd name="T19" fmla="*/ 0 h 1900"/>
                <a:gd name="T20" fmla="*/ 0 w 2247"/>
                <a:gd name="T21" fmla="*/ 0 h 1900"/>
                <a:gd name="T22" fmla="*/ 0 w 2247"/>
                <a:gd name="T23" fmla="*/ 0 h 1900"/>
                <a:gd name="T24" fmla="*/ 0 w 2247"/>
                <a:gd name="T25" fmla="*/ 0 h 1900"/>
                <a:gd name="T26" fmla="*/ 0 w 2247"/>
                <a:gd name="T27" fmla="*/ 0 h 1900"/>
                <a:gd name="T28" fmla="*/ 0 w 2247"/>
                <a:gd name="T29" fmla="*/ 0 h 1900"/>
                <a:gd name="T30" fmla="*/ 0 w 2247"/>
                <a:gd name="T31" fmla="*/ 0 h 1900"/>
                <a:gd name="T32" fmla="*/ 0 w 2247"/>
                <a:gd name="T33" fmla="*/ 0 h 1900"/>
                <a:gd name="T34" fmla="*/ 0 w 2247"/>
                <a:gd name="T35" fmla="*/ 0 h 1900"/>
                <a:gd name="T36" fmla="*/ 0 w 2247"/>
                <a:gd name="T37" fmla="*/ 0 h 1900"/>
                <a:gd name="T38" fmla="*/ 0 w 2247"/>
                <a:gd name="T39" fmla="*/ 0 h 1900"/>
                <a:gd name="T40" fmla="*/ 0 w 2247"/>
                <a:gd name="T41" fmla="*/ 0 h 1900"/>
                <a:gd name="T42" fmla="*/ 0 w 2247"/>
                <a:gd name="T43" fmla="*/ 0 h 1900"/>
                <a:gd name="T44" fmla="*/ 0 w 2247"/>
                <a:gd name="T45" fmla="*/ 0 h 1900"/>
                <a:gd name="T46" fmla="*/ 0 w 2247"/>
                <a:gd name="T47" fmla="*/ 0 h 1900"/>
                <a:gd name="T48" fmla="*/ 0 w 2247"/>
                <a:gd name="T49" fmla="*/ 0 h 1900"/>
                <a:gd name="T50" fmla="*/ 0 w 2247"/>
                <a:gd name="T51" fmla="*/ 0 h 1900"/>
                <a:gd name="T52" fmla="*/ 0 w 2247"/>
                <a:gd name="T53" fmla="*/ 0 h 1900"/>
                <a:gd name="T54" fmla="*/ 0 w 2247"/>
                <a:gd name="T55" fmla="*/ 0 h 1900"/>
                <a:gd name="T56" fmla="*/ 0 w 2247"/>
                <a:gd name="T57" fmla="*/ 0 h 1900"/>
                <a:gd name="T58" fmla="*/ 0 w 2247"/>
                <a:gd name="T59" fmla="*/ 0 h 1900"/>
                <a:gd name="T60" fmla="*/ 0 w 2247"/>
                <a:gd name="T61" fmla="*/ 0 h 1900"/>
                <a:gd name="T62" fmla="*/ 0 w 2247"/>
                <a:gd name="T63" fmla="*/ 0 h 1900"/>
                <a:gd name="T64" fmla="*/ 0 w 2247"/>
                <a:gd name="T65" fmla="*/ 0 h 1900"/>
                <a:gd name="T66" fmla="*/ 0 w 2247"/>
                <a:gd name="T67" fmla="*/ 0 h 1900"/>
                <a:gd name="T68" fmla="*/ 0 w 2247"/>
                <a:gd name="T69" fmla="*/ 0 h 1900"/>
                <a:gd name="T70" fmla="*/ 0 w 2247"/>
                <a:gd name="T71" fmla="*/ 0 h 1900"/>
                <a:gd name="T72" fmla="*/ 0 w 2247"/>
                <a:gd name="T73" fmla="*/ 0 h 1900"/>
                <a:gd name="T74" fmla="*/ 0 w 2247"/>
                <a:gd name="T75" fmla="*/ 0 h 1900"/>
                <a:gd name="T76" fmla="*/ 0 w 2247"/>
                <a:gd name="T77" fmla="*/ 0 h 1900"/>
                <a:gd name="T78" fmla="*/ 0 w 2247"/>
                <a:gd name="T79" fmla="*/ 0 h 1900"/>
                <a:gd name="T80" fmla="*/ 0 w 2247"/>
                <a:gd name="T81" fmla="*/ 0 h 1900"/>
                <a:gd name="T82" fmla="*/ 0 w 2247"/>
                <a:gd name="T83" fmla="*/ 0 h 1900"/>
                <a:gd name="T84" fmla="*/ 0 w 2247"/>
                <a:gd name="T85" fmla="*/ 0 h 1900"/>
                <a:gd name="T86" fmla="*/ 0 w 2247"/>
                <a:gd name="T87" fmla="*/ 0 h 1900"/>
                <a:gd name="T88" fmla="*/ 0 w 2247"/>
                <a:gd name="T89" fmla="*/ 0 h 1900"/>
                <a:gd name="T90" fmla="*/ 0 w 2247"/>
                <a:gd name="T91" fmla="*/ 0 h 1900"/>
                <a:gd name="T92" fmla="*/ 0 w 2247"/>
                <a:gd name="T93" fmla="*/ 0 h 1900"/>
                <a:gd name="T94" fmla="*/ 0 w 2247"/>
                <a:gd name="T95" fmla="*/ 0 h 1900"/>
                <a:gd name="T96" fmla="*/ 0 w 2247"/>
                <a:gd name="T97" fmla="*/ 0 h 1900"/>
                <a:gd name="T98" fmla="*/ 0 w 2247"/>
                <a:gd name="T99" fmla="*/ 0 h 19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247"/>
                <a:gd name="T151" fmla="*/ 0 h 1900"/>
                <a:gd name="T152" fmla="*/ 2247 w 2247"/>
                <a:gd name="T153" fmla="*/ 1900 h 19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247" h="1900">
                  <a:moveTo>
                    <a:pt x="88" y="1900"/>
                  </a:moveTo>
                  <a:lnTo>
                    <a:pt x="96" y="1719"/>
                  </a:lnTo>
                  <a:lnTo>
                    <a:pt x="27" y="1663"/>
                  </a:lnTo>
                  <a:lnTo>
                    <a:pt x="0" y="1616"/>
                  </a:lnTo>
                  <a:lnTo>
                    <a:pt x="43" y="1559"/>
                  </a:lnTo>
                  <a:lnTo>
                    <a:pt x="108" y="1519"/>
                  </a:lnTo>
                  <a:lnTo>
                    <a:pt x="154" y="1444"/>
                  </a:lnTo>
                  <a:lnTo>
                    <a:pt x="49" y="954"/>
                  </a:lnTo>
                  <a:lnTo>
                    <a:pt x="113" y="967"/>
                  </a:lnTo>
                  <a:lnTo>
                    <a:pt x="178" y="948"/>
                  </a:lnTo>
                  <a:lnTo>
                    <a:pt x="247" y="957"/>
                  </a:lnTo>
                  <a:lnTo>
                    <a:pt x="277" y="940"/>
                  </a:lnTo>
                  <a:lnTo>
                    <a:pt x="300" y="917"/>
                  </a:lnTo>
                  <a:lnTo>
                    <a:pt x="333" y="930"/>
                  </a:lnTo>
                  <a:lnTo>
                    <a:pt x="366" y="924"/>
                  </a:lnTo>
                  <a:lnTo>
                    <a:pt x="348" y="864"/>
                  </a:lnTo>
                  <a:lnTo>
                    <a:pt x="378" y="846"/>
                  </a:lnTo>
                  <a:lnTo>
                    <a:pt x="411" y="846"/>
                  </a:lnTo>
                  <a:lnTo>
                    <a:pt x="432" y="819"/>
                  </a:lnTo>
                  <a:lnTo>
                    <a:pt x="461" y="798"/>
                  </a:lnTo>
                  <a:lnTo>
                    <a:pt x="494" y="807"/>
                  </a:lnTo>
                  <a:lnTo>
                    <a:pt x="513" y="834"/>
                  </a:lnTo>
                  <a:lnTo>
                    <a:pt x="546" y="848"/>
                  </a:lnTo>
                  <a:lnTo>
                    <a:pt x="577" y="833"/>
                  </a:lnTo>
                  <a:lnTo>
                    <a:pt x="568" y="800"/>
                  </a:lnTo>
                  <a:lnTo>
                    <a:pt x="528" y="744"/>
                  </a:lnTo>
                  <a:lnTo>
                    <a:pt x="533" y="711"/>
                  </a:lnTo>
                  <a:lnTo>
                    <a:pt x="564" y="652"/>
                  </a:lnTo>
                  <a:lnTo>
                    <a:pt x="569" y="515"/>
                  </a:lnTo>
                  <a:lnTo>
                    <a:pt x="597" y="495"/>
                  </a:lnTo>
                  <a:lnTo>
                    <a:pt x="629" y="487"/>
                  </a:lnTo>
                  <a:lnTo>
                    <a:pt x="678" y="443"/>
                  </a:lnTo>
                  <a:lnTo>
                    <a:pt x="731" y="440"/>
                  </a:lnTo>
                  <a:lnTo>
                    <a:pt x="761" y="362"/>
                  </a:lnTo>
                  <a:lnTo>
                    <a:pt x="730" y="349"/>
                  </a:lnTo>
                  <a:lnTo>
                    <a:pt x="695" y="353"/>
                  </a:lnTo>
                  <a:lnTo>
                    <a:pt x="690" y="288"/>
                  </a:lnTo>
                  <a:lnTo>
                    <a:pt x="719" y="270"/>
                  </a:lnTo>
                  <a:lnTo>
                    <a:pt x="737" y="244"/>
                  </a:lnTo>
                  <a:lnTo>
                    <a:pt x="736" y="236"/>
                  </a:lnTo>
                  <a:lnTo>
                    <a:pt x="736" y="232"/>
                  </a:lnTo>
                  <a:lnTo>
                    <a:pt x="768" y="236"/>
                  </a:lnTo>
                  <a:lnTo>
                    <a:pt x="794" y="215"/>
                  </a:lnTo>
                  <a:lnTo>
                    <a:pt x="799" y="181"/>
                  </a:lnTo>
                  <a:lnTo>
                    <a:pt x="823" y="160"/>
                  </a:lnTo>
                  <a:lnTo>
                    <a:pt x="889" y="179"/>
                  </a:lnTo>
                  <a:lnTo>
                    <a:pt x="920" y="170"/>
                  </a:lnTo>
                  <a:lnTo>
                    <a:pt x="955" y="113"/>
                  </a:lnTo>
                  <a:lnTo>
                    <a:pt x="961" y="79"/>
                  </a:lnTo>
                  <a:lnTo>
                    <a:pt x="1028" y="6"/>
                  </a:lnTo>
                  <a:lnTo>
                    <a:pt x="1069" y="0"/>
                  </a:lnTo>
                  <a:lnTo>
                    <a:pt x="1081" y="29"/>
                  </a:lnTo>
                  <a:lnTo>
                    <a:pt x="1144" y="12"/>
                  </a:lnTo>
                  <a:lnTo>
                    <a:pt x="1174" y="21"/>
                  </a:lnTo>
                  <a:lnTo>
                    <a:pt x="1196" y="46"/>
                  </a:lnTo>
                  <a:lnTo>
                    <a:pt x="1259" y="29"/>
                  </a:lnTo>
                  <a:lnTo>
                    <a:pt x="1291" y="32"/>
                  </a:lnTo>
                  <a:lnTo>
                    <a:pt x="1346" y="61"/>
                  </a:lnTo>
                  <a:lnTo>
                    <a:pt x="1348" y="142"/>
                  </a:lnTo>
                  <a:lnTo>
                    <a:pt x="1401" y="101"/>
                  </a:lnTo>
                  <a:lnTo>
                    <a:pt x="1433" y="94"/>
                  </a:lnTo>
                  <a:lnTo>
                    <a:pt x="1453" y="70"/>
                  </a:lnTo>
                  <a:lnTo>
                    <a:pt x="1548" y="56"/>
                  </a:lnTo>
                  <a:lnTo>
                    <a:pt x="1652" y="137"/>
                  </a:lnTo>
                  <a:lnTo>
                    <a:pt x="1684" y="136"/>
                  </a:lnTo>
                  <a:lnTo>
                    <a:pt x="1696" y="182"/>
                  </a:lnTo>
                  <a:lnTo>
                    <a:pt x="1690" y="215"/>
                  </a:lnTo>
                  <a:lnTo>
                    <a:pt x="1697" y="248"/>
                  </a:lnTo>
                  <a:lnTo>
                    <a:pt x="1721" y="272"/>
                  </a:lnTo>
                  <a:lnTo>
                    <a:pt x="1736" y="301"/>
                  </a:lnTo>
                  <a:lnTo>
                    <a:pt x="1733" y="365"/>
                  </a:lnTo>
                  <a:lnTo>
                    <a:pt x="1708" y="391"/>
                  </a:lnTo>
                  <a:lnTo>
                    <a:pt x="1705" y="425"/>
                  </a:lnTo>
                  <a:lnTo>
                    <a:pt x="1720" y="455"/>
                  </a:lnTo>
                  <a:lnTo>
                    <a:pt x="1775" y="494"/>
                  </a:lnTo>
                  <a:lnTo>
                    <a:pt x="1888" y="664"/>
                  </a:lnTo>
                  <a:lnTo>
                    <a:pt x="1953" y="690"/>
                  </a:lnTo>
                  <a:lnTo>
                    <a:pt x="1977" y="713"/>
                  </a:lnTo>
                  <a:lnTo>
                    <a:pt x="1989" y="746"/>
                  </a:lnTo>
                  <a:lnTo>
                    <a:pt x="1990" y="779"/>
                  </a:lnTo>
                  <a:lnTo>
                    <a:pt x="2009" y="808"/>
                  </a:lnTo>
                  <a:lnTo>
                    <a:pt x="2107" y="778"/>
                  </a:lnTo>
                  <a:lnTo>
                    <a:pt x="2137" y="795"/>
                  </a:lnTo>
                  <a:lnTo>
                    <a:pt x="2171" y="800"/>
                  </a:lnTo>
                  <a:lnTo>
                    <a:pt x="2165" y="834"/>
                  </a:lnTo>
                  <a:lnTo>
                    <a:pt x="2191" y="856"/>
                  </a:lnTo>
                  <a:lnTo>
                    <a:pt x="2232" y="856"/>
                  </a:lnTo>
                  <a:lnTo>
                    <a:pt x="2247" y="912"/>
                  </a:lnTo>
                  <a:lnTo>
                    <a:pt x="2136" y="1047"/>
                  </a:lnTo>
                  <a:lnTo>
                    <a:pt x="2064" y="1049"/>
                  </a:lnTo>
                  <a:lnTo>
                    <a:pt x="2005" y="1013"/>
                  </a:lnTo>
                  <a:lnTo>
                    <a:pt x="1970" y="1017"/>
                  </a:lnTo>
                  <a:lnTo>
                    <a:pt x="1941" y="1035"/>
                  </a:lnTo>
                  <a:lnTo>
                    <a:pt x="1944" y="1070"/>
                  </a:lnTo>
                  <a:lnTo>
                    <a:pt x="1915" y="1089"/>
                  </a:lnTo>
                  <a:lnTo>
                    <a:pt x="1922" y="1123"/>
                  </a:lnTo>
                  <a:lnTo>
                    <a:pt x="1980" y="1161"/>
                  </a:lnTo>
                  <a:lnTo>
                    <a:pt x="1995" y="1192"/>
                  </a:lnTo>
                  <a:lnTo>
                    <a:pt x="1989" y="1228"/>
                  </a:lnTo>
                  <a:lnTo>
                    <a:pt x="2016" y="1249"/>
                  </a:lnTo>
                  <a:lnTo>
                    <a:pt x="2014" y="1285"/>
                  </a:lnTo>
                  <a:lnTo>
                    <a:pt x="2047" y="1297"/>
                  </a:lnTo>
                  <a:lnTo>
                    <a:pt x="2065" y="1329"/>
                  </a:lnTo>
                  <a:lnTo>
                    <a:pt x="2068" y="1363"/>
                  </a:lnTo>
                  <a:lnTo>
                    <a:pt x="2105" y="1455"/>
                  </a:lnTo>
                  <a:lnTo>
                    <a:pt x="2017" y="1471"/>
                  </a:lnTo>
                  <a:lnTo>
                    <a:pt x="1987" y="1495"/>
                  </a:lnTo>
                  <a:lnTo>
                    <a:pt x="1950" y="1501"/>
                  </a:lnTo>
                  <a:lnTo>
                    <a:pt x="1918" y="1522"/>
                  </a:lnTo>
                  <a:lnTo>
                    <a:pt x="1853" y="1615"/>
                  </a:lnTo>
                  <a:lnTo>
                    <a:pt x="1844" y="1651"/>
                  </a:lnTo>
                  <a:lnTo>
                    <a:pt x="1850" y="1690"/>
                  </a:lnTo>
                  <a:lnTo>
                    <a:pt x="1845" y="1727"/>
                  </a:lnTo>
                  <a:lnTo>
                    <a:pt x="1866" y="1800"/>
                  </a:lnTo>
                  <a:lnTo>
                    <a:pt x="1853" y="1837"/>
                  </a:lnTo>
                  <a:lnTo>
                    <a:pt x="1819" y="1851"/>
                  </a:lnTo>
                  <a:lnTo>
                    <a:pt x="1793" y="1825"/>
                  </a:lnTo>
                  <a:lnTo>
                    <a:pt x="1756" y="1814"/>
                  </a:lnTo>
                  <a:lnTo>
                    <a:pt x="1610" y="1843"/>
                  </a:lnTo>
                  <a:lnTo>
                    <a:pt x="1581" y="1870"/>
                  </a:lnTo>
                  <a:lnTo>
                    <a:pt x="1550" y="1850"/>
                  </a:lnTo>
                  <a:lnTo>
                    <a:pt x="1531" y="1815"/>
                  </a:lnTo>
                  <a:lnTo>
                    <a:pt x="1466" y="1778"/>
                  </a:lnTo>
                  <a:lnTo>
                    <a:pt x="1402" y="1870"/>
                  </a:lnTo>
                  <a:lnTo>
                    <a:pt x="1368" y="1852"/>
                  </a:lnTo>
                  <a:lnTo>
                    <a:pt x="1344" y="1825"/>
                  </a:lnTo>
                  <a:lnTo>
                    <a:pt x="1309" y="1838"/>
                  </a:lnTo>
                  <a:lnTo>
                    <a:pt x="1273" y="1830"/>
                  </a:lnTo>
                  <a:lnTo>
                    <a:pt x="1241" y="1809"/>
                  </a:lnTo>
                  <a:lnTo>
                    <a:pt x="1216" y="1842"/>
                  </a:lnTo>
                  <a:lnTo>
                    <a:pt x="1179" y="1847"/>
                  </a:lnTo>
                  <a:lnTo>
                    <a:pt x="1145" y="1863"/>
                  </a:lnTo>
                  <a:lnTo>
                    <a:pt x="1118" y="1889"/>
                  </a:lnTo>
                  <a:lnTo>
                    <a:pt x="1088" y="1869"/>
                  </a:lnTo>
                  <a:lnTo>
                    <a:pt x="1079" y="1832"/>
                  </a:lnTo>
                  <a:lnTo>
                    <a:pt x="1007" y="1845"/>
                  </a:lnTo>
                  <a:lnTo>
                    <a:pt x="977" y="1823"/>
                  </a:lnTo>
                  <a:lnTo>
                    <a:pt x="965" y="1786"/>
                  </a:lnTo>
                  <a:lnTo>
                    <a:pt x="932" y="1772"/>
                  </a:lnTo>
                  <a:lnTo>
                    <a:pt x="895" y="1767"/>
                  </a:lnTo>
                  <a:lnTo>
                    <a:pt x="862" y="1752"/>
                  </a:lnTo>
                  <a:lnTo>
                    <a:pt x="789" y="1760"/>
                  </a:lnTo>
                  <a:lnTo>
                    <a:pt x="651" y="1711"/>
                  </a:lnTo>
                  <a:lnTo>
                    <a:pt x="538" y="1726"/>
                  </a:lnTo>
                  <a:lnTo>
                    <a:pt x="503" y="1714"/>
                  </a:lnTo>
                  <a:lnTo>
                    <a:pt x="291" y="1770"/>
                  </a:lnTo>
                  <a:lnTo>
                    <a:pt x="282" y="1806"/>
                  </a:lnTo>
                  <a:lnTo>
                    <a:pt x="256" y="1833"/>
                  </a:lnTo>
                  <a:lnTo>
                    <a:pt x="188" y="1869"/>
                  </a:lnTo>
                  <a:lnTo>
                    <a:pt x="152" y="1865"/>
                  </a:lnTo>
                  <a:lnTo>
                    <a:pt x="115" y="1873"/>
                  </a:lnTo>
                  <a:lnTo>
                    <a:pt x="88" y="190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56" name="Freeform 6"/>
            <p:cNvSpPr>
              <a:spLocks/>
            </p:cNvSpPr>
            <p:nvPr/>
          </p:nvSpPr>
          <p:spPr bwMode="auto">
            <a:xfrm>
              <a:off x="7072146" y="3641294"/>
              <a:ext cx="585668" cy="287361"/>
            </a:xfrm>
            <a:custGeom>
              <a:avLst/>
              <a:gdLst>
                <a:gd name="T0" fmla="*/ 0 w 1442"/>
                <a:gd name="T1" fmla="*/ 0 h 704"/>
                <a:gd name="T2" fmla="*/ 0 w 1442"/>
                <a:gd name="T3" fmla="*/ 0 h 704"/>
                <a:gd name="T4" fmla="*/ 0 w 1442"/>
                <a:gd name="T5" fmla="*/ 0 h 704"/>
                <a:gd name="T6" fmla="*/ 0 w 1442"/>
                <a:gd name="T7" fmla="*/ 0 h 704"/>
                <a:gd name="T8" fmla="*/ 0 w 1442"/>
                <a:gd name="T9" fmla="*/ 0 h 704"/>
                <a:gd name="T10" fmla="*/ 0 w 1442"/>
                <a:gd name="T11" fmla="*/ 0 h 704"/>
                <a:gd name="T12" fmla="*/ 0 w 1442"/>
                <a:gd name="T13" fmla="*/ 0 h 704"/>
                <a:gd name="T14" fmla="*/ 0 w 1442"/>
                <a:gd name="T15" fmla="*/ 0 h 704"/>
                <a:gd name="T16" fmla="*/ 0 w 1442"/>
                <a:gd name="T17" fmla="*/ 0 h 704"/>
                <a:gd name="T18" fmla="*/ 0 w 1442"/>
                <a:gd name="T19" fmla="*/ 0 h 704"/>
                <a:gd name="T20" fmla="*/ 0 w 1442"/>
                <a:gd name="T21" fmla="*/ 0 h 704"/>
                <a:gd name="T22" fmla="*/ 0 w 1442"/>
                <a:gd name="T23" fmla="*/ 0 h 704"/>
                <a:gd name="T24" fmla="*/ 0 w 1442"/>
                <a:gd name="T25" fmla="*/ 0 h 704"/>
                <a:gd name="T26" fmla="*/ 0 w 1442"/>
                <a:gd name="T27" fmla="*/ 0 h 704"/>
                <a:gd name="T28" fmla="*/ 0 w 1442"/>
                <a:gd name="T29" fmla="*/ 0 h 704"/>
                <a:gd name="T30" fmla="*/ 0 w 1442"/>
                <a:gd name="T31" fmla="*/ 0 h 704"/>
                <a:gd name="T32" fmla="*/ 0 w 1442"/>
                <a:gd name="T33" fmla="*/ 0 h 704"/>
                <a:gd name="T34" fmla="*/ 0 w 1442"/>
                <a:gd name="T35" fmla="*/ 0 h 704"/>
                <a:gd name="T36" fmla="*/ 0 w 1442"/>
                <a:gd name="T37" fmla="*/ 0 h 704"/>
                <a:gd name="T38" fmla="*/ 0 w 1442"/>
                <a:gd name="T39" fmla="*/ 0 h 704"/>
                <a:gd name="T40" fmla="*/ 0 w 1442"/>
                <a:gd name="T41" fmla="*/ 0 h 704"/>
                <a:gd name="T42" fmla="*/ 0 w 1442"/>
                <a:gd name="T43" fmla="*/ 0 h 704"/>
                <a:gd name="T44" fmla="*/ 0 w 1442"/>
                <a:gd name="T45" fmla="*/ 0 h 704"/>
                <a:gd name="T46" fmla="*/ 0 w 1442"/>
                <a:gd name="T47" fmla="*/ 0 h 704"/>
                <a:gd name="T48" fmla="*/ 0 w 1442"/>
                <a:gd name="T49" fmla="*/ 0 h 704"/>
                <a:gd name="T50" fmla="*/ 0 w 1442"/>
                <a:gd name="T51" fmla="*/ 0 h 704"/>
                <a:gd name="T52" fmla="*/ 0 w 1442"/>
                <a:gd name="T53" fmla="*/ 0 h 704"/>
                <a:gd name="T54" fmla="*/ 0 w 1442"/>
                <a:gd name="T55" fmla="*/ 0 h 704"/>
                <a:gd name="T56" fmla="*/ 0 w 1442"/>
                <a:gd name="T57" fmla="*/ 0 h 704"/>
                <a:gd name="T58" fmla="*/ 0 w 1442"/>
                <a:gd name="T59" fmla="*/ 0 h 704"/>
                <a:gd name="T60" fmla="*/ 0 w 1442"/>
                <a:gd name="T61" fmla="*/ 0 h 704"/>
                <a:gd name="T62" fmla="*/ 0 w 1442"/>
                <a:gd name="T63" fmla="*/ 0 h 704"/>
                <a:gd name="T64" fmla="*/ 0 w 1442"/>
                <a:gd name="T65" fmla="*/ 0 h 704"/>
                <a:gd name="T66" fmla="*/ 0 w 1442"/>
                <a:gd name="T67" fmla="*/ 0 h 704"/>
                <a:gd name="T68" fmla="*/ 0 w 1442"/>
                <a:gd name="T69" fmla="*/ 0 h 704"/>
                <a:gd name="T70" fmla="*/ 0 w 1442"/>
                <a:gd name="T71" fmla="*/ 0 h 704"/>
                <a:gd name="T72" fmla="*/ 0 w 1442"/>
                <a:gd name="T73" fmla="*/ 0 h 704"/>
                <a:gd name="T74" fmla="*/ 0 w 1442"/>
                <a:gd name="T75" fmla="*/ 0 h 704"/>
                <a:gd name="T76" fmla="*/ 0 w 1442"/>
                <a:gd name="T77" fmla="*/ 0 h 704"/>
                <a:gd name="T78" fmla="*/ 0 w 1442"/>
                <a:gd name="T79" fmla="*/ 0 h 704"/>
                <a:gd name="T80" fmla="*/ 0 w 1442"/>
                <a:gd name="T81" fmla="*/ 0 h 704"/>
                <a:gd name="T82" fmla="*/ 0 w 1442"/>
                <a:gd name="T83" fmla="*/ 0 h 70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42"/>
                <a:gd name="T127" fmla="*/ 0 h 704"/>
                <a:gd name="T128" fmla="*/ 1442 w 1442"/>
                <a:gd name="T129" fmla="*/ 704 h 70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42" h="704">
                  <a:moveTo>
                    <a:pt x="1364" y="448"/>
                  </a:moveTo>
                  <a:lnTo>
                    <a:pt x="1304" y="465"/>
                  </a:lnTo>
                  <a:lnTo>
                    <a:pt x="1224" y="414"/>
                  </a:lnTo>
                  <a:lnTo>
                    <a:pt x="1148" y="396"/>
                  </a:lnTo>
                  <a:lnTo>
                    <a:pt x="1092" y="409"/>
                  </a:lnTo>
                  <a:lnTo>
                    <a:pt x="1010" y="403"/>
                  </a:lnTo>
                  <a:lnTo>
                    <a:pt x="933" y="447"/>
                  </a:lnTo>
                  <a:lnTo>
                    <a:pt x="910" y="501"/>
                  </a:lnTo>
                  <a:lnTo>
                    <a:pt x="796" y="547"/>
                  </a:lnTo>
                  <a:lnTo>
                    <a:pt x="715" y="522"/>
                  </a:lnTo>
                  <a:lnTo>
                    <a:pt x="490" y="606"/>
                  </a:lnTo>
                  <a:lnTo>
                    <a:pt x="424" y="699"/>
                  </a:lnTo>
                  <a:lnTo>
                    <a:pt x="234" y="704"/>
                  </a:lnTo>
                  <a:lnTo>
                    <a:pt x="56" y="571"/>
                  </a:lnTo>
                  <a:lnTo>
                    <a:pt x="0" y="398"/>
                  </a:lnTo>
                  <a:lnTo>
                    <a:pt x="62" y="299"/>
                  </a:lnTo>
                  <a:lnTo>
                    <a:pt x="96" y="303"/>
                  </a:lnTo>
                  <a:lnTo>
                    <a:pt x="121" y="324"/>
                  </a:lnTo>
                  <a:lnTo>
                    <a:pt x="193" y="319"/>
                  </a:lnTo>
                  <a:lnTo>
                    <a:pt x="256" y="274"/>
                  </a:lnTo>
                  <a:lnTo>
                    <a:pt x="257" y="239"/>
                  </a:lnTo>
                  <a:lnTo>
                    <a:pt x="299" y="233"/>
                  </a:lnTo>
                  <a:lnTo>
                    <a:pt x="325" y="193"/>
                  </a:lnTo>
                  <a:lnTo>
                    <a:pt x="330" y="134"/>
                  </a:lnTo>
                  <a:lnTo>
                    <a:pt x="340" y="113"/>
                  </a:lnTo>
                  <a:lnTo>
                    <a:pt x="381" y="102"/>
                  </a:lnTo>
                  <a:lnTo>
                    <a:pt x="432" y="33"/>
                  </a:lnTo>
                  <a:lnTo>
                    <a:pt x="484" y="37"/>
                  </a:lnTo>
                  <a:lnTo>
                    <a:pt x="519" y="7"/>
                  </a:lnTo>
                  <a:lnTo>
                    <a:pt x="570" y="33"/>
                  </a:lnTo>
                  <a:lnTo>
                    <a:pt x="670" y="0"/>
                  </a:lnTo>
                  <a:lnTo>
                    <a:pt x="786" y="120"/>
                  </a:lnTo>
                  <a:lnTo>
                    <a:pt x="823" y="131"/>
                  </a:lnTo>
                  <a:lnTo>
                    <a:pt x="868" y="108"/>
                  </a:lnTo>
                  <a:lnTo>
                    <a:pt x="911" y="63"/>
                  </a:lnTo>
                  <a:lnTo>
                    <a:pt x="1001" y="63"/>
                  </a:lnTo>
                  <a:lnTo>
                    <a:pt x="1050" y="97"/>
                  </a:lnTo>
                  <a:lnTo>
                    <a:pt x="1131" y="47"/>
                  </a:lnTo>
                  <a:lnTo>
                    <a:pt x="1254" y="44"/>
                  </a:lnTo>
                  <a:lnTo>
                    <a:pt x="1396" y="151"/>
                  </a:lnTo>
                  <a:lnTo>
                    <a:pt x="1442" y="164"/>
                  </a:lnTo>
                  <a:lnTo>
                    <a:pt x="1364" y="448"/>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57" name="Freeform 7"/>
            <p:cNvSpPr>
              <a:spLocks/>
            </p:cNvSpPr>
            <p:nvPr/>
          </p:nvSpPr>
          <p:spPr bwMode="auto">
            <a:xfrm>
              <a:off x="7072146" y="3641294"/>
              <a:ext cx="585668" cy="287361"/>
            </a:xfrm>
            <a:custGeom>
              <a:avLst/>
              <a:gdLst>
                <a:gd name="T0" fmla="*/ 0 w 1442"/>
                <a:gd name="T1" fmla="*/ 0 h 704"/>
                <a:gd name="T2" fmla="*/ 0 w 1442"/>
                <a:gd name="T3" fmla="*/ 0 h 704"/>
                <a:gd name="T4" fmla="*/ 0 w 1442"/>
                <a:gd name="T5" fmla="*/ 0 h 704"/>
                <a:gd name="T6" fmla="*/ 0 w 1442"/>
                <a:gd name="T7" fmla="*/ 0 h 704"/>
                <a:gd name="T8" fmla="*/ 0 w 1442"/>
                <a:gd name="T9" fmla="*/ 0 h 704"/>
                <a:gd name="T10" fmla="*/ 0 w 1442"/>
                <a:gd name="T11" fmla="*/ 0 h 704"/>
                <a:gd name="T12" fmla="*/ 0 w 1442"/>
                <a:gd name="T13" fmla="*/ 0 h 704"/>
                <a:gd name="T14" fmla="*/ 0 w 1442"/>
                <a:gd name="T15" fmla="*/ 0 h 704"/>
                <a:gd name="T16" fmla="*/ 0 w 1442"/>
                <a:gd name="T17" fmla="*/ 0 h 704"/>
                <a:gd name="T18" fmla="*/ 0 w 1442"/>
                <a:gd name="T19" fmla="*/ 0 h 704"/>
                <a:gd name="T20" fmla="*/ 0 w 1442"/>
                <a:gd name="T21" fmla="*/ 0 h 704"/>
                <a:gd name="T22" fmla="*/ 0 w 1442"/>
                <a:gd name="T23" fmla="*/ 0 h 704"/>
                <a:gd name="T24" fmla="*/ 0 w 1442"/>
                <a:gd name="T25" fmla="*/ 0 h 704"/>
                <a:gd name="T26" fmla="*/ 0 w 1442"/>
                <a:gd name="T27" fmla="*/ 0 h 704"/>
                <a:gd name="T28" fmla="*/ 0 w 1442"/>
                <a:gd name="T29" fmla="*/ 0 h 704"/>
                <a:gd name="T30" fmla="*/ 0 w 1442"/>
                <a:gd name="T31" fmla="*/ 0 h 704"/>
                <a:gd name="T32" fmla="*/ 0 w 1442"/>
                <a:gd name="T33" fmla="*/ 0 h 704"/>
                <a:gd name="T34" fmla="*/ 0 w 1442"/>
                <a:gd name="T35" fmla="*/ 0 h 704"/>
                <a:gd name="T36" fmla="*/ 0 w 1442"/>
                <a:gd name="T37" fmla="*/ 0 h 704"/>
                <a:gd name="T38" fmla="*/ 0 w 1442"/>
                <a:gd name="T39" fmla="*/ 0 h 704"/>
                <a:gd name="T40" fmla="*/ 0 w 1442"/>
                <a:gd name="T41" fmla="*/ 0 h 704"/>
                <a:gd name="T42" fmla="*/ 0 w 1442"/>
                <a:gd name="T43" fmla="*/ 0 h 704"/>
                <a:gd name="T44" fmla="*/ 0 w 1442"/>
                <a:gd name="T45" fmla="*/ 0 h 704"/>
                <a:gd name="T46" fmla="*/ 0 w 1442"/>
                <a:gd name="T47" fmla="*/ 0 h 704"/>
                <a:gd name="T48" fmla="*/ 0 w 1442"/>
                <a:gd name="T49" fmla="*/ 0 h 704"/>
                <a:gd name="T50" fmla="*/ 0 w 1442"/>
                <a:gd name="T51" fmla="*/ 0 h 704"/>
                <a:gd name="T52" fmla="*/ 0 w 1442"/>
                <a:gd name="T53" fmla="*/ 0 h 704"/>
                <a:gd name="T54" fmla="*/ 0 w 1442"/>
                <a:gd name="T55" fmla="*/ 0 h 704"/>
                <a:gd name="T56" fmla="*/ 0 w 1442"/>
                <a:gd name="T57" fmla="*/ 0 h 704"/>
                <a:gd name="T58" fmla="*/ 0 w 1442"/>
                <a:gd name="T59" fmla="*/ 0 h 704"/>
                <a:gd name="T60" fmla="*/ 0 w 1442"/>
                <a:gd name="T61" fmla="*/ 0 h 704"/>
                <a:gd name="T62" fmla="*/ 0 w 1442"/>
                <a:gd name="T63" fmla="*/ 0 h 704"/>
                <a:gd name="T64" fmla="*/ 0 w 1442"/>
                <a:gd name="T65" fmla="*/ 0 h 704"/>
                <a:gd name="T66" fmla="*/ 0 w 1442"/>
                <a:gd name="T67" fmla="*/ 0 h 704"/>
                <a:gd name="T68" fmla="*/ 0 w 1442"/>
                <a:gd name="T69" fmla="*/ 0 h 704"/>
                <a:gd name="T70" fmla="*/ 0 w 1442"/>
                <a:gd name="T71" fmla="*/ 0 h 704"/>
                <a:gd name="T72" fmla="*/ 0 w 1442"/>
                <a:gd name="T73" fmla="*/ 0 h 704"/>
                <a:gd name="T74" fmla="*/ 0 w 1442"/>
                <a:gd name="T75" fmla="*/ 0 h 704"/>
                <a:gd name="T76" fmla="*/ 0 w 1442"/>
                <a:gd name="T77" fmla="*/ 0 h 704"/>
                <a:gd name="T78" fmla="*/ 0 w 1442"/>
                <a:gd name="T79" fmla="*/ 0 h 704"/>
                <a:gd name="T80" fmla="*/ 0 w 1442"/>
                <a:gd name="T81" fmla="*/ 0 h 704"/>
                <a:gd name="T82" fmla="*/ 0 w 1442"/>
                <a:gd name="T83" fmla="*/ 0 h 70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42"/>
                <a:gd name="T127" fmla="*/ 0 h 704"/>
                <a:gd name="T128" fmla="*/ 1442 w 1442"/>
                <a:gd name="T129" fmla="*/ 704 h 70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42" h="704">
                  <a:moveTo>
                    <a:pt x="1364" y="448"/>
                  </a:moveTo>
                  <a:lnTo>
                    <a:pt x="1304" y="465"/>
                  </a:lnTo>
                  <a:lnTo>
                    <a:pt x="1224" y="414"/>
                  </a:lnTo>
                  <a:lnTo>
                    <a:pt x="1148" y="396"/>
                  </a:lnTo>
                  <a:lnTo>
                    <a:pt x="1092" y="409"/>
                  </a:lnTo>
                  <a:lnTo>
                    <a:pt x="1010" y="403"/>
                  </a:lnTo>
                  <a:lnTo>
                    <a:pt x="933" y="447"/>
                  </a:lnTo>
                  <a:lnTo>
                    <a:pt x="910" y="501"/>
                  </a:lnTo>
                  <a:lnTo>
                    <a:pt x="796" y="547"/>
                  </a:lnTo>
                  <a:lnTo>
                    <a:pt x="715" y="522"/>
                  </a:lnTo>
                  <a:lnTo>
                    <a:pt x="490" y="606"/>
                  </a:lnTo>
                  <a:lnTo>
                    <a:pt x="424" y="699"/>
                  </a:lnTo>
                  <a:lnTo>
                    <a:pt x="234" y="704"/>
                  </a:lnTo>
                  <a:lnTo>
                    <a:pt x="56" y="571"/>
                  </a:lnTo>
                  <a:lnTo>
                    <a:pt x="0" y="398"/>
                  </a:lnTo>
                  <a:lnTo>
                    <a:pt x="62" y="299"/>
                  </a:lnTo>
                  <a:lnTo>
                    <a:pt x="96" y="303"/>
                  </a:lnTo>
                  <a:lnTo>
                    <a:pt x="121" y="324"/>
                  </a:lnTo>
                  <a:lnTo>
                    <a:pt x="193" y="319"/>
                  </a:lnTo>
                  <a:lnTo>
                    <a:pt x="256" y="274"/>
                  </a:lnTo>
                  <a:lnTo>
                    <a:pt x="257" y="239"/>
                  </a:lnTo>
                  <a:lnTo>
                    <a:pt x="299" y="233"/>
                  </a:lnTo>
                  <a:lnTo>
                    <a:pt x="325" y="193"/>
                  </a:lnTo>
                  <a:lnTo>
                    <a:pt x="330" y="134"/>
                  </a:lnTo>
                  <a:lnTo>
                    <a:pt x="340" y="113"/>
                  </a:lnTo>
                  <a:lnTo>
                    <a:pt x="381" y="102"/>
                  </a:lnTo>
                  <a:lnTo>
                    <a:pt x="432" y="33"/>
                  </a:lnTo>
                  <a:lnTo>
                    <a:pt x="484" y="37"/>
                  </a:lnTo>
                  <a:lnTo>
                    <a:pt x="519" y="7"/>
                  </a:lnTo>
                  <a:lnTo>
                    <a:pt x="570" y="33"/>
                  </a:lnTo>
                  <a:lnTo>
                    <a:pt x="670" y="0"/>
                  </a:lnTo>
                  <a:lnTo>
                    <a:pt x="786" y="120"/>
                  </a:lnTo>
                  <a:lnTo>
                    <a:pt x="823" y="131"/>
                  </a:lnTo>
                  <a:lnTo>
                    <a:pt x="868" y="108"/>
                  </a:lnTo>
                  <a:lnTo>
                    <a:pt x="911" y="63"/>
                  </a:lnTo>
                  <a:lnTo>
                    <a:pt x="1001" y="63"/>
                  </a:lnTo>
                  <a:lnTo>
                    <a:pt x="1050" y="97"/>
                  </a:lnTo>
                  <a:lnTo>
                    <a:pt x="1131" y="47"/>
                  </a:lnTo>
                  <a:lnTo>
                    <a:pt x="1254" y="44"/>
                  </a:lnTo>
                  <a:lnTo>
                    <a:pt x="1396" y="151"/>
                  </a:lnTo>
                  <a:lnTo>
                    <a:pt x="1442" y="164"/>
                  </a:lnTo>
                  <a:lnTo>
                    <a:pt x="1364" y="448"/>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58" name="Freeform 8"/>
            <p:cNvSpPr>
              <a:spLocks/>
            </p:cNvSpPr>
            <p:nvPr/>
          </p:nvSpPr>
          <p:spPr bwMode="auto">
            <a:xfrm>
              <a:off x="6263967" y="3911875"/>
              <a:ext cx="25190" cy="62926"/>
            </a:xfrm>
            <a:custGeom>
              <a:avLst/>
              <a:gdLst>
                <a:gd name="T0" fmla="*/ 0 w 69"/>
                <a:gd name="T1" fmla="*/ 0 h 153"/>
                <a:gd name="T2" fmla="*/ 0 w 69"/>
                <a:gd name="T3" fmla="*/ 0 h 153"/>
                <a:gd name="T4" fmla="*/ 0 w 69"/>
                <a:gd name="T5" fmla="*/ 0 h 153"/>
                <a:gd name="T6" fmla="*/ 0 w 69"/>
                <a:gd name="T7" fmla="*/ 0 h 153"/>
                <a:gd name="T8" fmla="*/ 0 w 69"/>
                <a:gd name="T9" fmla="*/ 0 h 153"/>
                <a:gd name="T10" fmla="*/ 0 w 69"/>
                <a:gd name="T11" fmla="*/ 0 h 153"/>
                <a:gd name="T12" fmla="*/ 0 60000 65536"/>
                <a:gd name="T13" fmla="*/ 0 60000 65536"/>
                <a:gd name="T14" fmla="*/ 0 60000 65536"/>
                <a:gd name="T15" fmla="*/ 0 60000 65536"/>
                <a:gd name="T16" fmla="*/ 0 60000 65536"/>
                <a:gd name="T17" fmla="*/ 0 60000 65536"/>
                <a:gd name="T18" fmla="*/ 0 w 69"/>
                <a:gd name="T19" fmla="*/ 0 h 153"/>
                <a:gd name="T20" fmla="*/ 69 w 69"/>
                <a:gd name="T21" fmla="*/ 153 h 153"/>
              </a:gdLst>
              <a:ahLst/>
              <a:cxnLst>
                <a:cxn ang="T12">
                  <a:pos x="T0" y="T1"/>
                </a:cxn>
                <a:cxn ang="T13">
                  <a:pos x="T2" y="T3"/>
                </a:cxn>
                <a:cxn ang="T14">
                  <a:pos x="T4" y="T5"/>
                </a:cxn>
                <a:cxn ang="T15">
                  <a:pos x="T6" y="T7"/>
                </a:cxn>
                <a:cxn ang="T16">
                  <a:pos x="T8" y="T9"/>
                </a:cxn>
                <a:cxn ang="T17">
                  <a:pos x="T10" y="T11"/>
                </a:cxn>
              </a:cxnLst>
              <a:rect l="T18" t="T19" r="T20" b="T21"/>
              <a:pathLst>
                <a:path w="69" h="153">
                  <a:moveTo>
                    <a:pt x="29" y="153"/>
                  </a:moveTo>
                  <a:lnTo>
                    <a:pt x="64" y="119"/>
                  </a:lnTo>
                  <a:lnTo>
                    <a:pt x="69" y="28"/>
                  </a:lnTo>
                  <a:lnTo>
                    <a:pt x="35" y="0"/>
                  </a:lnTo>
                  <a:lnTo>
                    <a:pt x="0" y="88"/>
                  </a:lnTo>
                  <a:lnTo>
                    <a:pt x="29" y="15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59" name="Freeform 9"/>
            <p:cNvSpPr>
              <a:spLocks/>
            </p:cNvSpPr>
            <p:nvPr/>
          </p:nvSpPr>
          <p:spPr bwMode="auto">
            <a:xfrm>
              <a:off x="6263967" y="3911875"/>
              <a:ext cx="25190" cy="62926"/>
            </a:xfrm>
            <a:custGeom>
              <a:avLst/>
              <a:gdLst>
                <a:gd name="T0" fmla="*/ 0 w 69"/>
                <a:gd name="T1" fmla="*/ 0 h 153"/>
                <a:gd name="T2" fmla="*/ 0 w 69"/>
                <a:gd name="T3" fmla="*/ 0 h 153"/>
                <a:gd name="T4" fmla="*/ 0 w 69"/>
                <a:gd name="T5" fmla="*/ 0 h 153"/>
                <a:gd name="T6" fmla="*/ 0 w 69"/>
                <a:gd name="T7" fmla="*/ 0 h 153"/>
                <a:gd name="T8" fmla="*/ 0 w 69"/>
                <a:gd name="T9" fmla="*/ 0 h 153"/>
                <a:gd name="T10" fmla="*/ 0 w 69"/>
                <a:gd name="T11" fmla="*/ 0 h 153"/>
                <a:gd name="T12" fmla="*/ 0 60000 65536"/>
                <a:gd name="T13" fmla="*/ 0 60000 65536"/>
                <a:gd name="T14" fmla="*/ 0 60000 65536"/>
                <a:gd name="T15" fmla="*/ 0 60000 65536"/>
                <a:gd name="T16" fmla="*/ 0 60000 65536"/>
                <a:gd name="T17" fmla="*/ 0 60000 65536"/>
                <a:gd name="T18" fmla="*/ 0 w 69"/>
                <a:gd name="T19" fmla="*/ 0 h 153"/>
                <a:gd name="T20" fmla="*/ 69 w 69"/>
                <a:gd name="T21" fmla="*/ 153 h 153"/>
              </a:gdLst>
              <a:ahLst/>
              <a:cxnLst>
                <a:cxn ang="T12">
                  <a:pos x="T0" y="T1"/>
                </a:cxn>
                <a:cxn ang="T13">
                  <a:pos x="T2" y="T3"/>
                </a:cxn>
                <a:cxn ang="T14">
                  <a:pos x="T4" y="T5"/>
                </a:cxn>
                <a:cxn ang="T15">
                  <a:pos x="T6" y="T7"/>
                </a:cxn>
                <a:cxn ang="T16">
                  <a:pos x="T8" y="T9"/>
                </a:cxn>
                <a:cxn ang="T17">
                  <a:pos x="T10" y="T11"/>
                </a:cxn>
              </a:cxnLst>
              <a:rect l="T18" t="T19" r="T20" b="T21"/>
              <a:pathLst>
                <a:path w="69" h="153">
                  <a:moveTo>
                    <a:pt x="29" y="153"/>
                  </a:moveTo>
                  <a:lnTo>
                    <a:pt x="64" y="119"/>
                  </a:lnTo>
                  <a:lnTo>
                    <a:pt x="69" y="28"/>
                  </a:lnTo>
                  <a:lnTo>
                    <a:pt x="35" y="0"/>
                  </a:lnTo>
                  <a:lnTo>
                    <a:pt x="0" y="88"/>
                  </a:lnTo>
                  <a:lnTo>
                    <a:pt x="29" y="153"/>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0" name="Freeform 10"/>
            <p:cNvSpPr>
              <a:spLocks/>
            </p:cNvSpPr>
            <p:nvPr/>
          </p:nvSpPr>
          <p:spPr bwMode="auto">
            <a:xfrm>
              <a:off x="6675403" y="4060800"/>
              <a:ext cx="352660" cy="243313"/>
            </a:xfrm>
            <a:custGeom>
              <a:avLst/>
              <a:gdLst>
                <a:gd name="T0" fmla="*/ 0 w 873"/>
                <a:gd name="T1" fmla="*/ 0 h 599"/>
                <a:gd name="T2" fmla="*/ 0 w 873"/>
                <a:gd name="T3" fmla="*/ 0 h 599"/>
                <a:gd name="T4" fmla="*/ 0 w 873"/>
                <a:gd name="T5" fmla="*/ 0 h 599"/>
                <a:gd name="T6" fmla="*/ 0 w 873"/>
                <a:gd name="T7" fmla="*/ 0 h 599"/>
                <a:gd name="T8" fmla="*/ 0 w 873"/>
                <a:gd name="T9" fmla="*/ 0 h 599"/>
                <a:gd name="T10" fmla="*/ 0 w 873"/>
                <a:gd name="T11" fmla="*/ 0 h 599"/>
                <a:gd name="T12" fmla="*/ 0 w 873"/>
                <a:gd name="T13" fmla="*/ 0 h 599"/>
                <a:gd name="T14" fmla="*/ 0 w 873"/>
                <a:gd name="T15" fmla="*/ 0 h 599"/>
                <a:gd name="T16" fmla="*/ 0 w 873"/>
                <a:gd name="T17" fmla="*/ 0 h 599"/>
                <a:gd name="T18" fmla="*/ 0 w 873"/>
                <a:gd name="T19" fmla="*/ 0 h 599"/>
                <a:gd name="T20" fmla="*/ 0 w 873"/>
                <a:gd name="T21" fmla="*/ 0 h 599"/>
                <a:gd name="T22" fmla="*/ 0 w 873"/>
                <a:gd name="T23" fmla="*/ 0 h 599"/>
                <a:gd name="T24" fmla="*/ 0 w 873"/>
                <a:gd name="T25" fmla="*/ 0 h 599"/>
                <a:gd name="T26" fmla="*/ 0 w 873"/>
                <a:gd name="T27" fmla="*/ 0 h 599"/>
                <a:gd name="T28" fmla="*/ 0 w 873"/>
                <a:gd name="T29" fmla="*/ 0 h 599"/>
                <a:gd name="T30" fmla="*/ 0 w 873"/>
                <a:gd name="T31" fmla="*/ 0 h 599"/>
                <a:gd name="T32" fmla="*/ 0 w 873"/>
                <a:gd name="T33" fmla="*/ 0 h 599"/>
                <a:gd name="T34" fmla="*/ 0 w 873"/>
                <a:gd name="T35" fmla="*/ 0 h 599"/>
                <a:gd name="T36" fmla="*/ 0 w 873"/>
                <a:gd name="T37" fmla="*/ 0 h 599"/>
                <a:gd name="T38" fmla="*/ 0 w 873"/>
                <a:gd name="T39" fmla="*/ 0 h 599"/>
                <a:gd name="T40" fmla="*/ 0 w 873"/>
                <a:gd name="T41" fmla="*/ 0 h 599"/>
                <a:gd name="T42" fmla="*/ 0 w 873"/>
                <a:gd name="T43" fmla="*/ 0 h 599"/>
                <a:gd name="T44" fmla="*/ 0 w 873"/>
                <a:gd name="T45" fmla="*/ 0 h 599"/>
                <a:gd name="T46" fmla="*/ 0 w 873"/>
                <a:gd name="T47" fmla="*/ 0 h 599"/>
                <a:gd name="T48" fmla="*/ 0 w 873"/>
                <a:gd name="T49" fmla="*/ 0 h 599"/>
                <a:gd name="T50" fmla="*/ 0 w 873"/>
                <a:gd name="T51" fmla="*/ 0 h 599"/>
                <a:gd name="T52" fmla="*/ 0 w 873"/>
                <a:gd name="T53" fmla="*/ 0 h 599"/>
                <a:gd name="T54" fmla="*/ 0 w 873"/>
                <a:gd name="T55" fmla="*/ 0 h 599"/>
                <a:gd name="T56" fmla="*/ 0 w 873"/>
                <a:gd name="T57" fmla="*/ 0 h 599"/>
                <a:gd name="T58" fmla="*/ 0 w 873"/>
                <a:gd name="T59" fmla="*/ 0 h 599"/>
                <a:gd name="T60" fmla="*/ 0 w 873"/>
                <a:gd name="T61" fmla="*/ 0 h 599"/>
                <a:gd name="T62" fmla="*/ 0 w 873"/>
                <a:gd name="T63" fmla="*/ 0 h 599"/>
                <a:gd name="T64" fmla="*/ 0 w 873"/>
                <a:gd name="T65" fmla="*/ 0 h 599"/>
                <a:gd name="T66" fmla="*/ 0 w 873"/>
                <a:gd name="T67" fmla="*/ 0 h 599"/>
                <a:gd name="T68" fmla="*/ 0 w 873"/>
                <a:gd name="T69" fmla="*/ 0 h 59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73"/>
                <a:gd name="T106" fmla="*/ 0 h 599"/>
                <a:gd name="T107" fmla="*/ 873 w 873"/>
                <a:gd name="T108" fmla="*/ 599 h 59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73" h="599">
                  <a:moveTo>
                    <a:pt x="736" y="0"/>
                  </a:moveTo>
                  <a:lnTo>
                    <a:pt x="695" y="18"/>
                  </a:lnTo>
                  <a:lnTo>
                    <a:pt x="683" y="56"/>
                  </a:lnTo>
                  <a:lnTo>
                    <a:pt x="576" y="41"/>
                  </a:lnTo>
                  <a:lnTo>
                    <a:pt x="550" y="81"/>
                  </a:lnTo>
                  <a:lnTo>
                    <a:pt x="456" y="54"/>
                  </a:lnTo>
                  <a:lnTo>
                    <a:pt x="389" y="67"/>
                  </a:lnTo>
                  <a:lnTo>
                    <a:pt x="343" y="117"/>
                  </a:lnTo>
                  <a:lnTo>
                    <a:pt x="299" y="140"/>
                  </a:lnTo>
                  <a:lnTo>
                    <a:pt x="76" y="107"/>
                  </a:lnTo>
                  <a:lnTo>
                    <a:pt x="21" y="151"/>
                  </a:lnTo>
                  <a:lnTo>
                    <a:pt x="3" y="186"/>
                  </a:lnTo>
                  <a:lnTo>
                    <a:pt x="0" y="209"/>
                  </a:lnTo>
                  <a:lnTo>
                    <a:pt x="12" y="220"/>
                  </a:lnTo>
                  <a:lnTo>
                    <a:pt x="40" y="215"/>
                  </a:lnTo>
                  <a:lnTo>
                    <a:pt x="15" y="289"/>
                  </a:lnTo>
                  <a:lnTo>
                    <a:pt x="36" y="322"/>
                  </a:lnTo>
                  <a:lnTo>
                    <a:pt x="34" y="361"/>
                  </a:lnTo>
                  <a:lnTo>
                    <a:pt x="44" y="374"/>
                  </a:lnTo>
                  <a:lnTo>
                    <a:pt x="83" y="395"/>
                  </a:lnTo>
                  <a:lnTo>
                    <a:pt x="93" y="421"/>
                  </a:lnTo>
                  <a:lnTo>
                    <a:pt x="110" y="431"/>
                  </a:lnTo>
                  <a:lnTo>
                    <a:pt x="121" y="453"/>
                  </a:lnTo>
                  <a:lnTo>
                    <a:pt x="113" y="474"/>
                  </a:lnTo>
                  <a:lnTo>
                    <a:pt x="93" y="488"/>
                  </a:lnTo>
                  <a:lnTo>
                    <a:pt x="66" y="492"/>
                  </a:lnTo>
                  <a:lnTo>
                    <a:pt x="42" y="483"/>
                  </a:lnTo>
                  <a:lnTo>
                    <a:pt x="7" y="501"/>
                  </a:lnTo>
                  <a:lnTo>
                    <a:pt x="41" y="535"/>
                  </a:lnTo>
                  <a:lnTo>
                    <a:pt x="115" y="540"/>
                  </a:lnTo>
                  <a:lnTo>
                    <a:pt x="129" y="513"/>
                  </a:lnTo>
                  <a:lnTo>
                    <a:pt x="153" y="540"/>
                  </a:lnTo>
                  <a:lnTo>
                    <a:pt x="239" y="544"/>
                  </a:lnTo>
                  <a:lnTo>
                    <a:pt x="283" y="469"/>
                  </a:lnTo>
                  <a:lnTo>
                    <a:pt x="297" y="471"/>
                  </a:lnTo>
                  <a:lnTo>
                    <a:pt x="349" y="571"/>
                  </a:lnTo>
                  <a:lnTo>
                    <a:pt x="370" y="570"/>
                  </a:lnTo>
                  <a:lnTo>
                    <a:pt x="375" y="549"/>
                  </a:lnTo>
                  <a:lnTo>
                    <a:pt x="389" y="550"/>
                  </a:lnTo>
                  <a:lnTo>
                    <a:pt x="395" y="565"/>
                  </a:lnTo>
                  <a:lnTo>
                    <a:pt x="418" y="568"/>
                  </a:lnTo>
                  <a:lnTo>
                    <a:pt x="440" y="598"/>
                  </a:lnTo>
                  <a:lnTo>
                    <a:pt x="457" y="599"/>
                  </a:lnTo>
                  <a:lnTo>
                    <a:pt x="484" y="581"/>
                  </a:lnTo>
                  <a:lnTo>
                    <a:pt x="482" y="521"/>
                  </a:lnTo>
                  <a:lnTo>
                    <a:pt x="502" y="497"/>
                  </a:lnTo>
                  <a:lnTo>
                    <a:pt x="487" y="470"/>
                  </a:lnTo>
                  <a:lnTo>
                    <a:pt x="543" y="427"/>
                  </a:lnTo>
                  <a:lnTo>
                    <a:pt x="587" y="427"/>
                  </a:lnTo>
                  <a:lnTo>
                    <a:pt x="611" y="390"/>
                  </a:lnTo>
                  <a:lnTo>
                    <a:pt x="616" y="332"/>
                  </a:lnTo>
                  <a:lnTo>
                    <a:pt x="586" y="300"/>
                  </a:lnTo>
                  <a:lnTo>
                    <a:pt x="584" y="281"/>
                  </a:lnTo>
                  <a:lnTo>
                    <a:pt x="602" y="253"/>
                  </a:lnTo>
                  <a:lnTo>
                    <a:pt x="703" y="226"/>
                  </a:lnTo>
                  <a:lnTo>
                    <a:pt x="719" y="212"/>
                  </a:lnTo>
                  <a:lnTo>
                    <a:pt x="722" y="190"/>
                  </a:lnTo>
                  <a:lnTo>
                    <a:pt x="758" y="191"/>
                  </a:lnTo>
                  <a:lnTo>
                    <a:pt x="775" y="200"/>
                  </a:lnTo>
                  <a:lnTo>
                    <a:pt x="779" y="193"/>
                  </a:lnTo>
                  <a:lnTo>
                    <a:pt x="770" y="161"/>
                  </a:lnTo>
                  <a:lnTo>
                    <a:pt x="771" y="136"/>
                  </a:lnTo>
                  <a:lnTo>
                    <a:pt x="791" y="120"/>
                  </a:lnTo>
                  <a:lnTo>
                    <a:pt x="809" y="122"/>
                  </a:lnTo>
                  <a:lnTo>
                    <a:pt x="851" y="157"/>
                  </a:lnTo>
                  <a:lnTo>
                    <a:pt x="870" y="148"/>
                  </a:lnTo>
                  <a:lnTo>
                    <a:pt x="873" y="158"/>
                  </a:lnTo>
                  <a:lnTo>
                    <a:pt x="807" y="24"/>
                  </a:lnTo>
                  <a:lnTo>
                    <a:pt x="772" y="3"/>
                  </a:lnTo>
                  <a:lnTo>
                    <a:pt x="736"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1" name="Freeform 11"/>
            <p:cNvSpPr>
              <a:spLocks/>
            </p:cNvSpPr>
            <p:nvPr/>
          </p:nvSpPr>
          <p:spPr bwMode="auto">
            <a:xfrm>
              <a:off x="6675403" y="4060800"/>
              <a:ext cx="352660" cy="243313"/>
            </a:xfrm>
            <a:custGeom>
              <a:avLst/>
              <a:gdLst>
                <a:gd name="T0" fmla="*/ 0 w 873"/>
                <a:gd name="T1" fmla="*/ 0 h 599"/>
                <a:gd name="T2" fmla="*/ 0 w 873"/>
                <a:gd name="T3" fmla="*/ 0 h 599"/>
                <a:gd name="T4" fmla="*/ 0 w 873"/>
                <a:gd name="T5" fmla="*/ 0 h 599"/>
                <a:gd name="T6" fmla="*/ 0 w 873"/>
                <a:gd name="T7" fmla="*/ 0 h 599"/>
                <a:gd name="T8" fmla="*/ 0 w 873"/>
                <a:gd name="T9" fmla="*/ 0 h 599"/>
                <a:gd name="T10" fmla="*/ 0 w 873"/>
                <a:gd name="T11" fmla="*/ 0 h 599"/>
                <a:gd name="T12" fmla="*/ 0 w 873"/>
                <a:gd name="T13" fmla="*/ 0 h 599"/>
                <a:gd name="T14" fmla="*/ 0 w 873"/>
                <a:gd name="T15" fmla="*/ 0 h 599"/>
                <a:gd name="T16" fmla="*/ 0 w 873"/>
                <a:gd name="T17" fmla="*/ 0 h 599"/>
                <a:gd name="T18" fmla="*/ 0 w 873"/>
                <a:gd name="T19" fmla="*/ 0 h 599"/>
                <a:gd name="T20" fmla="*/ 0 w 873"/>
                <a:gd name="T21" fmla="*/ 0 h 599"/>
                <a:gd name="T22" fmla="*/ 0 w 873"/>
                <a:gd name="T23" fmla="*/ 0 h 599"/>
                <a:gd name="T24" fmla="*/ 0 w 873"/>
                <a:gd name="T25" fmla="*/ 0 h 599"/>
                <a:gd name="T26" fmla="*/ 0 w 873"/>
                <a:gd name="T27" fmla="*/ 0 h 599"/>
                <a:gd name="T28" fmla="*/ 0 w 873"/>
                <a:gd name="T29" fmla="*/ 0 h 599"/>
                <a:gd name="T30" fmla="*/ 0 w 873"/>
                <a:gd name="T31" fmla="*/ 0 h 599"/>
                <a:gd name="T32" fmla="*/ 0 w 873"/>
                <a:gd name="T33" fmla="*/ 0 h 599"/>
                <a:gd name="T34" fmla="*/ 0 w 873"/>
                <a:gd name="T35" fmla="*/ 0 h 599"/>
                <a:gd name="T36" fmla="*/ 0 w 873"/>
                <a:gd name="T37" fmla="*/ 0 h 599"/>
                <a:gd name="T38" fmla="*/ 0 w 873"/>
                <a:gd name="T39" fmla="*/ 0 h 599"/>
                <a:gd name="T40" fmla="*/ 0 w 873"/>
                <a:gd name="T41" fmla="*/ 0 h 599"/>
                <a:gd name="T42" fmla="*/ 0 w 873"/>
                <a:gd name="T43" fmla="*/ 0 h 599"/>
                <a:gd name="T44" fmla="*/ 0 w 873"/>
                <a:gd name="T45" fmla="*/ 0 h 599"/>
                <a:gd name="T46" fmla="*/ 0 w 873"/>
                <a:gd name="T47" fmla="*/ 0 h 599"/>
                <a:gd name="T48" fmla="*/ 0 w 873"/>
                <a:gd name="T49" fmla="*/ 0 h 599"/>
                <a:gd name="T50" fmla="*/ 0 w 873"/>
                <a:gd name="T51" fmla="*/ 0 h 599"/>
                <a:gd name="T52" fmla="*/ 0 w 873"/>
                <a:gd name="T53" fmla="*/ 0 h 599"/>
                <a:gd name="T54" fmla="*/ 0 w 873"/>
                <a:gd name="T55" fmla="*/ 0 h 599"/>
                <a:gd name="T56" fmla="*/ 0 w 873"/>
                <a:gd name="T57" fmla="*/ 0 h 599"/>
                <a:gd name="T58" fmla="*/ 0 w 873"/>
                <a:gd name="T59" fmla="*/ 0 h 599"/>
                <a:gd name="T60" fmla="*/ 0 w 873"/>
                <a:gd name="T61" fmla="*/ 0 h 599"/>
                <a:gd name="T62" fmla="*/ 0 w 873"/>
                <a:gd name="T63" fmla="*/ 0 h 599"/>
                <a:gd name="T64" fmla="*/ 0 w 873"/>
                <a:gd name="T65" fmla="*/ 0 h 599"/>
                <a:gd name="T66" fmla="*/ 0 w 873"/>
                <a:gd name="T67" fmla="*/ 0 h 599"/>
                <a:gd name="T68" fmla="*/ 0 w 873"/>
                <a:gd name="T69" fmla="*/ 0 h 59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73"/>
                <a:gd name="T106" fmla="*/ 0 h 599"/>
                <a:gd name="T107" fmla="*/ 873 w 873"/>
                <a:gd name="T108" fmla="*/ 599 h 59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73" h="599">
                  <a:moveTo>
                    <a:pt x="736" y="0"/>
                  </a:moveTo>
                  <a:lnTo>
                    <a:pt x="695" y="18"/>
                  </a:lnTo>
                  <a:lnTo>
                    <a:pt x="683" y="56"/>
                  </a:lnTo>
                  <a:lnTo>
                    <a:pt x="576" y="41"/>
                  </a:lnTo>
                  <a:lnTo>
                    <a:pt x="550" y="81"/>
                  </a:lnTo>
                  <a:lnTo>
                    <a:pt x="456" y="54"/>
                  </a:lnTo>
                  <a:lnTo>
                    <a:pt x="389" y="67"/>
                  </a:lnTo>
                  <a:lnTo>
                    <a:pt x="343" y="117"/>
                  </a:lnTo>
                  <a:lnTo>
                    <a:pt x="299" y="140"/>
                  </a:lnTo>
                  <a:lnTo>
                    <a:pt x="76" y="107"/>
                  </a:lnTo>
                  <a:lnTo>
                    <a:pt x="21" y="151"/>
                  </a:lnTo>
                  <a:lnTo>
                    <a:pt x="3" y="186"/>
                  </a:lnTo>
                  <a:lnTo>
                    <a:pt x="0" y="209"/>
                  </a:lnTo>
                  <a:lnTo>
                    <a:pt x="12" y="220"/>
                  </a:lnTo>
                  <a:lnTo>
                    <a:pt x="40" y="215"/>
                  </a:lnTo>
                  <a:lnTo>
                    <a:pt x="15" y="289"/>
                  </a:lnTo>
                  <a:lnTo>
                    <a:pt x="36" y="322"/>
                  </a:lnTo>
                  <a:lnTo>
                    <a:pt x="34" y="361"/>
                  </a:lnTo>
                  <a:lnTo>
                    <a:pt x="44" y="374"/>
                  </a:lnTo>
                  <a:lnTo>
                    <a:pt x="83" y="395"/>
                  </a:lnTo>
                  <a:lnTo>
                    <a:pt x="93" y="421"/>
                  </a:lnTo>
                  <a:lnTo>
                    <a:pt x="110" y="431"/>
                  </a:lnTo>
                  <a:lnTo>
                    <a:pt x="121" y="453"/>
                  </a:lnTo>
                  <a:lnTo>
                    <a:pt x="113" y="474"/>
                  </a:lnTo>
                  <a:lnTo>
                    <a:pt x="93" y="488"/>
                  </a:lnTo>
                  <a:lnTo>
                    <a:pt x="66" y="492"/>
                  </a:lnTo>
                  <a:lnTo>
                    <a:pt x="42" y="483"/>
                  </a:lnTo>
                  <a:lnTo>
                    <a:pt x="7" y="501"/>
                  </a:lnTo>
                  <a:lnTo>
                    <a:pt x="41" y="535"/>
                  </a:lnTo>
                  <a:lnTo>
                    <a:pt x="115" y="540"/>
                  </a:lnTo>
                  <a:lnTo>
                    <a:pt x="129" y="513"/>
                  </a:lnTo>
                  <a:lnTo>
                    <a:pt x="153" y="540"/>
                  </a:lnTo>
                  <a:lnTo>
                    <a:pt x="239" y="544"/>
                  </a:lnTo>
                  <a:lnTo>
                    <a:pt x="283" y="469"/>
                  </a:lnTo>
                  <a:lnTo>
                    <a:pt x="297" y="471"/>
                  </a:lnTo>
                  <a:lnTo>
                    <a:pt x="349" y="571"/>
                  </a:lnTo>
                  <a:lnTo>
                    <a:pt x="370" y="570"/>
                  </a:lnTo>
                  <a:lnTo>
                    <a:pt x="375" y="549"/>
                  </a:lnTo>
                  <a:lnTo>
                    <a:pt x="389" y="550"/>
                  </a:lnTo>
                  <a:lnTo>
                    <a:pt x="395" y="565"/>
                  </a:lnTo>
                  <a:lnTo>
                    <a:pt x="418" y="568"/>
                  </a:lnTo>
                  <a:lnTo>
                    <a:pt x="440" y="598"/>
                  </a:lnTo>
                  <a:lnTo>
                    <a:pt x="457" y="599"/>
                  </a:lnTo>
                  <a:lnTo>
                    <a:pt x="484" y="581"/>
                  </a:lnTo>
                  <a:lnTo>
                    <a:pt x="482" y="521"/>
                  </a:lnTo>
                  <a:lnTo>
                    <a:pt x="502" y="497"/>
                  </a:lnTo>
                  <a:lnTo>
                    <a:pt x="487" y="470"/>
                  </a:lnTo>
                  <a:lnTo>
                    <a:pt x="543" y="427"/>
                  </a:lnTo>
                  <a:lnTo>
                    <a:pt x="587" y="427"/>
                  </a:lnTo>
                  <a:lnTo>
                    <a:pt x="611" y="390"/>
                  </a:lnTo>
                  <a:lnTo>
                    <a:pt x="616" y="332"/>
                  </a:lnTo>
                  <a:lnTo>
                    <a:pt x="586" y="300"/>
                  </a:lnTo>
                  <a:lnTo>
                    <a:pt x="584" y="281"/>
                  </a:lnTo>
                  <a:lnTo>
                    <a:pt x="602" y="253"/>
                  </a:lnTo>
                  <a:lnTo>
                    <a:pt x="703" y="226"/>
                  </a:lnTo>
                  <a:lnTo>
                    <a:pt x="719" y="212"/>
                  </a:lnTo>
                  <a:lnTo>
                    <a:pt x="722" y="190"/>
                  </a:lnTo>
                  <a:lnTo>
                    <a:pt x="758" y="191"/>
                  </a:lnTo>
                  <a:lnTo>
                    <a:pt x="775" y="200"/>
                  </a:lnTo>
                  <a:lnTo>
                    <a:pt x="779" y="193"/>
                  </a:lnTo>
                  <a:lnTo>
                    <a:pt x="770" y="161"/>
                  </a:lnTo>
                  <a:lnTo>
                    <a:pt x="771" y="136"/>
                  </a:lnTo>
                  <a:lnTo>
                    <a:pt x="791" y="120"/>
                  </a:lnTo>
                  <a:lnTo>
                    <a:pt x="809" y="122"/>
                  </a:lnTo>
                  <a:lnTo>
                    <a:pt x="851" y="157"/>
                  </a:lnTo>
                  <a:lnTo>
                    <a:pt x="870" y="148"/>
                  </a:lnTo>
                  <a:lnTo>
                    <a:pt x="873" y="158"/>
                  </a:lnTo>
                  <a:lnTo>
                    <a:pt x="807" y="24"/>
                  </a:lnTo>
                  <a:lnTo>
                    <a:pt x="772" y="3"/>
                  </a:lnTo>
                  <a:lnTo>
                    <a:pt x="736" y="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2" name="Freeform 12"/>
            <p:cNvSpPr>
              <a:spLocks/>
            </p:cNvSpPr>
            <p:nvPr/>
          </p:nvSpPr>
          <p:spPr bwMode="auto">
            <a:xfrm>
              <a:off x="7473087" y="4794935"/>
              <a:ext cx="291784" cy="239118"/>
            </a:xfrm>
            <a:custGeom>
              <a:avLst/>
              <a:gdLst>
                <a:gd name="T0" fmla="*/ 0 w 719"/>
                <a:gd name="T1" fmla="*/ 0 h 584"/>
                <a:gd name="T2" fmla="*/ 0 w 719"/>
                <a:gd name="T3" fmla="*/ 0 h 584"/>
                <a:gd name="T4" fmla="*/ 0 w 719"/>
                <a:gd name="T5" fmla="*/ 0 h 584"/>
                <a:gd name="T6" fmla="*/ 0 w 719"/>
                <a:gd name="T7" fmla="*/ 0 h 584"/>
                <a:gd name="T8" fmla="*/ 0 w 719"/>
                <a:gd name="T9" fmla="*/ 0 h 584"/>
                <a:gd name="T10" fmla="*/ 0 w 719"/>
                <a:gd name="T11" fmla="*/ 0 h 584"/>
                <a:gd name="T12" fmla="*/ 0 w 719"/>
                <a:gd name="T13" fmla="*/ 0 h 584"/>
                <a:gd name="T14" fmla="*/ 0 w 719"/>
                <a:gd name="T15" fmla="*/ 0 h 584"/>
                <a:gd name="T16" fmla="*/ 0 w 719"/>
                <a:gd name="T17" fmla="*/ 0 h 584"/>
                <a:gd name="T18" fmla="*/ 0 w 719"/>
                <a:gd name="T19" fmla="*/ 0 h 584"/>
                <a:gd name="T20" fmla="*/ 0 w 719"/>
                <a:gd name="T21" fmla="*/ 0 h 584"/>
                <a:gd name="T22" fmla="*/ 0 w 719"/>
                <a:gd name="T23" fmla="*/ 0 h 584"/>
                <a:gd name="T24" fmla="*/ 0 w 719"/>
                <a:gd name="T25" fmla="*/ 0 h 584"/>
                <a:gd name="T26" fmla="*/ 0 w 719"/>
                <a:gd name="T27" fmla="*/ 0 h 584"/>
                <a:gd name="T28" fmla="*/ 0 w 719"/>
                <a:gd name="T29" fmla="*/ 0 h 584"/>
                <a:gd name="T30" fmla="*/ 0 w 719"/>
                <a:gd name="T31" fmla="*/ 0 h 584"/>
                <a:gd name="T32" fmla="*/ 0 w 719"/>
                <a:gd name="T33" fmla="*/ 0 h 584"/>
                <a:gd name="T34" fmla="*/ 0 w 719"/>
                <a:gd name="T35" fmla="*/ 0 h 584"/>
                <a:gd name="T36" fmla="*/ 0 w 719"/>
                <a:gd name="T37" fmla="*/ 0 h 584"/>
                <a:gd name="T38" fmla="*/ 0 w 719"/>
                <a:gd name="T39" fmla="*/ 0 h 584"/>
                <a:gd name="T40" fmla="*/ 0 w 719"/>
                <a:gd name="T41" fmla="*/ 0 h 584"/>
                <a:gd name="T42" fmla="*/ 0 w 719"/>
                <a:gd name="T43" fmla="*/ 0 h 584"/>
                <a:gd name="T44" fmla="*/ 0 w 719"/>
                <a:gd name="T45" fmla="*/ 0 h 584"/>
                <a:gd name="T46" fmla="*/ 0 w 719"/>
                <a:gd name="T47" fmla="*/ 0 h 584"/>
                <a:gd name="T48" fmla="*/ 0 w 719"/>
                <a:gd name="T49" fmla="*/ 0 h 584"/>
                <a:gd name="T50" fmla="*/ 0 w 719"/>
                <a:gd name="T51" fmla="*/ 0 h 584"/>
                <a:gd name="T52" fmla="*/ 0 w 719"/>
                <a:gd name="T53" fmla="*/ 0 h 5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19"/>
                <a:gd name="T82" fmla="*/ 0 h 584"/>
                <a:gd name="T83" fmla="*/ 719 w 719"/>
                <a:gd name="T84" fmla="*/ 584 h 5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19" h="584">
                  <a:moveTo>
                    <a:pt x="144" y="584"/>
                  </a:moveTo>
                  <a:lnTo>
                    <a:pt x="46" y="493"/>
                  </a:lnTo>
                  <a:lnTo>
                    <a:pt x="0" y="385"/>
                  </a:lnTo>
                  <a:lnTo>
                    <a:pt x="21" y="99"/>
                  </a:lnTo>
                  <a:lnTo>
                    <a:pt x="32" y="108"/>
                  </a:lnTo>
                  <a:lnTo>
                    <a:pt x="53" y="109"/>
                  </a:lnTo>
                  <a:lnTo>
                    <a:pt x="73" y="94"/>
                  </a:lnTo>
                  <a:lnTo>
                    <a:pt x="78" y="47"/>
                  </a:lnTo>
                  <a:lnTo>
                    <a:pt x="167" y="18"/>
                  </a:lnTo>
                  <a:lnTo>
                    <a:pt x="185" y="21"/>
                  </a:lnTo>
                  <a:lnTo>
                    <a:pt x="218" y="58"/>
                  </a:lnTo>
                  <a:lnTo>
                    <a:pt x="232" y="56"/>
                  </a:lnTo>
                  <a:lnTo>
                    <a:pt x="233" y="34"/>
                  </a:lnTo>
                  <a:lnTo>
                    <a:pt x="274" y="8"/>
                  </a:lnTo>
                  <a:lnTo>
                    <a:pt x="359" y="23"/>
                  </a:lnTo>
                  <a:lnTo>
                    <a:pt x="378" y="0"/>
                  </a:lnTo>
                  <a:lnTo>
                    <a:pt x="458" y="13"/>
                  </a:lnTo>
                  <a:lnTo>
                    <a:pt x="513" y="4"/>
                  </a:lnTo>
                  <a:lnTo>
                    <a:pt x="547" y="18"/>
                  </a:lnTo>
                  <a:lnTo>
                    <a:pt x="673" y="117"/>
                  </a:lnTo>
                  <a:lnTo>
                    <a:pt x="719" y="365"/>
                  </a:lnTo>
                  <a:lnTo>
                    <a:pt x="683" y="377"/>
                  </a:lnTo>
                  <a:lnTo>
                    <a:pt x="606" y="452"/>
                  </a:lnTo>
                  <a:lnTo>
                    <a:pt x="495" y="456"/>
                  </a:lnTo>
                  <a:lnTo>
                    <a:pt x="398" y="496"/>
                  </a:lnTo>
                  <a:lnTo>
                    <a:pt x="338" y="554"/>
                  </a:lnTo>
                  <a:lnTo>
                    <a:pt x="144" y="584"/>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3" name="Freeform 14"/>
            <p:cNvSpPr>
              <a:spLocks/>
            </p:cNvSpPr>
            <p:nvPr/>
          </p:nvSpPr>
          <p:spPr bwMode="auto">
            <a:xfrm>
              <a:off x="7424806" y="3819584"/>
              <a:ext cx="1078972" cy="744623"/>
            </a:xfrm>
            <a:custGeom>
              <a:avLst/>
              <a:gdLst>
                <a:gd name="T0" fmla="*/ 0 w 2654"/>
                <a:gd name="T1" fmla="*/ 0 h 1839"/>
                <a:gd name="T2" fmla="*/ 0 w 2654"/>
                <a:gd name="T3" fmla="*/ 0 h 1839"/>
                <a:gd name="T4" fmla="*/ 0 w 2654"/>
                <a:gd name="T5" fmla="*/ 0 h 1839"/>
                <a:gd name="T6" fmla="*/ 0 w 2654"/>
                <a:gd name="T7" fmla="*/ 0 h 1839"/>
                <a:gd name="T8" fmla="*/ 0 w 2654"/>
                <a:gd name="T9" fmla="*/ 0 h 1839"/>
                <a:gd name="T10" fmla="*/ 0 w 2654"/>
                <a:gd name="T11" fmla="*/ 0 h 1839"/>
                <a:gd name="T12" fmla="*/ 0 w 2654"/>
                <a:gd name="T13" fmla="*/ 0 h 1839"/>
                <a:gd name="T14" fmla="*/ 0 w 2654"/>
                <a:gd name="T15" fmla="*/ 0 h 1839"/>
                <a:gd name="T16" fmla="*/ 0 w 2654"/>
                <a:gd name="T17" fmla="*/ 0 h 1839"/>
                <a:gd name="T18" fmla="*/ 0 w 2654"/>
                <a:gd name="T19" fmla="*/ 0 h 1839"/>
                <a:gd name="T20" fmla="*/ 0 w 2654"/>
                <a:gd name="T21" fmla="*/ 0 h 1839"/>
                <a:gd name="T22" fmla="*/ 0 w 2654"/>
                <a:gd name="T23" fmla="*/ 0 h 1839"/>
                <a:gd name="T24" fmla="*/ 0 w 2654"/>
                <a:gd name="T25" fmla="*/ 0 h 1839"/>
                <a:gd name="T26" fmla="*/ 0 w 2654"/>
                <a:gd name="T27" fmla="*/ 0 h 1839"/>
                <a:gd name="T28" fmla="*/ 0 w 2654"/>
                <a:gd name="T29" fmla="*/ 0 h 1839"/>
                <a:gd name="T30" fmla="*/ 0 w 2654"/>
                <a:gd name="T31" fmla="*/ 0 h 1839"/>
                <a:gd name="T32" fmla="*/ 0 w 2654"/>
                <a:gd name="T33" fmla="*/ 0 h 1839"/>
                <a:gd name="T34" fmla="*/ 0 w 2654"/>
                <a:gd name="T35" fmla="*/ 0 h 1839"/>
                <a:gd name="T36" fmla="*/ 0 w 2654"/>
                <a:gd name="T37" fmla="*/ 0 h 1839"/>
                <a:gd name="T38" fmla="*/ 0 w 2654"/>
                <a:gd name="T39" fmla="*/ 0 h 1839"/>
                <a:gd name="T40" fmla="*/ 0 w 2654"/>
                <a:gd name="T41" fmla="*/ 0 h 1839"/>
                <a:gd name="T42" fmla="*/ 0 w 2654"/>
                <a:gd name="T43" fmla="*/ 0 h 1839"/>
                <a:gd name="T44" fmla="*/ 0 w 2654"/>
                <a:gd name="T45" fmla="*/ 0 h 1839"/>
                <a:gd name="T46" fmla="*/ 0 w 2654"/>
                <a:gd name="T47" fmla="*/ 0 h 1839"/>
                <a:gd name="T48" fmla="*/ 0 w 2654"/>
                <a:gd name="T49" fmla="*/ 0 h 1839"/>
                <a:gd name="T50" fmla="*/ 0 w 2654"/>
                <a:gd name="T51" fmla="*/ 0 h 1839"/>
                <a:gd name="T52" fmla="*/ 0 w 2654"/>
                <a:gd name="T53" fmla="*/ 0 h 1839"/>
                <a:gd name="T54" fmla="*/ 0 w 2654"/>
                <a:gd name="T55" fmla="*/ 0 h 1839"/>
                <a:gd name="T56" fmla="*/ 0 w 2654"/>
                <a:gd name="T57" fmla="*/ 0 h 1839"/>
                <a:gd name="T58" fmla="*/ 0 w 2654"/>
                <a:gd name="T59" fmla="*/ 0 h 1839"/>
                <a:gd name="T60" fmla="*/ 0 w 2654"/>
                <a:gd name="T61" fmla="*/ 0 h 1839"/>
                <a:gd name="T62" fmla="*/ 0 w 2654"/>
                <a:gd name="T63" fmla="*/ 0 h 1839"/>
                <a:gd name="T64" fmla="*/ 0 w 2654"/>
                <a:gd name="T65" fmla="*/ 0 h 183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54"/>
                <a:gd name="T100" fmla="*/ 0 h 1839"/>
                <a:gd name="T101" fmla="*/ 2654 w 2654"/>
                <a:gd name="T102" fmla="*/ 1839 h 183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54" h="1839">
                  <a:moveTo>
                    <a:pt x="2430" y="1710"/>
                  </a:moveTo>
                  <a:lnTo>
                    <a:pt x="2339" y="1730"/>
                  </a:lnTo>
                  <a:lnTo>
                    <a:pt x="2226" y="1666"/>
                  </a:lnTo>
                  <a:lnTo>
                    <a:pt x="2070" y="1641"/>
                  </a:lnTo>
                  <a:lnTo>
                    <a:pt x="2034" y="1616"/>
                  </a:lnTo>
                  <a:lnTo>
                    <a:pt x="1935" y="1622"/>
                  </a:lnTo>
                  <a:lnTo>
                    <a:pt x="1521" y="1839"/>
                  </a:lnTo>
                  <a:lnTo>
                    <a:pt x="824" y="1817"/>
                  </a:lnTo>
                  <a:lnTo>
                    <a:pt x="766" y="1772"/>
                  </a:lnTo>
                  <a:lnTo>
                    <a:pt x="798" y="1696"/>
                  </a:lnTo>
                  <a:lnTo>
                    <a:pt x="682" y="1666"/>
                  </a:lnTo>
                  <a:lnTo>
                    <a:pt x="638" y="1583"/>
                  </a:lnTo>
                  <a:lnTo>
                    <a:pt x="689" y="1526"/>
                  </a:lnTo>
                  <a:lnTo>
                    <a:pt x="650" y="1470"/>
                  </a:lnTo>
                  <a:lnTo>
                    <a:pt x="592" y="1519"/>
                  </a:lnTo>
                  <a:lnTo>
                    <a:pt x="445" y="1470"/>
                  </a:lnTo>
                  <a:lnTo>
                    <a:pt x="366" y="1410"/>
                  </a:lnTo>
                  <a:lnTo>
                    <a:pt x="345" y="1285"/>
                  </a:lnTo>
                  <a:lnTo>
                    <a:pt x="305" y="1258"/>
                  </a:lnTo>
                  <a:lnTo>
                    <a:pt x="249" y="1247"/>
                  </a:lnTo>
                  <a:lnTo>
                    <a:pt x="203" y="1180"/>
                  </a:lnTo>
                  <a:lnTo>
                    <a:pt x="150" y="1029"/>
                  </a:lnTo>
                  <a:lnTo>
                    <a:pt x="97" y="967"/>
                  </a:lnTo>
                  <a:lnTo>
                    <a:pt x="0" y="916"/>
                  </a:lnTo>
                  <a:lnTo>
                    <a:pt x="15" y="916"/>
                  </a:lnTo>
                  <a:lnTo>
                    <a:pt x="253" y="831"/>
                  </a:lnTo>
                  <a:lnTo>
                    <a:pt x="385" y="548"/>
                  </a:lnTo>
                  <a:lnTo>
                    <a:pt x="444" y="480"/>
                  </a:lnTo>
                  <a:lnTo>
                    <a:pt x="454" y="424"/>
                  </a:lnTo>
                  <a:lnTo>
                    <a:pt x="482" y="373"/>
                  </a:lnTo>
                  <a:lnTo>
                    <a:pt x="485" y="337"/>
                  </a:lnTo>
                  <a:lnTo>
                    <a:pt x="532" y="284"/>
                  </a:lnTo>
                  <a:lnTo>
                    <a:pt x="602" y="252"/>
                  </a:lnTo>
                  <a:lnTo>
                    <a:pt x="638" y="251"/>
                  </a:lnTo>
                  <a:lnTo>
                    <a:pt x="690" y="182"/>
                  </a:lnTo>
                  <a:lnTo>
                    <a:pt x="724" y="167"/>
                  </a:lnTo>
                  <a:lnTo>
                    <a:pt x="1156" y="145"/>
                  </a:lnTo>
                  <a:lnTo>
                    <a:pt x="1262" y="211"/>
                  </a:lnTo>
                  <a:lnTo>
                    <a:pt x="1339" y="150"/>
                  </a:lnTo>
                  <a:lnTo>
                    <a:pt x="1496" y="116"/>
                  </a:lnTo>
                  <a:lnTo>
                    <a:pt x="1654" y="3"/>
                  </a:lnTo>
                  <a:lnTo>
                    <a:pt x="1720" y="0"/>
                  </a:lnTo>
                  <a:lnTo>
                    <a:pt x="1902" y="162"/>
                  </a:lnTo>
                  <a:lnTo>
                    <a:pt x="1924" y="242"/>
                  </a:lnTo>
                  <a:lnTo>
                    <a:pt x="2133" y="528"/>
                  </a:lnTo>
                  <a:lnTo>
                    <a:pt x="2185" y="765"/>
                  </a:lnTo>
                  <a:lnTo>
                    <a:pt x="2178" y="849"/>
                  </a:lnTo>
                  <a:lnTo>
                    <a:pt x="2222" y="1059"/>
                  </a:lnTo>
                  <a:lnTo>
                    <a:pt x="2264" y="1049"/>
                  </a:lnTo>
                  <a:lnTo>
                    <a:pt x="2337" y="1127"/>
                  </a:lnTo>
                  <a:lnTo>
                    <a:pt x="2391" y="1117"/>
                  </a:lnTo>
                  <a:lnTo>
                    <a:pt x="2439" y="1072"/>
                  </a:lnTo>
                  <a:lnTo>
                    <a:pt x="2557" y="1027"/>
                  </a:lnTo>
                  <a:lnTo>
                    <a:pt x="2600" y="1024"/>
                  </a:lnTo>
                  <a:lnTo>
                    <a:pt x="2629" y="1036"/>
                  </a:lnTo>
                  <a:lnTo>
                    <a:pt x="2649" y="1071"/>
                  </a:lnTo>
                  <a:lnTo>
                    <a:pt x="2654" y="1217"/>
                  </a:lnTo>
                  <a:lnTo>
                    <a:pt x="2621" y="1276"/>
                  </a:lnTo>
                  <a:lnTo>
                    <a:pt x="2570" y="1294"/>
                  </a:lnTo>
                  <a:lnTo>
                    <a:pt x="2455" y="1433"/>
                  </a:lnTo>
                  <a:lnTo>
                    <a:pt x="2439" y="1404"/>
                  </a:lnTo>
                  <a:lnTo>
                    <a:pt x="2469" y="1363"/>
                  </a:lnTo>
                  <a:lnTo>
                    <a:pt x="2492" y="1295"/>
                  </a:lnTo>
                  <a:lnTo>
                    <a:pt x="2484" y="1225"/>
                  </a:lnTo>
                  <a:lnTo>
                    <a:pt x="2445" y="1229"/>
                  </a:lnTo>
                  <a:lnTo>
                    <a:pt x="2430" y="171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4" name="Freeform 16"/>
            <p:cNvSpPr>
              <a:spLocks/>
            </p:cNvSpPr>
            <p:nvPr/>
          </p:nvSpPr>
          <p:spPr bwMode="auto">
            <a:xfrm>
              <a:off x="7559153" y="2185609"/>
              <a:ext cx="115454" cy="106974"/>
            </a:xfrm>
            <a:custGeom>
              <a:avLst/>
              <a:gdLst>
                <a:gd name="T0" fmla="*/ 0 w 283"/>
                <a:gd name="T1" fmla="*/ 0 h 266"/>
                <a:gd name="T2" fmla="*/ 0 w 283"/>
                <a:gd name="T3" fmla="*/ 0 h 266"/>
                <a:gd name="T4" fmla="*/ 0 w 283"/>
                <a:gd name="T5" fmla="*/ 0 h 266"/>
                <a:gd name="T6" fmla="*/ 0 w 283"/>
                <a:gd name="T7" fmla="*/ 0 h 266"/>
                <a:gd name="T8" fmla="*/ 0 w 283"/>
                <a:gd name="T9" fmla="*/ 0 h 266"/>
                <a:gd name="T10" fmla="*/ 0 w 283"/>
                <a:gd name="T11" fmla="*/ 0 h 266"/>
                <a:gd name="T12" fmla="*/ 0 w 283"/>
                <a:gd name="T13" fmla="*/ 0 h 266"/>
                <a:gd name="T14" fmla="*/ 0 w 283"/>
                <a:gd name="T15" fmla="*/ 0 h 266"/>
                <a:gd name="T16" fmla="*/ 0 w 283"/>
                <a:gd name="T17" fmla="*/ 0 h 266"/>
                <a:gd name="T18" fmla="*/ 0 w 283"/>
                <a:gd name="T19" fmla="*/ 0 h 266"/>
                <a:gd name="T20" fmla="*/ 0 w 283"/>
                <a:gd name="T21" fmla="*/ 0 h 266"/>
                <a:gd name="T22" fmla="*/ 0 w 283"/>
                <a:gd name="T23" fmla="*/ 0 h 266"/>
                <a:gd name="T24" fmla="*/ 0 w 283"/>
                <a:gd name="T25" fmla="*/ 0 h 266"/>
                <a:gd name="T26" fmla="*/ 0 w 283"/>
                <a:gd name="T27" fmla="*/ 0 h 266"/>
                <a:gd name="T28" fmla="*/ 0 w 283"/>
                <a:gd name="T29" fmla="*/ 0 h 266"/>
                <a:gd name="T30" fmla="*/ 0 w 283"/>
                <a:gd name="T31" fmla="*/ 0 h 266"/>
                <a:gd name="T32" fmla="*/ 0 w 283"/>
                <a:gd name="T33" fmla="*/ 0 h 266"/>
                <a:gd name="T34" fmla="*/ 0 w 283"/>
                <a:gd name="T35" fmla="*/ 0 h 266"/>
                <a:gd name="T36" fmla="*/ 0 w 283"/>
                <a:gd name="T37" fmla="*/ 0 h 266"/>
                <a:gd name="T38" fmla="*/ 0 w 283"/>
                <a:gd name="T39" fmla="*/ 0 h 266"/>
                <a:gd name="T40" fmla="*/ 0 w 283"/>
                <a:gd name="T41" fmla="*/ 0 h 266"/>
                <a:gd name="T42" fmla="*/ 0 w 283"/>
                <a:gd name="T43" fmla="*/ 0 h 266"/>
                <a:gd name="T44" fmla="*/ 0 w 283"/>
                <a:gd name="T45" fmla="*/ 0 h 266"/>
                <a:gd name="T46" fmla="*/ 0 w 283"/>
                <a:gd name="T47" fmla="*/ 0 h 266"/>
                <a:gd name="T48" fmla="*/ 0 w 283"/>
                <a:gd name="T49" fmla="*/ 0 h 2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3"/>
                <a:gd name="T76" fmla="*/ 0 h 266"/>
                <a:gd name="T77" fmla="*/ 283 w 283"/>
                <a:gd name="T78" fmla="*/ 266 h 2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3" h="266">
                  <a:moveTo>
                    <a:pt x="229" y="0"/>
                  </a:moveTo>
                  <a:lnTo>
                    <a:pt x="97" y="7"/>
                  </a:lnTo>
                  <a:lnTo>
                    <a:pt x="76" y="49"/>
                  </a:lnTo>
                  <a:lnTo>
                    <a:pt x="55" y="44"/>
                  </a:lnTo>
                  <a:lnTo>
                    <a:pt x="34" y="59"/>
                  </a:lnTo>
                  <a:lnTo>
                    <a:pt x="0" y="47"/>
                  </a:lnTo>
                  <a:lnTo>
                    <a:pt x="2" y="135"/>
                  </a:lnTo>
                  <a:lnTo>
                    <a:pt x="29" y="165"/>
                  </a:lnTo>
                  <a:lnTo>
                    <a:pt x="50" y="175"/>
                  </a:lnTo>
                  <a:lnTo>
                    <a:pt x="53" y="203"/>
                  </a:lnTo>
                  <a:lnTo>
                    <a:pt x="33" y="239"/>
                  </a:lnTo>
                  <a:lnTo>
                    <a:pt x="31" y="266"/>
                  </a:lnTo>
                  <a:lnTo>
                    <a:pt x="87" y="174"/>
                  </a:lnTo>
                  <a:lnTo>
                    <a:pt x="99" y="130"/>
                  </a:lnTo>
                  <a:lnTo>
                    <a:pt x="143" y="145"/>
                  </a:lnTo>
                  <a:lnTo>
                    <a:pt x="162" y="144"/>
                  </a:lnTo>
                  <a:lnTo>
                    <a:pt x="179" y="137"/>
                  </a:lnTo>
                  <a:lnTo>
                    <a:pt x="194" y="109"/>
                  </a:lnTo>
                  <a:lnTo>
                    <a:pt x="233" y="88"/>
                  </a:lnTo>
                  <a:lnTo>
                    <a:pt x="250" y="65"/>
                  </a:lnTo>
                  <a:lnTo>
                    <a:pt x="283" y="59"/>
                  </a:lnTo>
                  <a:lnTo>
                    <a:pt x="277" y="44"/>
                  </a:lnTo>
                  <a:lnTo>
                    <a:pt x="241" y="12"/>
                  </a:lnTo>
                  <a:lnTo>
                    <a:pt x="229" y="7"/>
                  </a:lnTo>
                  <a:lnTo>
                    <a:pt x="229"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5" name="Freeform 18"/>
            <p:cNvSpPr>
              <a:spLocks/>
            </p:cNvSpPr>
            <p:nvPr/>
          </p:nvSpPr>
          <p:spPr bwMode="auto">
            <a:xfrm>
              <a:off x="7571748" y="2112195"/>
              <a:ext cx="77669" cy="58731"/>
            </a:xfrm>
            <a:custGeom>
              <a:avLst/>
              <a:gdLst>
                <a:gd name="T0" fmla="*/ 0 w 189"/>
                <a:gd name="T1" fmla="*/ 0 h 148"/>
                <a:gd name="T2" fmla="*/ 0 w 189"/>
                <a:gd name="T3" fmla="*/ 0 h 148"/>
                <a:gd name="T4" fmla="*/ 0 w 189"/>
                <a:gd name="T5" fmla="*/ 0 h 148"/>
                <a:gd name="T6" fmla="*/ 0 w 189"/>
                <a:gd name="T7" fmla="*/ 0 h 148"/>
                <a:gd name="T8" fmla="*/ 0 w 189"/>
                <a:gd name="T9" fmla="*/ 0 h 148"/>
                <a:gd name="T10" fmla="*/ 0 w 189"/>
                <a:gd name="T11" fmla="*/ 0 h 148"/>
                <a:gd name="T12" fmla="*/ 0 w 189"/>
                <a:gd name="T13" fmla="*/ 0 h 148"/>
                <a:gd name="T14" fmla="*/ 0 w 189"/>
                <a:gd name="T15" fmla="*/ 0 h 148"/>
                <a:gd name="T16" fmla="*/ 0 w 189"/>
                <a:gd name="T17" fmla="*/ 0 h 148"/>
                <a:gd name="T18" fmla="*/ 0 w 189"/>
                <a:gd name="T19" fmla="*/ 0 h 148"/>
                <a:gd name="T20" fmla="*/ 0 w 189"/>
                <a:gd name="T21" fmla="*/ 0 h 148"/>
                <a:gd name="T22" fmla="*/ 0 w 189"/>
                <a:gd name="T23" fmla="*/ 0 h 148"/>
                <a:gd name="T24" fmla="*/ 0 w 189"/>
                <a:gd name="T25" fmla="*/ 0 h 148"/>
                <a:gd name="T26" fmla="*/ 0 w 189"/>
                <a:gd name="T27" fmla="*/ 0 h 148"/>
                <a:gd name="T28" fmla="*/ 0 w 189"/>
                <a:gd name="T29" fmla="*/ 0 h 148"/>
                <a:gd name="T30" fmla="*/ 0 w 189"/>
                <a:gd name="T31" fmla="*/ 0 h 1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9"/>
                <a:gd name="T49" fmla="*/ 0 h 148"/>
                <a:gd name="T50" fmla="*/ 189 w 189"/>
                <a:gd name="T51" fmla="*/ 148 h 1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9" h="148">
                  <a:moveTo>
                    <a:pt x="62" y="56"/>
                  </a:moveTo>
                  <a:lnTo>
                    <a:pt x="13" y="63"/>
                  </a:lnTo>
                  <a:lnTo>
                    <a:pt x="0" y="76"/>
                  </a:lnTo>
                  <a:lnTo>
                    <a:pt x="14" y="85"/>
                  </a:lnTo>
                  <a:lnTo>
                    <a:pt x="47" y="83"/>
                  </a:lnTo>
                  <a:lnTo>
                    <a:pt x="80" y="148"/>
                  </a:lnTo>
                  <a:lnTo>
                    <a:pt x="106" y="145"/>
                  </a:lnTo>
                  <a:lnTo>
                    <a:pt x="122" y="110"/>
                  </a:lnTo>
                  <a:lnTo>
                    <a:pt x="189" y="85"/>
                  </a:lnTo>
                  <a:lnTo>
                    <a:pt x="186" y="49"/>
                  </a:lnTo>
                  <a:lnTo>
                    <a:pt x="166" y="29"/>
                  </a:lnTo>
                  <a:lnTo>
                    <a:pt x="142" y="22"/>
                  </a:lnTo>
                  <a:lnTo>
                    <a:pt x="122" y="5"/>
                  </a:lnTo>
                  <a:lnTo>
                    <a:pt x="101" y="0"/>
                  </a:lnTo>
                  <a:lnTo>
                    <a:pt x="82" y="41"/>
                  </a:lnTo>
                  <a:lnTo>
                    <a:pt x="62" y="5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6" name="Freeform 20"/>
            <p:cNvSpPr>
              <a:spLocks/>
            </p:cNvSpPr>
            <p:nvPr/>
          </p:nvSpPr>
          <p:spPr bwMode="auto">
            <a:xfrm>
              <a:off x="7687202" y="2003124"/>
              <a:ext cx="413536" cy="327215"/>
            </a:xfrm>
            <a:custGeom>
              <a:avLst/>
              <a:gdLst>
                <a:gd name="T0" fmla="*/ 0 w 1020"/>
                <a:gd name="T1" fmla="*/ 0 h 804"/>
                <a:gd name="T2" fmla="*/ 0 w 1020"/>
                <a:gd name="T3" fmla="*/ 0 h 804"/>
                <a:gd name="T4" fmla="*/ 0 w 1020"/>
                <a:gd name="T5" fmla="*/ 0 h 804"/>
                <a:gd name="T6" fmla="*/ 0 w 1020"/>
                <a:gd name="T7" fmla="*/ 0 h 804"/>
                <a:gd name="T8" fmla="*/ 0 w 1020"/>
                <a:gd name="T9" fmla="*/ 0 h 804"/>
                <a:gd name="T10" fmla="*/ 0 w 1020"/>
                <a:gd name="T11" fmla="*/ 0 h 804"/>
                <a:gd name="T12" fmla="*/ 0 w 1020"/>
                <a:gd name="T13" fmla="*/ 0 h 804"/>
                <a:gd name="T14" fmla="*/ 0 w 1020"/>
                <a:gd name="T15" fmla="*/ 0 h 804"/>
                <a:gd name="T16" fmla="*/ 0 w 1020"/>
                <a:gd name="T17" fmla="*/ 0 h 804"/>
                <a:gd name="T18" fmla="*/ 0 w 1020"/>
                <a:gd name="T19" fmla="*/ 0 h 804"/>
                <a:gd name="T20" fmla="*/ 0 w 1020"/>
                <a:gd name="T21" fmla="*/ 0 h 804"/>
                <a:gd name="T22" fmla="*/ 0 w 1020"/>
                <a:gd name="T23" fmla="*/ 0 h 804"/>
                <a:gd name="T24" fmla="*/ 0 w 1020"/>
                <a:gd name="T25" fmla="*/ 0 h 804"/>
                <a:gd name="T26" fmla="*/ 0 w 1020"/>
                <a:gd name="T27" fmla="*/ 0 h 804"/>
                <a:gd name="T28" fmla="*/ 0 w 1020"/>
                <a:gd name="T29" fmla="*/ 0 h 804"/>
                <a:gd name="T30" fmla="*/ 0 w 1020"/>
                <a:gd name="T31" fmla="*/ 0 h 804"/>
                <a:gd name="T32" fmla="*/ 0 w 1020"/>
                <a:gd name="T33" fmla="*/ 0 h 804"/>
                <a:gd name="T34" fmla="*/ 0 w 1020"/>
                <a:gd name="T35" fmla="*/ 0 h 804"/>
                <a:gd name="T36" fmla="*/ 0 w 1020"/>
                <a:gd name="T37" fmla="*/ 0 h 804"/>
                <a:gd name="T38" fmla="*/ 0 w 1020"/>
                <a:gd name="T39" fmla="*/ 0 h 804"/>
                <a:gd name="T40" fmla="*/ 0 w 1020"/>
                <a:gd name="T41" fmla="*/ 0 h 804"/>
                <a:gd name="T42" fmla="*/ 0 w 1020"/>
                <a:gd name="T43" fmla="*/ 0 h 804"/>
                <a:gd name="T44" fmla="*/ 0 w 1020"/>
                <a:gd name="T45" fmla="*/ 0 h 804"/>
                <a:gd name="T46" fmla="*/ 0 w 1020"/>
                <a:gd name="T47" fmla="*/ 0 h 804"/>
                <a:gd name="T48" fmla="*/ 0 w 1020"/>
                <a:gd name="T49" fmla="*/ 0 h 804"/>
                <a:gd name="T50" fmla="*/ 0 w 1020"/>
                <a:gd name="T51" fmla="*/ 0 h 804"/>
                <a:gd name="T52" fmla="*/ 0 w 1020"/>
                <a:gd name="T53" fmla="*/ 0 h 804"/>
                <a:gd name="T54" fmla="*/ 0 w 1020"/>
                <a:gd name="T55" fmla="*/ 0 h 804"/>
                <a:gd name="T56" fmla="*/ 0 w 1020"/>
                <a:gd name="T57" fmla="*/ 0 h 804"/>
                <a:gd name="T58" fmla="*/ 0 w 1020"/>
                <a:gd name="T59" fmla="*/ 0 h 804"/>
                <a:gd name="T60" fmla="*/ 0 w 1020"/>
                <a:gd name="T61" fmla="*/ 0 h 804"/>
                <a:gd name="T62" fmla="*/ 0 w 1020"/>
                <a:gd name="T63" fmla="*/ 0 h 804"/>
                <a:gd name="T64" fmla="*/ 0 w 1020"/>
                <a:gd name="T65" fmla="*/ 0 h 804"/>
                <a:gd name="T66" fmla="*/ 0 w 1020"/>
                <a:gd name="T67" fmla="*/ 0 h 804"/>
                <a:gd name="T68" fmla="*/ 0 w 1020"/>
                <a:gd name="T69" fmla="*/ 0 h 804"/>
                <a:gd name="T70" fmla="*/ 0 w 1020"/>
                <a:gd name="T71" fmla="*/ 0 h 804"/>
                <a:gd name="T72" fmla="*/ 0 w 1020"/>
                <a:gd name="T73" fmla="*/ 0 h 804"/>
                <a:gd name="T74" fmla="*/ 0 w 1020"/>
                <a:gd name="T75" fmla="*/ 0 h 804"/>
                <a:gd name="T76" fmla="*/ 0 w 1020"/>
                <a:gd name="T77" fmla="*/ 0 h 8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20"/>
                <a:gd name="T118" fmla="*/ 0 h 804"/>
                <a:gd name="T119" fmla="*/ 1020 w 1020"/>
                <a:gd name="T120" fmla="*/ 804 h 8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20" h="804">
                  <a:moveTo>
                    <a:pt x="430" y="19"/>
                  </a:moveTo>
                  <a:lnTo>
                    <a:pt x="437" y="0"/>
                  </a:lnTo>
                  <a:lnTo>
                    <a:pt x="468" y="29"/>
                  </a:lnTo>
                  <a:lnTo>
                    <a:pt x="498" y="15"/>
                  </a:lnTo>
                  <a:lnTo>
                    <a:pt x="645" y="37"/>
                  </a:lnTo>
                  <a:lnTo>
                    <a:pt x="665" y="58"/>
                  </a:lnTo>
                  <a:lnTo>
                    <a:pt x="711" y="68"/>
                  </a:lnTo>
                  <a:lnTo>
                    <a:pt x="870" y="54"/>
                  </a:lnTo>
                  <a:lnTo>
                    <a:pt x="911" y="34"/>
                  </a:lnTo>
                  <a:lnTo>
                    <a:pt x="917" y="5"/>
                  </a:lnTo>
                  <a:lnTo>
                    <a:pt x="941" y="8"/>
                  </a:lnTo>
                  <a:lnTo>
                    <a:pt x="964" y="30"/>
                  </a:lnTo>
                  <a:lnTo>
                    <a:pt x="976" y="58"/>
                  </a:lnTo>
                  <a:lnTo>
                    <a:pt x="968" y="88"/>
                  </a:lnTo>
                  <a:lnTo>
                    <a:pt x="932" y="133"/>
                  </a:lnTo>
                  <a:lnTo>
                    <a:pt x="888" y="244"/>
                  </a:lnTo>
                  <a:lnTo>
                    <a:pt x="907" y="294"/>
                  </a:lnTo>
                  <a:lnTo>
                    <a:pt x="905" y="361"/>
                  </a:lnTo>
                  <a:lnTo>
                    <a:pt x="926" y="402"/>
                  </a:lnTo>
                  <a:lnTo>
                    <a:pt x="928" y="425"/>
                  </a:lnTo>
                  <a:lnTo>
                    <a:pt x="922" y="454"/>
                  </a:lnTo>
                  <a:lnTo>
                    <a:pt x="875" y="505"/>
                  </a:lnTo>
                  <a:lnTo>
                    <a:pt x="868" y="534"/>
                  </a:lnTo>
                  <a:lnTo>
                    <a:pt x="884" y="562"/>
                  </a:lnTo>
                  <a:lnTo>
                    <a:pt x="970" y="550"/>
                  </a:lnTo>
                  <a:lnTo>
                    <a:pt x="1017" y="613"/>
                  </a:lnTo>
                  <a:lnTo>
                    <a:pt x="1020" y="672"/>
                  </a:lnTo>
                  <a:lnTo>
                    <a:pt x="983" y="675"/>
                  </a:lnTo>
                  <a:lnTo>
                    <a:pt x="911" y="613"/>
                  </a:lnTo>
                  <a:lnTo>
                    <a:pt x="919" y="668"/>
                  </a:lnTo>
                  <a:lnTo>
                    <a:pt x="885" y="758"/>
                  </a:lnTo>
                  <a:lnTo>
                    <a:pt x="895" y="788"/>
                  </a:lnTo>
                  <a:lnTo>
                    <a:pt x="892" y="785"/>
                  </a:lnTo>
                  <a:lnTo>
                    <a:pt x="825" y="773"/>
                  </a:lnTo>
                  <a:lnTo>
                    <a:pt x="765" y="787"/>
                  </a:lnTo>
                  <a:lnTo>
                    <a:pt x="737" y="803"/>
                  </a:lnTo>
                  <a:lnTo>
                    <a:pt x="706" y="804"/>
                  </a:lnTo>
                  <a:lnTo>
                    <a:pt x="615" y="737"/>
                  </a:lnTo>
                  <a:lnTo>
                    <a:pt x="592" y="704"/>
                  </a:lnTo>
                  <a:lnTo>
                    <a:pt x="531" y="686"/>
                  </a:lnTo>
                  <a:lnTo>
                    <a:pt x="480" y="651"/>
                  </a:lnTo>
                  <a:lnTo>
                    <a:pt x="415" y="642"/>
                  </a:lnTo>
                  <a:lnTo>
                    <a:pt x="317" y="663"/>
                  </a:lnTo>
                  <a:lnTo>
                    <a:pt x="270" y="704"/>
                  </a:lnTo>
                  <a:lnTo>
                    <a:pt x="240" y="711"/>
                  </a:lnTo>
                  <a:lnTo>
                    <a:pt x="218" y="734"/>
                  </a:lnTo>
                  <a:lnTo>
                    <a:pt x="243" y="549"/>
                  </a:lnTo>
                  <a:lnTo>
                    <a:pt x="238" y="529"/>
                  </a:lnTo>
                  <a:lnTo>
                    <a:pt x="184" y="525"/>
                  </a:lnTo>
                  <a:lnTo>
                    <a:pt x="174" y="555"/>
                  </a:lnTo>
                  <a:lnTo>
                    <a:pt x="145" y="576"/>
                  </a:lnTo>
                  <a:lnTo>
                    <a:pt x="120" y="544"/>
                  </a:lnTo>
                  <a:lnTo>
                    <a:pt x="98" y="548"/>
                  </a:lnTo>
                  <a:lnTo>
                    <a:pt x="69" y="541"/>
                  </a:lnTo>
                  <a:lnTo>
                    <a:pt x="52" y="498"/>
                  </a:lnTo>
                  <a:lnTo>
                    <a:pt x="26" y="468"/>
                  </a:lnTo>
                  <a:lnTo>
                    <a:pt x="21" y="428"/>
                  </a:lnTo>
                  <a:lnTo>
                    <a:pt x="32" y="392"/>
                  </a:lnTo>
                  <a:lnTo>
                    <a:pt x="73" y="383"/>
                  </a:lnTo>
                  <a:lnTo>
                    <a:pt x="65" y="370"/>
                  </a:lnTo>
                  <a:lnTo>
                    <a:pt x="12" y="366"/>
                  </a:lnTo>
                  <a:lnTo>
                    <a:pt x="15" y="316"/>
                  </a:lnTo>
                  <a:lnTo>
                    <a:pt x="23" y="304"/>
                  </a:lnTo>
                  <a:lnTo>
                    <a:pt x="16" y="287"/>
                  </a:lnTo>
                  <a:lnTo>
                    <a:pt x="0" y="286"/>
                  </a:lnTo>
                  <a:lnTo>
                    <a:pt x="9" y="208"/>
                  </a:lnTo>
                  <a:lnTo>
                    <a:pt x="24" y="193"/>
                  </a:lnTo>
                  <a:lnTo>
                    <a:pt x="123" y="158"/>
                  </a:lnTo>
                  <a:lnTo>
                    <a:pt x="124" y="142"/>
                  </a:lnTo>
                  <a:lnTo>
                    <a:pt x="136" y="129"/>
                  </a:lnTo>
                  <a:lnTo>
                    <a:pt x="168" y="118"/>
                  </a:lnTo>
                  <a:lnTo>
                    <a:pt x="191" y="95"/>
                  </a:lnTo>
                  <a:lnTo>
                    <a:pt x="264" y="92"/>
                  </a:lnTo>
                  <a:lnTo>
                    <a:pt x="271" y="55"/>
                  </a:lnTo>
                  <a:lnTo>
                    <a:pt x="309" y="75"/>
                  </a:lnTo>
                  <a:lnTo>
                    <a:pt x="384" y="63"/>
                  </a:lnTo>
                  <a:lnTo>
                    <a:pt x="403" y="46"/>
                  </a:lnTo>
                  <a:lnTo>
                    <a:pt x="397" y="23"/>
                  </a:lnTo>
                  <a:lnTo>
                    <a:pt x="430" y="19"/>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7" name="Freeform 22"/>
            <p:cNvSpPr>
              <a:spLocks/>
            </p:cNvSpPr>
            <p:nvPr/>
          </p:nvSpPr>
          <p:spPr bwMode="auto">
            <a:xfrm>
              <a:off x="5978480" y="2709991"/>
              <a:ext cx="913138" cy="1218664"/>
            </a:xfrm>
            <a:custGeom>
              <a:avLst/>
              <a:gdLst>
                <a:gd name="T0" fmla="*/ 0 w 2248"/>
                <a:gd name="T1" fmla="*/ 0 h 3007"/>
                <a:gd name="T2" fmla="*/ 0 w 2248"/>
                <a:gd name="T3" fmla="*/ 0 h 3007"/>
                <a:gd name="T4" fmla="*/ 0 w 2248"/>
                <a:gd name="T5" fmla="*/ 0 h 3007"/>
                <a:gd name="T6" fmla="*/ 0 w 2248"/>
                <a:gd name="T7" fmla="*/ 0 h 3007"/>
                <a:gd name="T8" fmla="*/ 0 w 2248"/>
                <a:gd name="T9" fmla="*/ 0 h 3007"/>
                <a:gd name="T10" fmla="*/ 0 w 2248"/>
                <a:gd name="T11" fmla="*/ 0 h 3007"/>
                <a:gd name="T12" fmla="*/ 0 w 2248"/>
                <a:gd name="T13" fmla="*/ 0 h 3007"/>
                <a:gd name="T14" fmla="*/ 0 w 2248"/>
                <a:gd name="T15" fmla="*/ 0 h 3007"/>
                <a:gd name="T16" fmla="*/ 0 w 2248"/>
                <a:gd name="T17" fmla="*/ 0 h 3007"/>
                <a:gd name="T18" fmla="*/ 0 w 2248"/>
                <a:gd name="T19" fmla="*/ 0 h 3007"/>
                <a:gd name="T20" fmla="*/ 0 w 2248"/>
                <a:gd name="T21" fmla="*/ 0 h 3007"/>
                <a:gd name="T22" fmla="*/ 0 w 2248"/>
                <a:gd name="T23" fmla="*/ 0 h 3007"/>
                <a:gd name="T24" fmla="*/ 0 w 2248"/>
                <a:gd name="T25" fmla="*/ 0 h 3007"/>
                <a:gd name="T26" fmla="*/ 0 w 2248"/>
                <a:gd name="T27" fmla="*/ 0 h 3007"/>
                <a:gd name="T28" fmla="*/ 0 w 2248"/>
                <a:gd name="T29" fmla="*/ 0 h 3007"/>
                <a:gd name="T30" fmla="*/ 0 w 2248"/>
                <a:gd name="T31" fmla="*/ 0 h 3007"/>
                <a:gd name="T32" fmla="*/ 0 w 2248"/>
                <a:gd name="T33" fmla="*/ 0 h 3007"/>
                <a:gd name="T34" fmla="*/ 0 w 2248"/>
                <a:gd name="T35" fmla="*/ 0 h 3007"/>
                <a:gd name="T36" fmla="*/ 0 w 2248"/>
                <a:gd name="T37" fmla="*/ 0 h 3007"/>
                <a:gd name="T38" fmla="*/ 0 w 2248"/>
                <a:gd name="T39" fmla="*/ 0 h 3007"/>
                <a:gd name="T40" fmla="*/ 0 w 2248"/>
                <a:gd name="T41" fmla="*/ 0 h 3007"/>
                <a:gd name="T42" fmla="*/ 0 w 2248"/>
                <a:gd name="T43" fmla="*/ 0 h 3007"/>
                <a:gd name="T44" fmla="*/ 0 w 2248"/>
                <a:gd name="T45" fmla="*/ 0 h 3007"/>
                <a:gd name="T46" fmla="*/ 0 w 2248"/>
                <a:gd name="T47" fmla="*/ 0 h 3007"/>
                <a:gd name="T48" fmla="*/ 0 w 2248"/>
                <a:gd name="T49" fmla="*/ 0 h 3007"/>
                <a:gd name="T50" fmla="*/ 0 w 2248"/>
                <a:gd name="T51" fmla="*/ 0 h 3007"/>
                <a:gd name="T52" fmla="*/ 0 w 2248"/>
                <a:gd name="T53" fmla="*/ 0 h 3007"/>
                <a:gd name="T54" fmla="*/ 0 w 2248"/>
                <a:gd name="T55" fmla="*/ 0 h 3007"/>
                <a:gd name="T56" fmla="*/ 0 w 2248"/>
                <a:gd name="T57" fmla="*/ 0 h 3007"/>
                <a:gd name="T58" fmla="*/ 0 w 2248"/>
                <a:gd name="T59" fmla="*/ 0 h 3007"/>
                <a:gd name="T60" fmla="*/ 0 w 2248"/>
                <a:gd name="T61" fmla="*/ 0 h 3007"/>
                <a:gd name="T62" fmla="*/ 0 w 2248"/>
                <a:gd name="T63" fmla="*/ 0 h 3007"/>
                <a:gd name="T64" fmla="*/ 0 w 2248"/>
                <a:gd name="T65" fmla="*/ 0 h 3007"/>
                <a:gd name="T66" fmla="*/ 0 w 2248"/>
                <a:gd name="T67" fmla="*/ 0 h 3007"/>
                <a:gd name="T68" fmla="*/ 0 w 2248"/>
                <a:gd name="T69" fmla="*/ 0 h 3007"/>
                <a:gd name="T70" fmla="*/ 0 w 2248"/>
                <a:gd name="T71" fmla="*/ 0 h 3007"/>
                <a:gd name="T72" fmla="*/ 0 w 2248"/>
                <a:gd name="T73" fmla="*/ 0 h 3007"/>
                <a:gd name="T74" fmla="*/ 0 w 2248"/>
                <a:gd name="T75" fmla="*/ 0 h 3007"/>
                <a:gd name="T76" fmla="*/ 0 w 2248"/>
                <a:gd name="T77" fmla="*/ 0 h 3007"/>
                <a:gd name="T78" fmla="*/ 0 w 2248"/>
                <a:gd name="T79" fmla="*/ 0 h 3007"/>
                <a:gd name="T80" fmla="*/ 0 w 2248"/>
                <a:gd name="T81" fmla="*/ 0 h 3007"/>
                <a:gd name="T82" fmla="*/ 0 w 2248"/>
                <a:gd name="T83" fmla="*/ 0 h 3007"/>
                <a:gd name="T84" fmla="*/ 0 w 2248"/>
                <a:gd name="T85" fmla="*/ 0 h 3007"/>
                <a:gd name="T86" fmla="*/ 0 w 2248"/>
                <a:gd name="T87" fmla="*/ 0 h 3007"/>
                <a:gd name="T88" fmla="*/ 0 w 2248"/>
                <a:gd name="T89" fmla="*/ 0 h 3007"/>
                <a:gd name="T90" fmla="*/ 0 w 2248"/>
                <a:gd name="T91" fmla="*/ 0 h 3007"/>
                <a:gd name="T92" fmla="*/ 0 w 2248"/>
                <a:gd name="T93" fmla="*/ 0 h 3007"/>
                <a:gd name="T94" fmla="*/ 0 w 2248"/>
                <a:gd name="T95" fmla="*/ 0 h 3007"/>
                <a:gd name="T96" fmla="*/ 0 w 2248"/>
                <a:gd name="T97" fmla="*/ 0 h 3007"/>
                <a:gd name="T98" fmla="*/ 0 w 2248"/>
                <a:gd name="T99" fmla="*/ 0 h 3007"/>
                <a:gd name="T100" fmla="*/ 0 w 2248"/>
                <a:gd name="T101" fmla="*/ 0 h 3007"/>
                <a:gd name="T102" fmla="*/ 0 w 2248"/>
                <a:gd name="T103" fmla="*/ 0 h 3007"/>
                <a:gd name="T104" fmla="*/ 0 w 2248"/>
                <a:gd name="T105" fmla="*/ 0 h 3007"/>
                <a:gd name="T106" fmla="*/ 0 w 2248"/>
                <a:gd name="T107" fmla="*/ 0 h 3007"/>
                <a:gd name="T108" fmla="*/ 0 w 2248"/>
                <a:gd name="T109" fmla="*/ 0 h 3007"/>
                <a:gd name="T110" fmla="*/ 0 w 2248"/>
                <a:gd name="T111" fmla="*/ 0 h 3007"/>
                <a:gd name="T112" fmla="*/ 0 w 2248"/>
                <a:gd name="T113" fmla="*/ 0 h 3007"/>
                <a:gd name="T114" fmla="*/ 0 w 2248"/>
                <a:gd name="T115" fmla="*/ 0 h 3007"/>
                <a:gd name="T116" fmla="*/ 0 w 2248"/>
                <a:gd name="T117" fmla="*/ 0 h 300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48"/>
                <a:gd name="T178" fmla="*/ 0 h 3007"/>
                <a:gd name="T179" fmla="*/ 2248 w 2248"/>
                <a:gd name="T180" fmla="*/ 3007 h 300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48" h="3007">
                  <a:moveTo>
                    <a:pt x="1358" y="430"/>
                  </a:moveTo>
                  <a:lnTo>
                    <a:pt x="1352" y="409"/>
                  </a:lnTo>
                  <a:lnTo>
                    <a:pt x="1371" y="372"/>
                  </a:lnTo>
                  <a:lnTo>
                    <a:pt x="1405" y="353"/>
                  </a:lnTo>
                  <a:lnTo>
                    <a:pt x="1431" y="328"/>
                  </a:lnTo>
                  <a:lnTo>
                    <a:pt x="1435" y="291"/>
                  </a:lnTo>
                  <a:lnTo>
                    <a:pt x="1420" y="273"/>
                  </a:lnTo>
                  <a:lnTo>
                    <a:pt x="1348" y="290"/>
                  </a:lnTo>
                  <a:lnTo>
                    <a:pt x="1320" y="286"/>
                  </a:lnTo>
                  <a:lnTo>
                    <a:pt x="1307" y="256"/>
                  </a:lnTo>
                  <a:lnTo>
                    <a:pt x="1260" y="229"/>
                  </a:lnTo>
                  <a:lnTo>
                    <a:pt x="1239" y="252"/>
                  </a:lnTo>
                  <a:lnTo>
                    <a:pt x="1216" y="249"/>
                  </a:lnTo>
                  <a:lnTo>
                    <a:pt x="1217" y="218"/>
                  </a:lnTo>
                  <a:lnTo>
                    <a:pt x="1186" y="213"/>
                  </a:lnTo>
                  <a:lnTo>
                    <a:pt x="1172" y="196"/>
                  </a:lnTo>
                  <a:lnTo>
                    <a:pt x="1202" y="167"/>
                  </a:lnTo>
                  <a:lnTo>
                    <a:pt x="1209" y="131"/>
                  </a:lnTo>
                  <a:lnTo>
                    <a:pt x="1194" y="82"/>
                  </a:lnTo>
                  <a:lnTo>
                    <a:pt x="1132" y="51"/>
                  </a:lnTo>
                  <a:lnTo>
                    <a:pt x="1103" y="48"/>
                  </a:lnTo>
                  <a:lnTo>
                    <a:pt x="1107" y="30"/>
                  </a:lnTo>
                  <a:lnTo>
                    <a:pt x="1070" y="42"/>
                  </a:lnTo>
                  <a:lnTo>
                    <a:pt x="979" y="2"/>
                  </a:lnTo>
                  <a:lnTo>
                    <a:pt x="944" y="0"/>
                  </a:lnTo>
                  <a:lnTo>
                    <a:pt x="934" y="42"/>
                  </a:lnTo>
                  <a:lnTo>
                    <a:pt x="988" y="167"/>
                  </a:lnTo>
                  <a:lnTo>
                    <a:pt x="926" y="191"/>
                  </a:lnTo>
                  <a:lnTo>
                    <a:pt x="922" y="206"/>
                  </a:lnTo>
                  <a:lnTo>
                    <a:pt x="903" y="223"/>
                  </a:lnTo>
                  <a:lnTo>
                    <a:pt x="929" y="229"/>
                  </a:lnTo>
                  <a:lnTo>
                    <a:pt x="944" y="244"/>
                  </a:lnTo>
                  <a:lnTo>
                    <a:pt x="932" y="269"/>
                  </a:lnTo>
                  <a:lnTo>
                    <a:pt x="941" y="296"/>
                  </a:lnTo>
                  <a:lnTo>
                    <a:pt x="959" y="317"/>
                  </a:lnTo>
                  <a:lnTo>
                    <a:pt x="951" y="334"/>
                  </a:lnTo>
                  <a:lnTo>
                    <a:pt x="932" y="334"/>
                  </a:lnTo>
                  <a:lnTo>
                    <a:pt x="925" y="366"/>
                  </a:lnTo>
                  <a:lnTo>
                    <a:pt x="975" y="414"/>
                  </a:lnTo>
                  <a:lnTo>
                    <a:pt x="966" y="422"/>
                  </a:lnTo>
                  <a:lnTo>
                    <a:pt x="871" y="410"/>
                  </a:lnTo>
                  <a:lnTo>
                    <a:pt x="841" y="455"/>
                  </a:lnTo>
                  <a:lnTo>
                    <a:pt x="827" y="529"/>
                  </a:lnTo>
                  <a:lnTo>
                    <a:pt x="837" y="620"/>
                  </a:lnTo>
                  <a:lnTo>
                    <a:pt x="806" y="528"/>
                  </a:lnTo>
                  <a:lnTo>
                    <a:pt x="773" y="513"/>
                  </a:lnTo>
                  <a:lnTo>
                    <a:pt x="764" y="556"/>
                  </a:lnTo>
                  <a:lnTo>
                    <a:pt x="735" y="554"/>
                  </a:lnTo>
                  <a:lnTo>
                    <a:pt x="736" y="500"/>
                  </a:lnTo>
                  <a:lnTo>
                    <a:pt x="720" y="456"/>
                  </a:lnTo>
                  <a:lnTo>
                    <a:pt x="656" y="432"/>
                  </a:lnTo>
                  <a:lnTo>
                    <a:pt x="537" y="436"/>
                  </a:lnTo>
                  <a:lnTo>
                    <a:pt x="518" y="467"/>
                  </a:lnTo>
                  <a:lnTo>
                    <a:pt x="497" y="482"/>
                  </a:lnTo>
                  <a:lnTo>
                    <a:pt x="479" y="510"/>
                  </a:lnTo>
                  <a:lnTo>
                    <a:pt x="480" y="520"/>
                  </a:lnTo>
                  <a:lnTo>
                    <a:pt x="523" y="541"/>
                  </a:lnTo>
                  <a:lnTo>
                    <a:pt x="558" y="585"/>
                  </a:lnTo>
                  <a:lnTo>
                    <a:pt x="561" y="626"/>
                  </a:lnTo>
                  <a:lnTo>
                    <a:pt x="554" y="621"/>
                  </a:lnTo>
                  <a:lnTo>
                    <a:pt x="540" y="578"/>
                  </a:lnTo>
                  <a:lnTo>
                    <a:pt x="474" y="583"/>
                  </a:lnTo>
                  <a:lnTo>
                    <a:pt x="394" y="772"/>
                  </a:lnTo>
                  <a:lnTo>
                    <a:pt x="321" y="804"/>
                  </a:lnTo>
                  <a:lnTo>
                    <a:pt x="324" y="848"/>
                  </a:lnTo>
                  <a:lnTo>
                    <a:pt x="395" y="896"/>
                  </a:lnTo>
                  <a:lnTo>
                    <a:pt x="382" y="945"/>
                  </a:lnTo>
                  <a:lnTo>
                    <a:pt x="342" y="983"/>
                  </a:lnTo>
                  <a:lnTo>
                    <a:pt x="295" y="1006"/>
                  </a:lnTo>
                  <a:lnTo>
                    <a:pt x="277" y="1054"/>
                  </a:lnTo>
                  <a:lnTo>
                    <a:pt x="248" y="1095"/>
                  </a:lnTo>
                  <a:lnTo>
                    <a:pt x="212" y="1097"/>
                  </a:lnTo>
                  <a:lnTo>
                    <a:pt x="161" y="1063"/>
                  </a:lnTo>
                  <a:lnTo>
                    <a:pt x="116" y="1054"/>
                  </a:lnTo>
                  <a:lnTo>
                    <a:pt x="76" y="1341"/>
                  </a:lnTo>
                  <a:lnTo>
                    <a:pt x="42" y="1370"/>
                  </a:lnTo>
                  <a:lnTo>
                    <a:pt x="33" y="1401"/>
                  </a:lnTo>
                  <a:lnTo>
                    <a:pt x="38" y="1484"/>
                  </a:lnTo>
                  <a:lnTo>
                    <a:pt x="34" y="1509"/>
                  </a:lnTo>
                  <a:lnTo>
                    <a:pt x="50" y="1542"/>
                  </a:lnTo>
                  <a:lnTo>
                    <a:pt x="49" y="1591"/>
                  </a:lnTo>
                  <a:lnTo>
                    <a:pt x="66" y="1637"/>
                  </a:lnTo>
                  <a:lnTo>
                    <a:pt x="60" y="1672"/>
                  </a:lnTo>
                  <a:lnTo>
                    <a:pt x="0" y="1738"/>
                  </a:lnTo>
                  <a:lnTo>
                    <a:pt x="32" y="1766"/>
                  </a:lnTo>
                  <a:lnTo>
                    <a:pt x="14" y="1797"/>
                  </a:lnTo>
                  <a:lnTo>
                    <a:pt x="11" y="1831"/>
                  </a:lnTo>
                  <a:lnTo>
                    <a:pt x="35" y="1904"/>
                  </a:lnTo>
                  <a:lnTo>
                    <a:pt x="30" y="1961"/>
                  </a:lnTo>
                  <a:lnTo>
                    <a:pt x="3" y="1985"/>
                  </a:lnTo>
                  <a:lnTo>
                    <a:pt x="79" y="2085"/>
                  </a:lnTo>
                  <a:lnTo>
                    <a:pt x="98" y="2138"/>
                  </a:lnTo>
                  <a:lnTo>
                    <a:pt x="423" y="2289"/>
                  </a:lnTo>
                  <a:lnTo>
                    <a:pt x="404" y="2342"/>
                  </a:lnTo>
                  <a:lnTo>
                    <a:pt x="304" y="2436"/>
                  </a:lnTo>
                  <a:lnTo>
                    <a:pt x="226" y="2603"/>
                  </a:lnTo>
                  <a:lnTo>
                    <a:pt x="200" y="2782"/>
                  </a:lnTo>
                  <a:lnTo>
                    <a:pt x="205" y="2797"/>
                  </a:lnTo>
                  <a:lnTo>
                    <a:pt x="237" y="2833"/>
                  </a:lnTo>
                  <a:lnTo>
                    <a:pt x="533" y="2831"/>
                  </a:lnTo>
                  <a:lnTo>
                    <a:pt x="705" y="2925"/>
                  </a:lnTo>
                  <a:lnTo>
                    <a:pt x="757" y="2912"/>
                  </a:lnTo>
                  <a:lnTo>
                    <a:pt x="803" y="2916"/>
                  </a:lnTo>
                  <a:lnTo>
                    <a:pt x="844" y="2933"/>
                  </a:lnTo>
                  <a:lnTo>
                    <a:pt x="864" y="2977"/>
                  </a:lnTo>
                  <a:lnTo>
                    <a:pt x="908" y="3007"/>
                  </a:lnTo>
                  <a:lnTo>
                    <a:pt x="936" y="2994"/>
                  </a:lnTo>
                  <a:lnTo>
                    <a:pt x="955" y="2964"/>
                  </a:lnTo>
                  <a:lnTo>
                    <a:pt x="991" y="2936"/>
                  </a:lnTo>
                  <a:lnTo>
                    <a:pt x="1046" y="2949"/>
                  </a:lnTo>
                  <a:lnTo>
                    <a:pt x="1105" y="2994"/>
                  </a:lnTo>
                  <a:lnTo>
                    <a:pt x="1170" y="3003"/>
                  </a:lnTo>
                  <a:lnTo>
                    <a:pt x="1271" y="2952"/>
                  </a:lnTo>
                  <a:lnTo>
                    <a:pt x="1433" y="2949"/>
                  </a:lnTo>
                  <a:lnTo>
                    <a:pt x="1456" y="2927"/>
                  </a:lnTo>
                  <a:lnTo>
                    <a:pt x="1509" y="2950"/>
                  </a:lnTo>
                  <a:lnTo>
                    <a:pt x="1580" y="2957"/>
                  </a:lnTo>
                  <a:lnTo>
                    <a:pt x="1596" y="2997"/>
                  </a:lnTo>
                  <a:lnTo>
                    <a:pt x="1637" y="2983"/>
                  </a:lnTo>
                  <a:lnTo>
                    <a:pt x="1637" y="2946"/>
                  </a:lnTo>
                  <a:lnTo>
                    <a:pt x="1611" y="2866"/>
                  </a:lnTo>
                  <a:lnTo>
                    <a:pt x="1614" y="2787"/>
                  </a:lnTo>
                  <a:lnTo>
                    <a:pt x="1642" y="2735"/>
                  </a:lnTo>
                  <a:lnTo>
                    <a:pt x="1753" y="2701"/>
                  </a:lnTo>
                  <a:lnTo>
                    <a:pt x="1796" y="2618"/>
                  </a:lnTo>
                  <a:lnTo>
                    <a:pt x="1880" y="2591"/>
                  </a:lnTo>
                  <a:lnTo>
                    <a:pt x="1890" y="2554"/>
                  </a:lnTo>
                  <a:lnTo>
                    <a:pt x="1556" y="2172"/>
                  </a:lnTo>
                  <a:lnTo>
                    <a:pt x="1559" y="2030"/>
                  </a:lnTo>
                  <a:lnTo>
                    <a:pt x="1506" y="1999"/>
                  </a:lnTo>
                  <a:lnTo>
                    <a:pt x="1472" y="1948"/>
                  </a:lnTo>
                  <a:lnTo>
                    <a:pt x="1477" y="1907"/>
                  </a:lnTo>
                  <a:lnTo>
                    <a:pt x="1485" y="1888"/>
                  </a:lnTo>
                  <a:lnTo>
                    <a:pt x="1549" y="1962"/>
                  </a:lnTo>
                  <a:lnTo>
                    <a:pt x="1560" y="1960"/>
                  </a:lnTo>
                  <a:lnTo>
                    <a:pt x="1589" y="1902"/>
                  </a:lnTo>
                  <a:lnTo>
                    <a:pt x="1828" y="1827"/>
                  </a:lnTo>
                  <a:lnTo>
                    <a:pt x="1863" y="1778"/>
                  </a:lnTo>
                  <a:lnTo>
                    <a:pt x="2041" y="1729"/>
                  </a:lnTo>
                  <a:lnTo>
                    <a:pt x="2066" y="1628"/>
                  </a:lnTo>
                  <a:lnTo>
                    <a:pt x="2109" y="1643"/>
                  </a:lnTo>
                  <a:lnTo>
                    <a:pt x="2164" y="1744"/>
                  </a:lnTo>
                  <a:lnTo>
                    <a:pt x="2194" y="1746"/>
                  </a:lnTo>
                  <a:lnTo>
                    <a:pt x="2248" y="1539"/>
                  </a:lnTo>
                  <a:lnTo>
                    <a:pt x="2244" y="1519"/>
                  </a:lnTo>
                  <a:lnTo>
                    <a:pt x="2179" y="1430"/>
                  </a:lnTo>
                  <a:lnTo>
                    <a:pt x="2164" y="1016"/>
                  </a:lnTo>
                  <a:lnTo>
                    <a:pt x="2105" y="964"/>
                  </a:lnTo>
                  <a:lnTo>
                    <a:pt x="2106" y="933"/>
                  </a:lnTo>
                  <a:lnTo>
                    <a:pt x="2158" y="830"/>
                  </a:lnTo>
                  <a:lnTo>
                    <a:pt x="2174" y="704"/>
                  </a:lnTo>
                  <a:lnTo>
                    <a:pt x="2139" y="591"/>
                  </a:lnTo>
                  <a:lnTo>
                    <a:pt x="2046" y="551"/>
                  </a:lnTo>
                  <a:lnTo>
                    <a:pt x="2040" y="495"/>
                  </a:lnTo>
                  <a:lnTo>
                    <a:pt x="2010" y="433"/>
                  </a:lnTo>
                  <a:lnTo>
                    <a:pt x="1970" y="434"/>
                  </a:lnTo>
                  <a:lnTo>
                    <a:pt x="1946" y="410"/>
                  </a:lnTo>
                  <a:lnTo>
                    <a:pt x="1934" y="407"/>
                  </a:lnTo>
                  <a:lnTo>
                    <a:pt x="1927" y="374"/>
                  </a:lnTo>
                  <a:lnTo>
                    <a:pt x="1895" y="351"/>
                  </a:lnTo>
                  <a:lnTo>
                    <a:pt x="1875" y="321"/>
                  </a:lnTo>
                  <a:lnTo>
                    <a:pt x="1774" y="336"/>
                  </a:lnTo>
                  <a:lnTo>
                    <a:pt x="1744" y="353"/>
                  </a:lnTo>
                  <a:lnTo>
                    <a:pt x="1756" y="331"/>
                  </a:lnTo>
                  <a:lnTo>
                    <a:pt x="1825" y="290"/>
                  </a:lnTo>
                  <a:lnTo>
                    <a:pt x="1797" y="281"/>
                  </a:lnTo>
                  <a:lnTo>
                    <a:pt x="1761" y="286"/>
                  </a:lnTo>
                  <a:lnTo>
                    <a:pt x="1696" y="349"/>
                  </a:lnTo>
                  <a:lnTo>
                    <a:pt x="1673" y="387"/>
                  </a:lnTo>
                  <a:lnTo>
                    <a:pt x="1654" y="397"/>
                  </a:lnTo>
                  <a:lnTo>
                    <a:pt x="1657" y="371"/>
                  </a:lnTo>
                  <a:lnTo>
                    <a:pt x="1574" y="381"/>
                  </a:lnTo>
                  <a:lnTo>
                    <a:pt x="1504" y="427"/>
                  </a:lnTo>
                  <a:lnTo>
                    <a:pt x="1514" y="452"/>
                  </a:lnTo>
                  <a:lnTo>
                    <a:pt x="1476" y="447"/>
                  </a:lnTo>
                  <a:lnTo>
                    <a:pt x="1427" y="425"/>
                  </a:lnTo>
                  <a:lnTo>
                    <a:pt x="1363" y="455"/>
                  </a:lnTo>
                  <a:lnTo>
                    <a:pt x="1358" y="43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8" name="Freeform 24"/>
            <p:cNvSpPr>
              <a:spLocks/>
            </p:cNvSpPr>
            <p:nvPr/>
          </p:nvSpPr>
          <p:spPr bwMode="auto">
            <a:xfrm>
              <a:off x="6755172" y="2798087"/>
              <a:ext cx="52479" cy="62926"/>
            </a:xfrm>
            <a:custGeom>
              <a:avLst/>
              <a:gdLst>
                <a:gd name="T0" fmla="*/ 0 w 125"/>
                <a:gd name="T1" fmla="*/ 0 h 155"/>
                <a:gd name="T2" fmla="*/ 0 w 125"/>
                <a:gd name="T3" fmla="*/ 0 h 155"/>
                <a:gd name="T4" fmla="*/ 0 w 125"/>
                <a:gd name="T5" fmla="*/ 0 h 155"/>
                <a:gd name="T6" fmla="*/ 0 w 125"/>
                <a:gd name="T7" fmla="*/ 0 h 155"/>
                <a:gd name="T8" fmla="*/ 0 w 125"/>
                <a:gd name="T9" fmla="*/ 0 h 155"/>
                <a:gd name="T10" fmla="*/ 0 w 125"/>
                <a:gd name="T11" fmla="*/ 0 h 155"/>
                <a:gd name="T12" fmla="*/ 0 w 125"/>
                <a:gd name="T13" fmla="*/ 0 h 155"/>
                <a:gd name="T14" fmla="*/ 0 w 125"/>
                <a:gd name="T15" fmla="*/ 0 h 155"/>
                <a:gd name="T16" fmla="*/ 0 w 125"/>
                <a:gd name="T17" fmla="*/ 0 h 155"/>
                <a:gd name="T18" fmla="*/ 0 w 125"/>
                <a:gd name="T19" fmla="*/ 0 h 155"/>
                <a:gd name="T20" fmla="*/ 0 w 125"/>
                <a:gd name="T21" fmla="*/ 0 h 155"/>
                <a:gd name="T22" fmla="*/ 0 w 125"/>
                <a:gd name="T23" fmla="*/ 0 h 155"/>
                <a:gd name="T24" fmla="*/ 0 w 125"/>
                <a:gd name="T25" fmla="*/ 0 h 155"/>
                <a:gd name="T26" fmla="*/ 0 w 125"/>
                <a:gd name="T27" fmla="*/ 0 h 155"/>
                <a:gd name="T28" fmla="*/ 0 w 125"/>
                <a:gd name="T29" fmla="*/ 0 h 155"/>
                <a:gd name="T30" fmla="*/ 0 w 125"/>
                <a:gd name="T31" fmla="*/ 0 h 155"/>
                <a:gd name="T32" fmla="*/ 0 w 125"/>
                <a:gd name="T33" fmla="*/ 0 h 155"/>
                <a:gd name="T34" fmla="*/ 0 w 125"/>
                <a:gd name="T35" fmla="*/ 0 h 155"/>
                <a:gd name="T36" fmla="*/ 0 w 125"/>
                <a:gd name="T37" fmla="*/ 0 h 155"/>
                <a:gd name="T38" fmla="*/ 0 w 125"/>
                <a:gd name="T39" fmla="*/ 0 h 155"/>
                <a:gd name="T40" fmla="*/ 0 w 125"/>
                <a:gd name="T41" fmla="*/ 0 h 155"/>
                <a:gd name="T42" fmla="*/ 0 w 125"/>
                <a:gd name="T43" fmla="*/ 0 h 155"/>
                <a:gd name="T44" fmla="*/ 0 w 125"/>
                <a:gd name="T45" fmla="*/ 0 h 15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5"/>
                <a:gd name="T70" fmla="*/ 0 h 155"/>
                <a:gd name="T71" fmla="*/ 125 w 125"/>
                <a:gd name="T72" fmla="*/ 155 h 15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5" h="155">
                  <a:moveTo>
                    <a:pt x="110" y="88"/>
                  </a:moveTo>
                  <a:lnTo>
                    <a:pt x="110" y="114"/>
                  </a:lnTo>
                  <a:lnTo>
                    <a:pt x="122" y="138"/>
                  </a:lnTo>
                  <a:lnTo>
                    <a:pt x="117" y="155"/>
                  </a:lnTo>
                  <a:lnTo>
                    <a:pt x="97" y="139"/>
                  </a:lnTo>
                  <a:lnTo>
                    <a:pt x="72" y="143"/>
                  </a:lnTo>
                  <a:lnTo>
                    <a:pt x="58" y="155"/>
                  </a:lnTo>
                  <a:lnTo>
                    <a:pt x="23" y="145"/>
                  </a:lnTo>
                  <a:lnTo>
                    <a:pt x="0" y="119"/>
                  </a:lnTo>
                  <a:lnTo>
                    <a:pt x="13" y="103"/>
                  </a:lnTo>
                  <a:lnTo>
                    <a:pt x="16" y="82"/>
                  </a:lnTo>
                  <a:lnTo>
                    <a:pt x="9" y="48"/>
                  </a:lnTo>
                  <a:lnTo>
                    <a:pt x="28" y="45"/>
                  </a:lnTo>
                  <a:lnTo>
                    <a:pt x="79" y="75"/>
                  </a:lnTo>
                  <a:lnTo>
                    <a:pt x="73" y="54"/>
                  </a:lnTo>
                  <a:lnTo>
                    <a:pt x="50" y="34"/>
                  </a:lnTo>
                  <a:lnTo>
                    <a:pt x="36" y="14"/>
                  </a:lnTo>
                  <a:lnTo>
                    <a:pt x="47" y="0"/>
                  </a:lnTo>
                  <a:lnTo>
                    <a:pt x="69" y="7"/>
                  </a:lnTo>
                  <a:lnTo>
                    <a:pt x="73" y="26"/>
                  </a:lnTo>
                  <a:lnTo>
                    <a:pt x="105" y="32"/>
                  </a:lnTo>
                  <a:lnTo>
                    <a:pt x="125" y="44"/>
                  </a:lnTo>
                  <a:lnTo>
                    <a:pt x="110" y="88"/>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69" name="Freeform 25"/>
            <p:cNvSpPr>
              <a:spLocks/>
            </p:cNvSpPr>
            <p:nvPr/>
          </p:nvSpPr>
          <p:spPr bwMode="auto">
            <a:xfrm>
              <a:off x="6755172" y="2798087"/>
              <a:ext cx="52479" cy="62926"/>
            </a:xfrm>
            <a:custGeom>
              <a:avLst/>
              <a:gdLst>
                <a:gd name="T0" fmla="*/ 0 w 125"/>
                <a:gd name="T1" fmla="*/ 0 h 155"/>
                <a:gd name="T2" fmla="*/ 0 w 125"/>
                <a:gd name="T3" fmla="*/ 0 h 155"/>
                <a:gd name="T4" fmla="*/ 0 w 125"/>
                <a:gd name="T5" fmla="*/ 0 h 155"/>
                <a:gd name="T6" fmla="*/ 0 w 125"/>
                <a:gd name="T7" fmla="*/ 0 h 155"/>
                <a:gd name="T8" fmla="*/ 0 w 125"/>
                <a:gd name="T9" fmla="*/ 0 h 155"/>
                <a:gd name="T10" fmla="*/ 0 w 125"/>
                <a:gd name="T11" fmla="*/ 0 h 155"/>
                <a:gd name="T12" fmla="*/ 0 w 125"/>
                <a:gd name="T13" fmla="*/ 0 h 155"/>
                <a:gd name="T14" fmla="*/ 0 w 125"/>
                <a:gd name="T15" fmla="*/ 0 h 155"/>
                <a:gd name="T16" fmla="*/ 0 w 125"/>
                <a:gd name="T17" fmla="*/ 0 h 155"/>
                <a:gd name="T18" fmla="*/ 0 w 125"/>
                <a:gd name="T19" fmla="*/ 0 h 155"/>
                <a:gd name="T20" fmla="*/ 0 w 125"/>
                <a:gd name="T21" fmla="*/ 0 h 155"/>
                <a:gd name="T22" fmla="*/ 0 w 125"/>
                <a:gd name="T23" fmla="*/ 0 h 155"/>
                <a:gd name="T24" fmla="*/ 0 w 125"/>
                <a:gd name="T25" fmla="*/ 0 h 155"/>
                <a:gd name="T26" fmla="*/ 0 w 125"/>
                <a:gd name="T27" fmla="*/ 0 h 155"/>
                <a:gd name="T28" fmla="*/ 0 w 125"/>
                <a:gd name="T29" fmla="*/ 0 h 155"/>
                <a:gd name="T30" fmla="*/ 0 w 125"/>
                <a:gd name="T31" fmla="*/ 0 h 155"/>
                <a:gd name="T32" fmla="*/ 0 w 125"/>
                <a:gd name="T33" fmla="*/ 0 h 155"/>
                <a:gd name="T34" fmla="*/ 0 w 125"/>
                <a:gd name="T35" fmla="*/ 0 h 155"/>
                <a:gd name="T36" fmla="*/ 0 w 125"/>
                <a:gd name="T37" fmla="*/ 0 h 155"/>
                <a:gd name="T38" fmla="*/ 0 w 125"/>
                <a:gd name="T39" fmla="*/ 0 h 155"/>
                <a:gd name="T40" fmla="*/ 0 w 125"/>
                <a:gd name="T41" fmla="*/ 0 h 155"/>
                <a:gd name="T42" fmla="*/ 0 w 125"/>
                <a:gd name="T43" fmla="*/ 0 h 155"/>
                <a:gd name="T44" fmla="*/ 0 w 125"/>
                <a:gd name="T45" fmla="*/ 0 h 15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5"/>
                <a:gd name="T70" fmla="*/ 0 h 155"/>
                <a:gd name="T71" fmla="*/ 125 w 125"/>
                <a:gd name="T72" fmla="*/ 155 h 15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5" h="155">
                  <a:moveTo>
                    <a:pt x="110" y="88"/>
                  </a:moveTo>
                  <a:lnTo>
                    <a:pt x="110" y="114"/>
                  </a:lnTo>
                  <a:lnTo>
                    <a:pt x="122" y="138"/>
                  </a:lnTo>
                  <a:lnTo>
                    <a:pt x="117" y="155"/>
                  </a:lnTo>
                  <a:lnTo>
                    <a:pt x="97" y="139"/>
                  </a:lnTo>
                  <a:lnTo>
                    <a:pt x="72" y="143"/>
                  </a:lnTo>
                  <a:lnTo>
                    <a:pt x="58" y="155"/>
                  </a:lnTo>
                  <a:lnTo>
                    <a:pt x="23" y="145"/>
                  </a:lnTo>
                  <a:lnTo>
                    <a:pt x="0" y="119"/>
                  </a:lnTo>
                  <a:lnTo>
                    <a:pt x="13" y="103"/>
                  </a:lnTo>
                  <a:lnTo>
                    <a:pt x="16" y="82"/>
                  </a:lnTo>
                  <a:lnTo>
                    <a:pt x="9" y="48"/>
                  </a:lnTo>
                  <a:lnTo>
                    <a:pt x="28" y="45"/>
                  </a:lnTo>
                  <a:lnTo>
                    <a:pt x="79" y="75"/>
                  </a:lnTo>
                  <a:lnTo>
                    <a:pt x="73" y="54"/>
                  </a:lnTo>
                  <a:lnTo>
                    <a:pt x="50" y="34"/>
                  </a:lnTo>
                  <a:lnTo>
                    <a:pt x="36" y="14"/>
                  </a:lnTo>
                  <a:lnTo>
                    <a:pt x="47" y="0"/>
                  </a:lnTo>
                  <a:lnTo>
                    <a:pt x="69" y="7"/>
                  </a:lnTo>
                  <a:lnTo>
                    <a:pt x="73" y="26"/>
                  </a:lnTo>
                  <a:lnTo>
                    <a:pt x="105" y="32"/>
                  </a:lnTo>
                  <a:lnTo>
                    <a:pt x="125" y="44"/>
                  </a:lnTo>
                  <a:lnTo>
                    <a:pt x="110" y="88"/>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0" name="Freeform 26"/>
            <p:cNvSpPr>
              <a:spLocks/>
            </p:cNvSpPr>
            <p:nvPr/>
          </p:nvSpPr>
          <p:spPr bwMode="auto">
            <a:xfrm>
              <a:off x="5147210" y="1822736"/>
              <a:ext cx="102859" cy="83901"/>
            </a:xfrm>
            <a:custGeom>
              <a:avLst/>
              <a:gdLst>
                <a:gd name="T0" fmla="*/ 0 w 256"/>
                <a:gd name="T1" fmla="*/ 0 h 205"/>
                <a:gd name="T2" fmla="*/ 0 w 256"/>
                <a:gd name="T3" fmla="*/ 0 h 205"/>
                <a:gd name="T4" fmla="*/ 0 w 256"/>
                <a:gd name="T5" fmla="*/ 0 h 205"/>
                <a:gd name="T6" fmla="*/ 0 w 256"/>
                <a:gd name="T7" fmla="*/ 0 h 205"/>
                <a:gd name="T8" fmla="*/ 0 w 256"/>
                <a:gd name="T9" fmla="*/ 0 h 205"/>
                <a:gd name="T10" fmla="*/ 0 w 256"/>
                <a:gd name="T11" fmla="*/ 0 h 205"/>
                <a:gd name="T12" fmla="*/ 0 w 256"/>
                <a:gd name="T13" fmla="*/ 0 h 205"/>
                <a:gd name="T14" fmla="*/ 0 w 256"/>
                <a:gd name="T15" fmla="*/ 0 h 205"/>
                <a:gd name="T16" fmla="*/ 0 w 256"/>
                <a:gd name="T17" fmla="*/ 0 h 205"/>
                <a:gd name="T18" fmla="*/ 0 w 256"/>
                <a:gd name="T19" fmla="*/ 0 h 205"/>
                <a:gd name="T20" fmla="*/ 0 w 256"/>
                <a:gd name="T21" fmla="*/ 0 h 205"/>
                <a:gd name="T22" fmla="*/ 0 w 256"/>
                <a:gd name="T23" fmla="*/ 0 h 205"/>
                <a:gd name="T24" fmla="*/ 0 w 256"/>
                <a:gd name="T25" fmla="*/ 0 h 205"/>
                <a:gd name="T26" fmla="*/ 0 w 256"/>
                <a:gd name="T27" fmla="*/ 0 h 205"/>
                <a:gd name="T28" fmla="*/ 0 w 256"/>
                <a:gd name="T29" fmla="*/ 0 h 205"/>
                <a:gd name="T30" fmla="*/ 0 w 256"/>
                <a:gd name="T31" fmla="*/ 0 h 205"/>
                <a:gd name="T32" fmla="*/ 0 w 256"/>
                <a:gd name="T33" fmla="*/ 0 h 205"/>
                <a:gd name="T34" fmla="*/ 0 w 256"/>
                <a:gd name="T35" fmla="*/ 0 h 205"/>
                <a:gd name="T36" fmla="*/ 0 w 256"/>
                <a:gd name="T37" fmla="*/ 0 h 205"/>
                <a:gd name="T38" fmla="*/ 0 w 256"/>
                <a:gd name="T39" fmla="*/ 0 h 205"/>
                <a:gd name="T40" fmla="*/ 0 w 256"/>
                <a:gd name="T41" fmla="*/ 0 h 205"/>
                <a:gd name="T42" fmla="*/ 0 w 256"/>
                <a:gd name="T43" fmla="*/ 0 h 205"/>
                <a:gd name="T44" fmla="*/ 0 w 256"/>
                <a:gd name="T45" fmla="*/ 0 h 205"/>
                <a:gd name="T46" fmla="*/ 0 w 256"/>
                <a:gd name="T47" fmla="*/ 0 h 205"/>
                <a:gd name="T48" fmla="*/ 0 w 256"/>
                <a:gd name="T49" fmla="*/ 0 h 205"/>
                <a:gd name="T50" fmla="*/ 0 w 256"/>
                <a:gd name="T51" fmla="*/ 0 h 205"/>
                <a:gd name="T52" fmla="*/ 0 w 256"/>
                <a:gd name="T53" fmla="*/ 0 h 205"/>
                <a:gd name="T54" fmla="*/ 0 w 256"/>
                <a:gd name="T55" fmla="*/ 0 h 20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56"/>
                <a:gd name="T85" fmla="*/ 0 h 205"/>
                <a:gd name="T86" fmla="*/ 256 w 256"/>
                <a:gd name="T87" fmla="*/ 205 h 20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56" h="205">
                  <a:moveTo>
                    <a:pt x="256" y="5"/>
                  </a:moveTo>
                  <a:lnTo>
                    <a:pt x="233" y="0"/>
                  </a:lnTo>
                  <a:lnTo>
                    <a:pt x="119" y="29"/>
                  </a:lnTo>
                  <a:lnTo>
                    <a:pt x="113" y="44"/>
                  </a:lnTo>
                  <a:lnTo>
                    <a:pt x="112" y="65"/>
                  </a:lnTo>
                  <a:lnTo>
                    <a:pt x="88" y="64"/>
                  </a:lnTo>
                  <a:lnTo>
                    <a:pt x="69" y="36"/>
                  </a:lnTo>
                  <a:lnTo>
                    <a:pt x="45" y="66"/>
                  </a:lnTo>
                  <a:lnTo>
                    <a:pt x="25" y="115"/>
                  </a:lnTo>
                  <a:lnTo>
                    <a:pt x="33" y="157"/>
                  </a:lnTo>
                  <a:lnTo>
                    <a:pt x="9" y="171"/>
                  </a:lnTo>
                  <a:lnTo>
                    <a:pt x="3" y="181"/>
                  </a:lnTo>
                  <a:lnTo>
                    <a:pt x="0" y="205"/>
                  </a:lnTo>
                  <a:lnTo>
                    <a:pt x="45" y="201"/>
                  </a:lnTo>
                  <a:lnTo>
                    <a:pt x="55" y="182"/>
                  </a:lnTo>
                  <a:lnTo>
                    <a:pt x="74" y="179"/>
                  </a:lnTo>
                  <a:lnTo>
                    <a:pt x="95" y="165"/>
                  </a:lnTo>
                  <a:lnTo>
                    <a:pt x="118" y="175"/>
                  </a:lnTo>
                  <a:lnTo>
                    <a:pt x="155" y="163"/>
                  </a:lnTo>
                  <a:lnTo>
                    <a:pt x="170" y="138"/>
                  </a:lnTo>
                  <a:lnTo>
                    <a:pt x="159" y="131"/>
                  </a:lnTo>
                  <a:lnTo>
                    <a:pt x="167" y="110"/>
                  </a:lnTo>
                  <a:lnTo>
                    <a:pt x="190" y="96"/>
                  </a:lnTo>
                  <a:lnTo>
                    <a:pt x="210" y="101"/>
                  </a:lnTo>
                  <a:lnTo>
                    <a:pt x="233" y="93"/>
                  </a:lnTo>
                  <a:lnTo>
                    <a:pt x="223" y="91"/>
                  </a:lnTo>
                  <a:lnTo>
                    <a:pt x="219" y="73"/>
                  </a:lnTo>
                  <a:lnTo>
                    <a:pt x="256" y="5"/>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1" name="Freeform 27"/>
            <p:cNvSpPr>
              <a:spLocks/>
            </p:cNvSpPr>
            <p:nvPr/>
          </p:nvSpPr>
          <p:spPr bwMode="auto">
            <a:xfrm>
              <a:off x="5147210" y="1822736"/>
              <a:ext cx="102859" cy="83901"/>
            </a:xfrm>
            <a:custGeom>
              <a:avLst/>
              <a:gdLst>
                <a:gd name="T0" fmla="*/ 0 w 256"/>
                <a:gd name="T1" fmla="*/ 0 h 205"/>
                <a:gd name="T2" fmla="*/ 0 w 256"/>
                <a:gd name="T3" fmla="*/ 0 h 205"/>
                <a:gd name="T4" fmla="*/ 0 w 256"/>
                <a:gd name="T5" fmla="*/ 0 h 205"/>
                <a:gd name="T6" fmla="*/ 0 w 256"/>
                <a:gd name="T7" fmla="*/ 0 h 205"/>
                <a:gd name="T8" fmla="*/ 0 w 256"/>
                <a:gd name="T9" fmla="*/ 0 h 205"/>
                <a:gd name="T10" fmla="*/ 0 w 256"/>
                <a:gd name="T11" fmla="*/ 0 h 205"/>
                <a:gd name="T12" fmla="*/ 0 w 256"/>
                <a:gd name="T13" fmla="*/ 0 h 205"/>
                <a:gd name="T14" fmla="*/ 0 w 256"/>
                <a:gd name="T15" fmla="*/ 0 h 205"/>
                <a:gd name="T16" fmla="*/ 0 w 256"/>
                <a:gd name="T17" fmla="*/ 0 h 205"/>
                <a:gd name="T18" fmla="*/ 0 w 256"/>
                <a:gd name="T19" fmla="*/ 0 h 205"/>
                <a:gd name="T20" fmla="*/ 0 w 256"/>
                <a:gd name="T21" fmla="*/ 0 h 205"/>
                <a:gd name="T22" fmla="*/ 0 w 256"/>
                <a:gd name="T23" fmla="*/ 0 h 205"/>
                <a:gd name="T24" fmla="*/ 0 w 256"/>
                <a:gd name="T25" fmla="*/ 0 h 205"/>
                <a:gd name="T26" fmla="*/ 0 w 256"/>
                <a:gd name="T27" fmla="*/ 0 h 205"/>
                <a:gd name="T28" fmla="*/ 0 w 256"/>
                <a:gd name="T29" fmla="*/ 0 h 205"/>
                <a:gd name="T30" fmla="*/ 0 w 256"/>
                <a:gd name="T31" fmla="*/ 0 h 205"/>
                <a:gd name="T32" fmla="*/ 0 w 256"/>
                <a:gd name="T33" fmla="*/ 0 h 205"/>
                <a:gd name="T34" fmla="*/ 0 w 256"/>
                <a:gd name="T35" fmla="*/ 0 h 205"/>
                <a:gd name="T36" fmla="*/ 0 w 256"/>
                <a:gd name="T37" fmla="*/ 0 h 205"/>
                <a:gd name="T38" fmla="*/ 0 w 256"/>
                <a:gd name="T39" fmla="*/ 0 h 205"/>
                <a:gd name="T40" fmla="*/ 0 w 256"/>
                <a:gd name="T41" fmla="*/ 0 h 205"/>
                <a:gd name="T42" fmla="*/ 0 w 256"/>
                <a:gd name="T43" fmla="*/ 0 h 205"/>
                <a:gd name="T44" fmla="*/ 0 w 256"/>
                <a:gd name="T45" fmla="*/ 0 h 205"/>
                <a:gd name="T46" fmla="*/ 0 w 256"/>
                <a:gd name="T47" fmla="*/ 0 h 205"/>
                <a:gd name="T48" fmla="*/ 0 w 256"/>
                <a:gd name="T49" fmla="*/ 0 h 205"/>
                <a:gd name="T50" fmla="*/ 0 w 256"/>
                <a:gd name="T51" fmla="*/ 0 h 205"/>
                <a:gd name="T52" fmla="*/ 0 w 256"/>
                <a:gd name="T53" fmla="*/ 0 h 205"/>
                <a:gd name="T54" fmla="*/ 0 w 256"/>
                <a:gd name="T55" fmla="*/ 0 h 20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56"/>
                <a:gd name="T85" fmla="*/ 0 h 205"/>
                <a:gd name="T86" fmla="*/ 256 w 256"/>
                <a:gd name="T87" fmla="*/ 205 h 20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56" h="205">
                  <a:moveTo>
                    <a:pt x="256" y="5"/>
                  </a:moveTo>
                  <a:lnTo>
                    <a:pt x="233" y="0"/>
                  </a:lnTo>
                  <a:lnTo>
                    <a:pt x="119" y="29"/>
                  </a:lnTo>
                  <a:lnTo>
                    <a:pt x="113" y="44"/>
                  </a:lnTo>
                  <a:lnTo>
                    <a:pt x="112" y="65"/>
                  </a:lnTo>
                  <a:lnTo>
                    <a:pt x="88" y="64"/>
                  </a:lnTo>
                  <a:lnTo>
                    <a:pt x="69" y="36"/>
                  </a:lnTo>
                  <a:lnTo>
                    <a:pt x="45" y="66"/>
                  </a:lnTo>
                  <a:lnTo>
                    <a:pt x="25" y="115"/>
                  </a:lnTo>
                  <a:lnTo>
                    <a:pt x="33" y="157"/>
                  </a:lnTo>
                  <a:lnTo>
                    <a:pt x="9" y="171"/>
                  </a:lnTo>
                  <a:lnTo>
                    <a:pt x="3" y="181"/>
                  </a:lnTo>
                  <a:lnTo>
                    <a:pt x="0" y="205"/>
                  </a:lnTo>
                  <a:lnTo>
                    <a:pt x="45" y="201"/>
                  </a:lnTo>
                  <a:lnTo>
                    <a:pt x="55" y="182"/>
                  </a:lnTo>
                  <a:lnTo>
                    <a:pt x="74" y="179"/>
                  </a:lnTo>
                  <a:lnTo>
                    <a:pt x="95" y="165"/>
                  </a:lnTo>
                  <a:lnTo>
                    <a:pt x="118" y="175"/>
                  </a:lnTo>
                  <a:lnTo>
                    <a:pt x="155" y="163"/>
                  </a:lnTo>
                  <a:lnTo>
                    <a:pt x="170" y="138"/>
                  </a:lnTo>
                  <a:lnTo>
                    <a:pt x="159" y="131"/>
                  </a:lnTo>
                  <a:lnTo>
                    <a:pt x="167" y="110"/>
                  </a:lnTo>
                  <a:lnTo>
                    <a:pt x="190" y="96"/>
                  </a:lnTo>
                  <a:lnTo>
                    <a:pt x="210" y="101"/>
                  </a:lnTo>
                  <a:lnTo>
                    <a:pt x="233" y="93"/>
                  </a:lnTo>
                  <a:lnTo>
                    <a:pt x="223" y="91"/>
                  </a:lnTo>
                  <a:lnTo>
                    <a:pt x="219" y="73"/>
                  </a:lnTo>
                  <a:lnTo>
                    <a:pt x="256" y="5"/>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2" name="Freeform 28"/>
            <p:cNvSpPr>
              <a:spLocks/>
            </p:cNvSpPr>
            <p:nvPr/>
          </p:nvSpPr>
          <p:spPr bwMode="auto">
            <a:xfrm>
              <a:off x="5098929" y="1908735"/>
              <a:ext cx="35686" cy="27268"/>
            </a:xfrm>
            <a:custGeom>
              <a:avLst/>
              <a:gdLst>
                <a:gd name="T0" fmla="*/ 0 w 92"/>
                <a:gd name="T1" fmla="*/ 0 h 65"/>
                <a:gd name="T2" fmla="*/ 0 w 92"/>
                <a:gd name="T3" fmla="*/ 0 h 65"/>
                <a:gd name="T4" fmla="*/ 0 w 92"/>
                <a:gd name="T5" fmla="*/ 0 h 65"/>
                <a:gd name="T6" fmla="*/ 0 w 92"/>
                <a:gd name="T7" fmla="*/ 0 h 65"/>
                <a:gd name="T8" fmla="*/ 0 w 92"/>
                <a:gd name="T9" fmla="*/ 0 h 65"/>
                <a:gd name="T10" fmla="*/ 0 w 92"/>
                <a:gd name="T11" fmla="*/ 0 h 65"/>
                <a:gd name="T12" fmla="*/ 0 w 92"/>
                <a:gd name="T13" fmla="*/ 0 h 65"/>
                <a:gd name="T14" fmla="*/ 0 w 92"/>
                <a:gd name="T15" fmla="*/ 0 h 65"/>
                <a:gd name="T16" fmla="*/ 0 60000 65536"/>
                <a:gd name="T17" fmla="*/ 0 60000 65536"/>
                <a:gd name="T18" fmla="*/ 0 60000 65536"/>
                <a:gd name="T19" fmla="*/ 0 60000 65536"/>
                <a:gd name="T20" fmla="*/ 0 60000 65536"/>
                <a:gd name="T21" fmla="*/ 0 60000 65536"/>
                <a:gd name="T22" fmla="*/ 0 60000 65536"/>
                <a:gd name="T23" fmla="*/ 0 60000 65536"/>
                <a:gd name="T24" fmla="*/ 0 w 92"/>
                <a:gd name="T25" fmla="*/ 0 h 65"/>
                <a:gd name="T26" fmla="*/ 92 w 92"/>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2" h="65">
                  <a:moveTo>
                    <a:pt x="78" y="33"/>
                  </a:moveTo>
                  <a:lnTo>
                    <a:pt x="92" y="30"/>
                  </a:lnTo>
                  <a:lnTo>
                    <a:pt x="73" y="15"/>
                  </a:lnTo>
                  <a:lnTo>
                    <a:pt x="8" y="0"/>
                  </a:lnTo>
                  <a:lnTo>
                    <a:pt x="0" y="11"/>
                  </a:lnTo>
                  <a:lnTo>
                    <a:pt x="21" y="48"/>
                  </a:lnTo>
                  <a:lnTo>
                    <a:pt x="57" y="65"/>
                  </a:lnTo>
                  <a:lnTo>
                    <a:pt x="78" y="3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3" name="Freeform 29"/>
            <p:cNvSpPr>
              <a:spLocks/>
            </p:cNvSpPr>
            <p:nvPr/>
          </p:nvSpPr>
          <p:spPr bwMode="auto">
            <a:xfrm>
              <a:off x="5098929" y="1908735"/>
              <a:ext cx="35686" cy="27268"/>
            </a:xfrm>
            <a:custGeom>
              <a:avLst/>
              <a:gdLst>
                <a:gd name="T0" fmla="*/ 0 w 92"/>
                <a:gd name="T1" fmla="*/ 0 h 65"/>
                <a:gd name="T2" fmla="*/ 0 w 92"/>
                <a:gd name="T3" fmla="*/ 0 h 65"/>
                <a:gd name="T4" fmla="*/ 0 w 92"/>
                <a:gd name="T5" fmla="*/ 0 h 65"/>
                <a:gd name="T6" fmla="*/ 0 w 92"/>
                <a:gd name="T7" fmla="*/ 0 h 65"/>
                <a:gd name="T8" fmla="*/ 0 w 92"/>
                <a:gd name="T9" fmla="*/ 0 h 65"/>
                <a:gd name="T10" fmla="*/ 0 w 92"/>
                <a:gd name="T11" fmla="*/ 0 h 65"/>
                <a:gd name="T12" fmla="*/ 0 w 92"/>
                <a:gd name="T13" fmla="*/ 0 h 65"/>
                <a:gd name="T14" fmla="*/ 0 w 92"/>
                <a:gd name="T15" fmla="*/ 0 h 65"/>
                <a:gd name="T16" fmla="*/ 0 60000 65536"/>
                <a:gd name="T17" fmla="*/ 0 60000 65536"/>
                <a:gd name="T18" fmla="*/ 0 60000 65536"/>
                <a:gd name="T19" fmla="*/ 0 60000 65536"/>
                <a:gd name="T20" fmla="*/ 0 60000 65536"/>
                <a:gd name="T21" fmla="*/ 0 60000 65536"/>
                <a:gd name="T22" fmla="*/ 0 60000 65536"/>
                <a:gd name="T23" fmla="*/ 0 60000 65536"/>
                <a:gd name="T24" fmla="*/ 0 w 92"/>
                <a:gd name="T25" fmla="*/ 0 h 65"/>
                <a:gd name="T26" fmla="*/ 92 w 92"/>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2" h="65">
                  <a:moveTo>
                    <a:pt x="78" y="33"/>
                  </a:moveTo>
                  <a:lnTo>
                    <a:pt x="92" y="30"/>
                  </a:lnTo>
                  <a:lnTo>
                    <a:pt x="73" y="15"/>
                  </a:lnTo>
                  <a:lnTo>
                    <a:pt x="8" y="0"/>
                  </a:lnTo>
                  <a:lnTo>
                    <a:pt x="0" y="11"/>
                  </a:lnTo>
                  <a:lnTo>
                    <a:pt x="21" y="48"/>
                  </a:lnTo>
                  <a:lnTo>
                    <a:pt x="57" y="65"/>
                  </a:lnTo>
                  <a:lnTo>
                    <a:pt x="78" y="33"/>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4" name="Freeform 30"/>
            <p:cNvSpPr>
              <a:spLocks/>
            </p:cNvSpPr>
            <p:nvPr/>
          </p:nvSpPr>
          <p:spPr bwMode="auto">
            <a:xfrm>
              <a:off x="5510366" y="1801761"/>
              <a:ext cx="48281" cy="48243"/>
            </a:xfrm>
            <a:custGeom>
              <a:avLst/>
              <a:gdLst>
                <a:gd name="T0" fmla="*/ 0 w 117"/>
                <a:gd name="T1" fmla="*/ 0 h 119"/>
                <a:gd name="T2" fmla="*/ 0 w 117"/>
                <a:gd name="T3" fmla="*/ 0 h 119"/>
                <a:gd name="T4" fmla="*/ 0 w 117"/>
                <a:gd name="T5" fmla="*/ 0 h 119"/>
                <a:gd name="T6" fmla="*/ 0 w 117"/>
                <a:gd name="T7" fmla="*/ 0 h 119"/>
                <a:gd name="T8" fmla="*/ 0 w 117"/>
                <a:gd name="T9" fmla="*/ 0 h 119"/>
                <a:gd name="T10" fmla="*/ 0 w 117"/>
                <a:gd name="T11" fmla="*/ 0 h 119"/>
                <a:gd name="T12" fmla="*/ 0 w 117"/>
                <a:gd name="T13" fmla="*/ 0 h 119"/>
                <a:gd name="T14" fmla="*/ 0 w 117"/>
                <a:gd name="T15" fmla="*/ 0 h 119"/>
                <a:gd name="T16" fmla="*/ 0 w 117"/>
                <a:gd name="T17" fmla="*/ 0 h 119"/>
                <a:gd name="T18" fmla="*/ 0 w 117"/>
                <a:gd name="T19" fmla="*/ 0 h 119"/>
                <a:gd name="T20" fmla="*/ 0 w 117"/>
                <a:gd name="T21" fmla="*/ 0 h 119"/>
                <a:gd name="T22" fmla="*/ 0 w 117"/>
                <a:gd name="T23" fmla="*/ 0 h 1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7"/>
                <a:gd name="T37" fmla="*/ 0 h 119"/>
                <a:gd name="T38" fmla="*/ 117 w 117"/>
                <a:gd name="T39" fmla="*/ 119 h 1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7" h="119">
                  <a:moveTo>
                    <a:pt x="110" y="116"/>
                  </a:moveTo>
                  <a:lnTo>
                    <a:pt x="117" y="109"/>
                  </a:lnTo>
                  <a:lnTo>
                    <a:pt x="110" y="94"/>
                  </a:lnTo>
                  <a:lnTo>
                    <a:pt x="51" y="72"/>
                  </a:lnTo>
                  <a:lnTo>
                    <a:pt x="54" y="36"/>
                  </a:lnTo>
                  <a:lnTo>
                    <a:pt x="43" y="4"/>
                  </a:lnTo>
                  <a:lnTo>
                    <a:pt x="28" y="0"/>
                  </a:lnTo>
                  <a:lnTo>
                    <a:pt x="0" y="60"/>
                  </a:lnTo>
                  <a:lnTo>
                    <a:pt x="15" y="80"/>
                  </a:lnTo>
                  <a:lnTo>
                    <a:pt x="64" y="94"/>
                  </a:lnTo>
                  <a:lnTo>
                    <a:pt x="96" y="119"/>
                  </a:lnTo>
                  <a:lnTo>
                    <a:pt x="110" y="11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5" name="Freeform 31"/>
            <p:cNvSpPr>
              <a:spLocks/>
            </p:cNvSpPr>
            <p:nvPr/>
          </p:nvSpPr>
          <p:spPr bwMode="auto">
            <a:xfrm>
              <a:off x="5510366" y="1801761"/>
              <a:ext cx="48281" cy="48243"/>
            </a:xfrm>
            <a:custGeom>
              <a:avLst/>
              <a:gdLst>
                <a:gd name="T0" fmla="*/ 0 w 117"/>
                <a:gd name="T1" fmla="*/ 0 h 119"/>
                <a:gd name="T2" fmla="*/ 0 w 117"/>
                <a:gd name="T3" fmla="*/ 0 h 119"/>
                <a:gd name="T4" fmla="*/ 0 w 117"/>
                <a:gd name="T5" fmla="*/ 0 h 119"/>
                <a:gd name="T6" fmla="*/ 0 w 117"/>
                <a:gd name="T7" fmla="*/ 0 h 119"/>
                <a:gd name="T8" fmla="*/ 0 w 117"/>
                <a:gd name="T9" fmla="*/ 0 h 119"/>
                <a:gd name="T10" fmla="*/ 0 w 117"/>
                <a:gd name="T11" fmla="*/ 0 h 119"/>
                <a:gd name="T12" fmla="*/ 0 w 117"/>
                <a:gd name="T13" fmla="*/ 0 h 119"/>
                <a:gd name="T14" fmla="*/ 0 w 117"/>
                <a:gd name="T15" fmla="*/ 0 h 119"/>
                <a:gd name="T16" fmla="*/ 0 w 117"/>
                <a:gd name="T17" fmla="*/ 0 h 119"/>
                <a:gd name="T18" fmla="*/ 0 w 117"/>
                <a:gd name="T19" fmla="*/ 0 h 119"/>
                <a:gd name="T20" fmla="*/ 0 w 117"/>
                <a:gd name="T21" fmla="*/ 0 h 119"/>
                <a:gd name="T22" fmla="*/ 0 w 117"/>
                <a:gd name="T23" fmla="*/ 0 h 1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7"/>
                <a:gd name="T37" fmla="*/ 0 h 119"/>
                <a:gd name="T38" fmla="*/ 117 w 117"/>
                <a:gd name="T39" fmla="*/ 119 h 1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7" h="119">
                  <a:moveTo>
                    <a:pt x="110" y="116"/>
                  </a:moveTo>
                  <a:lnTo>
                    <a:pt x="117" y="109"/>
                  </a:lnTo>
                  <a:lnTo>
                    <a:pt x="110" y="94"/>
                  </a:lnTo>
                  <a:lnTo>
                    <a:pt x="51" y="72"/>
                  </a:lnTo>
                  <a:lnTo>
                    <a:pt x="54" y="36"/>
                  </a:lnTo>
                  <a:lnTo>
                    <a:pt x="43" y="4"/>
                  </a:lnTo>
                  <a:lnTo>
                    <a:pt x="28" y="0"/>
                  </a:lnTo>
                  <a:lnTo>
                    <a:pt x="0" y="60"/>
                  </a:lnTo>
                  <a:lnTo>
                    <a:pt x="15" y="80"/>
                  </a:lnTo>
                  <a:lnTo>
                    <a:pt x="64" y="94"/>
                  </a:lnTo>
                  <a:lnTo>
                    <a:pt x="96" y="119"/>
                  </a:lnTo>
                  <a:lnTo>
                    <a:pt x="110" y="116"/>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6" name="Freeform 32"/>
            <p:cNvSpPr>
              <a:spLocks/>
            </p:cNvSpPr>
            <p:nvPr/>
          </p:nvSpPr>
          <p:spPr bwMode="auto">
            <a:xfrm>
              <a:off x="5497771" y="1835322"/>
              <a:ext cx="16793" cy="16780"/>
            </a:xfrm>
            <a:custGeom>
              <a:avLst/>
              <a:gdLst>
                <a:gd name="T0" fmla="*/ 0 w 43"/>
                <a:gd name="T1" fmla="*/ 0 h 41"/>
                <a:gd name="T2" fmla="*/ 0 w 43"/>
                <a:gd name="T3" fmla="*/ 0 h 41"/>
                <a:gd name="T4" fmla="*/ 0 w 43"/>
                <a:gd name="T5" fmla="*/ 0 h 41"/>
                <a:gd name="T6" fmla="*/ 0 w 43"/>
                <a:gd name="T7" fmla="*/ 0 h 41"/>
                <a:gd name="T8" fmla="*/ 0 w 43"/>
                <a:gd name="T9" fmla="*/ 0 h 41"/>
                <a:gd name="T10" fmla="*/ 0 w 43"/>
                <a:gd name="T11" fmla="*/ 0 h 41"/>
                <a:gd name="T12" fmla="*/ 0 w 43"/>
                <a:gd name="T13" fmla="*/ 0 h 41"/>
                <a:gd name="T14" fmla="*/ 0 w 43"/>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41"/>
                <a:gd name="T26" fmla="*/ 43 w 43"/>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41">
                  <a:moveTo>
                    <a:pt x="37" y="41"/>
                  </a:moveTo>
                  <a:lnTo>
                    <a:pt x="43" y="29"/>
                  </a:lnTo>
                  <a:lnTo>
                    <a:pt x="37" y="13"/>
                  </a:lnTo>
                  <a:lnTo>
                    <a:pt x="25" y="0"/>
                  </a:lnTo>
                  <a:lnTo>
                    <a:pt x="11" y="0"/>
                  </a:lnTo>
                  <a:lnTo>
                    <a:pt x="0" y="20"/>
                  </a:lnTo>
                  <a:lnTo>
                    <a:pt x="8" y="40"/>
                  </a:lnTo>
                  <a:lnTo>
                    <a:pt x="37" y="4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7" name="Freeform 33"/>
            <p:cNvSpPr>
              <a:spLocks/>
            </p:cNvSpPr>
            <p:nvPr/>
          </p:nvSpPr>
          <p:spPr bwMode="auto">
            <a:xfrm>
              <a:off x="5497771" y="1835322"/>
              <a:ext cx="16793" cy="16780"/>
            </a:xfrm>
            <a:custGeom>
              <a:avLst/>
              <a:gdLst>
                <a:gd name="T0" fmla="*/ 0 w 43"/>
                <a:gd name="T1" fmla="*/ 0 h 41"/>
                <a:gd name="T2" fmla="*/ 0 w 43"/>
                <a:gd name="T3" fmla="*/ 0 h 41"/>
                <a:gd name="T4" fmla="*/ 0 w 43"/>
                <a:gd name="T5" fmla="*/ 0 h 41"/>
                <a:gd name="T6" fmla="*/ 0 w 43"/>
                <a:gd name="T7" fmla="*/ 0 h 41"/>
                <a:gd name="T8" fmla="*/ 0 w 43"/>
                <a:gd name="T9" fmla="*/ 0 h 41"/>
                <a:gd name="T10" fmla="*/ 0 w 43"/>
                <a:gd name="T11" fmla="*/ 0 h 41"/>
                <a:gd name="T12" fmla="*/ 0 w 43"/>
                <a:gd name="T13" fmla="*/ 0 h 41"/>
                <a:gd name="T14" fmla="*/ 0 w 43"/>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41"/>
                <a:gd name="T26" fmla="*/ 43 w 43"/>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41">
                  <a:moveTo>
                    <a:pt x="37" y="41"/>
                  </a:moveTo>
                  <a:lnTo>
                    <a:pt x="43" y="29"/>
                  </a:lnTo>
                  <a:lnTo>
                    <a:pt x="37" y="13"/>
                  </a:lnTo>
                  <a:lnTo>
                    <a:pt x="25" y="0"/>
                  </a:lnTo>
                  <a:lnTo>
                    <a:pt x="11" y="0"/>
                  </a:lnTo>
                  <a:lnTo>
                    <a:pt x="0" y="20"/>
                  </a:lnTo>
                  <a:lnTo>
                    <a:pt x="8" y="40"/>
                  </a:lnTo>
                  <a:lnTo>
                    <a:pt x="37" y="4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8" name="Freeform 34"/>
            <p:cNvSpPr>
              <a:spLocks/>
            </p:cNvSpPr>
            <p:nvPr/>
          </p:nvSpPr>
          <p:spPr bwMode="auto">
            <a:xfrm>
              <a:off x="4823938" y="1850004"/>
              <a:ext cx="824973" cy="1336126"/>
            </a:xfrm>
            <a:custGeom>
              <a:avLst/>
              <a:gdLst>
                <a:gd name="T0" fmla="*/ 0 w 2029"/>
                <a:gd name="T1" fmla="*/ 0 h 3296"/>
                <a:gd name="T2" fmla="*/ 0 w 2029"/>
                <a:gd name="T3" fmla="*/ 0 h 3296"/>
                <a:gd name="T4" fmla="*/ 0 w 2029"/>
                <a:gd name="T5" fmla="*/ 0 h 3296"/>
                <a:gd name="T6" fmla="*/ 0 w 2029"/>
                <a:gd name="T7" fmla="*/ 0 h 3296"/>
                <a:gd name="T8" fmla="*/ 0 w 2029"/>
                <a:gd name="T9" fmla="*/ 0 h 3296"/>
                <a:gd name="T10" fmla="*/ 0 w 2029"/>
                <a:gd name="T11" fmla="*/ 0 h 3296"/>
                <a:gd name="T12" fmla="*/ 0 w 2029"/>
                <a:gd name="T13" fmla="*/ 0 h 3296"/>
                <a:gd name="T14" fmla="*/ 0 w 2029"/>
                <a:gd name="T15" fmla="*/ 0 h 3296"/>
                <a:gd name="T16" fmla="*/ 0 w 2029"/>
                <a:gd name="T17" fmla="*/ 0 h 3296"/>
                <a:gd name="T18" fmla="*/ 0 w 2029"/>
                <a:gd name="T19" fmla="*/ 0 h 3296"/>
                <a:gd name="T20" fmla="*/ 0 w 2029"/>
                <a:gd name="T21" fmla="*/ 0 h 3296"/>
                <a:gd name="T22" fmla="*/ 0 w 2029"/>
                <a:gd name="T23" fmla="*/ 0 h 3296"/>
                <a:gd name="T24" fmla="*/ 0 w 2029"/>
                <a:gd name="T25" fmla="*/ 0 h 3296"/>
                <a:gd name="T26" fmla="*/ 0 w 2029"/>
                <a:gd name="T27" fmla="*/ 0 h 3296"/>
                <a:gd name="T28" fmla="*/ 0 w 2029"/>
                <a:gd name="T29" fmla="*/ 0 h 3296"/>
                <a:gd name="T30" fmla="*/ 0 w 2029"/>
                <a:gd name="T31" fmla="*/ 0 h 3296"/>
                <a:gd name="T32" fmla="*/ 0 w 2029"/>
                <a:gd name="T33" fmla="*/ 0 h 3296"/>
                <a:gd name="T34" fmla="*/ 0 w 2029"/>
                <a:gd name="T35" fmla="*/ 0 h 3296"/>
                <a:gd name="T36" fmla="*/ 0 w 2029"/>
                <a:gd name="T37" fmla="*/ 0 h 3296"/>
                <a:gd name="T38" fmla="*/ 0 w 2029"/>
                <a:gd name="T39" fmla="*/ 0 h 3296"/>
                <a:gd name="T40" fmla="*/ 0 w 2029"/>
                <a:gd name="T41" fmla="*/ 0 h 3296"/>
                <a:gd name="T42" fmla="*/ 0 w 2029"/>
                <a:gd name="T43" fmla="*/ 0 h 3296"/>
                <a:gd name="T44" fmla="*/ 0 w 2029"/>
                <a:gd name="T45" fmla="*/ 0 h 3296"/>
                <a:gd name="T46" fmla="*/ 0 w 2029"/>
                <a:gd name="T47" fmla="*/ 0 h 3296"/>
                <a:gd name="T48" fmla="*/ 0 w 2029"/>
                <a:gd name="T49" fmla="*/ 0 h 3296"/>
                <a:gd name="T50" fmla="*/ 0 w 2029"/>
                <a:gd name="T51" fmla="*/ 0 h 3296"/>
                <a:gd name="T52" fmla="*/ 0 w 2029"/>
                <a:gd name="T53" fmla="*/ 0 h 3296"/>
                <a:gd name="T54" fmla="*/ 0 w 2029"/>
                <a:gd name="T55" fmla="*/ 0 h 3296"/>
                <a:gd name="T56" fmla="*/ 0 w 2029"/>
                <a:gd name="T57" fmla="*/ 0 h 3296"/>
                <a:gd name="T58" fmla="*/ 0 w 2029"/>
                <a:gd name="T59" fmla="*/ 0 h 3296"/>
                <a:gd name="T60" fmla="*/ 0 w 2029"/>
                <a:gd name="T61" fmla="*/ 0 h 3296"/>
                <a:gd name="T62" fmla="*/ 0 w 2029"/>
                <a:gd name="T63" fmla="*/ 0 h 3296"/>
                <a:gd name="T64" fmla="*/ 0 w 2029"/>
                <a:gd name="T65" fmla="*/ 0 h 3296"/>
                <a:gd name="T66" fmla="*/ 0 w 2029"/>
                <a:gd name="T67" fmla="*/ 0 h 3296"/>
                <a:gd name="T68" fmla="*/ 0 w 2029"/>
                <a:gd name="T69" fmla="*/ 0 h 3296"/>
                <a:gd name="T70" fmla="*/ 0 w 2029"/>
                <a:gd name="T71" fmla="*/ 0 h 3296"/>
                <a:gd name="T72" fmla="*/ 0 w 2029"/>
                <a:gd name="T73" fmla="*/ 0 h 3296"/>
                <a:gd name="T74" fmla="*/ 0 w 2029"/>
                <a:gd name="T75" fmla="*/ 0 h 3296"/>
                <a:gd name="T76" fmla="*/ 0 w 2029"/>
                <a:gd name="T77" fmla="*/ 0 h 3296"/>
                <a:gd name="T78" fmla="*/ 0 w 2029"/>
                <a:gd name="T79" fmla="*/ 0 h 3296"/>
                <a:gd name="T80" fmla="*/ 0 w 2029"/>
                <a:gd name="T81" fmla="*/ 0 h 3296"/>
                <a:gd name="T82" fmla="*/ 0 w 2029"/>
                <a:gd name="T83" fmla="*/ 0 h 3296"/>
                <a:gd name="T84" fmla="*/ 0 w 2029"/>
                <a:gd name="T85" fmla="*/ 0 h 3296"/>
                <a:gd name="T86" fmla="*/ 0 w 2029"/>
                <a:gd name="T87" fmla="*/ 0 h 3296"/>
                <a:gd name="T88" fmla="*/ 0 w 2029"/>
                <a:gd name="T89" fmla="*/ 0 h 3296"/>
                <a:gd name="T90" fmla="*/ 0 w 2029"/>
                <a:gd name="T91" fmla="*/ 0 h 3296"/>
                <a:gd name="T92" fmla="*/ 0 w 2029"/>
                <a:gd name="T93" fmla="*/ 0 h 3296"/>
                <a:gd name="T94" fmla="*/ 0 w 2029"/>
                <a:gd name="T95" fmla="*/ 0 h 3296"/>
                <a:gd name="T96" fmla="*/ 0 w 2029"/>
                <a:gd name="T97" fmla="*/ 0 h 3296"/>
                <a:gd name="T98" fmla="*/ 0 w 2029"/>
                <a:gd name="T99" fmla="*/ 0 h 3296"/>
                <a:gd name="T100" fmla="*/ 0 w 2029"/>
                <a:gd name="T101" fmla="*/ 0 h 3296"/>
                <a:gd name="T102" fmla="*/ 0 w 2029"/>
                <a:gd name="T103" fmla="*/ 0 h 3296"/>
                <a:gd name="T104" fmla="*/ 0 w 2029"/>
                <a:gd name="T105" fmla="*/ 0 h 3296"/>
                <a:gd name="T106" fmla="*/ 0 w 2029"/>
                <a:gd name="T107" fmla="*/ 0 h 3296"/>
                <a:gd name="T108" fmla="*/ 0 w 2029"/>
                <a:gd name="T109" fmla="*/ 0 h 32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29"/>
                <a:gd name="T166" fmla="*/ 0 h 3296"/>
                <a:gd name="T167" fmla="*/ 2029 w 2029"/>
                <a:gd name="T168" fmla="*/ 3296 h 32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29" h="3296">
                  <a:moveTo>
                    <a:pt x="812" y="3208"/>
                  </a:moveTo>
                  <a:lnTo>
                    <a:pt x="816" y="3211"/>
                  </a:lnTo>
                  <a:lnTo>
                    <a:pt x="837" y="3192"/>
                  </a:lnTo>
                  <a:lnTo>
                    <a:pt x="881" y="3193"/>
                  </a:lnTo>
                  <a:lnTo>
                    <a:pt x="921" y="3221"/>
                  </a:lnTo>
                  <a:lnTo>
                    <a:pt x="948" y="3217"/>
                  </a:lnTo>
                  <a:lnTo>
                    <a:pt x="944" y="3181"/>
                  </a:lnTo>
                  <a:lnTo>
                    <a:pt x="1057" y="3213"/>
                  </a:lnTo>
                  <a:lnTo>
                    <a:pt x="1074" y="3203"/>
                  </a:lnTo>
                  <a:lnTo>
                    <a:pt x="1107" y="3198"/>
                  </a:lnTo>
                  <a:lnTo>
                    <a:pt x="1125" y="3155"/>
                  </a:lnTo>
                  <a:lnTo>
                    <a:pt x="1146" y="3184"/>
                  </a:lnTo>
                  <a:lnTo>
                    <a:pt x="1172" y="3200"/>
                  </a:lnTo>
                  <a:lnTo>
                    <a:pt x="1212" y="3202"/>
                  </a:lnTo>
                  <a:lnTo>
                    <a:pt x="1218" y="3222"/>
                  </a:lnTo>
                  <a:lnTo>
                    <a:pt x="1236" y="3247"/>
                  </a:lnTo>
                  <a:lnTo>
                    <a:pt x="1410" y="3268"/>
                  </a:lnTo>
                  <a:lnTo>
                    <a:pt x="1457" y="3296"/>
                  </a:lnTo>
                  <a:lnTo>
                    <a:pt x="1687" y="3290"/>
                  </a:lnTo>
                  <a:lnTo>
                    <a:pt x="1696" y="3276"/>
                  </a:lnTo>
                  <a:lnTo>
                    <a:pt x="1809" y="3231"/>
                  </a:lnTo>
                  <a:lnTo>
                    <a:pt x="1833" y="3186"/>
                  </a:lnTo>
                  <a:lnTo>
                    <a:pt x="1826" y="3165"/>
                  </a:lnTo>
                  <a:lnTo>
                    <a:pt x="1667" y="3121"/>
                  </a:lnTo>
                  <a:lnTo>
                    <a:pt x="1672" y="3079"/>
                  </a:lnTo>
                  <a:lnTo>
                    <a:pt x="1660" y="3047"/>
                  </a:lnTo>
                  <a:lnTo>
                    <a:pt x="1709" y="3043"/>
                  </a:lnTo>
                  <a:lnTo>
                    <a:pt x="1723" y="3023"/>
                  </a:lnTo>
                  <a:lnTo>
                    <a:pt x="1750" y="3003"/>
                  </a:lnTo>
                  <a:lnTo>
                    <a:pt x="1743" y="2989"/>
                  </a:lnTo>
                  <a:lnTo>
                    <a:pt x="1723" y="2972"/>
                  </a:lnTo>
                  <a:lnTo>
                    <a:pt x="1786" y="2957"/>
                  </a:lnTo>
                  <a:lnTo>
                    <a:pt x="1803" y="2975"/>
                  </a:lnTo>
                  <a:lnTo>
                    <a:pt x="1840" y="2974"/>
                  </a:lnTo>
                  <a:lnTo>
                    <a:pt x="1854" y="2950"/>
                  </a:lnTo>
                  <a:lnTo>
                    <a:pt x="1857" y="2909"/>
                  </a:lnTo>
                  <a:lnTo>
                    <a:pt x="1876" y="2916"/>
                  </a:lnTo>
                  <a:lnTo>
                    <a:pt x="1911" y="2908"/>
                  </a:lnTo>
                  <a:lnTo>
                    <a:pt x="1955" y="2875"/>
                  </a:lnTo>
                  <a:lnTo>
                    <a:pt x="2025" y="2727"/>
                  </a:lnTo>
                  <a:lnTo>
                    <a:pt x="2029" y="2654"/>
                  </a:lnTo>
                  <a:lnTo>
                    <a:pt x="2005" y="2590"/>
                  </a:lnTo>
                  <a:lnTo>
                    <a:pt x="1941" y="2529"/>
                  </a:lnTo>
                  <a:lnTo>
                    <a:pt x="1789" y="2506"/>
                  </a:lnTo>
                  <a:lnTo>
                    <a:pt x="1731" y="2553"/>
                  </a:lnTo>
                  <a:lnTo>
                    <a:pt x="1718" y="2531"/>
                  </a:lnTo>
                  <a:lnTo>
                    <a:pt x="1662" y="2503"/>
                  </a:lnTo>
                  <a:lnTo>
                    <a:pt x="1689" y="2467"/>
                  </a:lnTo>
                  <a:lnTo>
                    <a:pt x="1756" y="2420"/>
                  </a:lnTo>
                  <a:lnTo>
                    <a:pt x="1774" y="2397"/>
                  </a:lnTo>
                  <a:lnTo>
                    <a:pt x="1786" y="2357"/>
                  </a:lnTo>
                  <a:lnTo>
                    <a:pt x="1735" y="2235"/>
                  </a:lnTo>
                  <a:lnTo>
                    <a:pt x="1716" y="2216"/>
                  </a:lnTo>
                  <a:lnTo>
                    <a:pt x="1675" y="2144"/>
                  </a:lnTo>
                  <a:lnTo>
                    <a:pt x="1694" y="2140"/>
                  </a:lnTo>
                  <a:lnTo>
                    <a:pt x="1728" y="2195"/>
                  </a:lnTo>
                  <a:lnTo>
                    <a:pt x="1779" y="2216"/>
                  </a:lnTo>
                  <a:lnTo>
                    <a:pt x="1781" y="2215"/>
                  </a:lnTo>
                  <a:lnTo>
                    <a:pt x="1789" y="2148"/>
                  </a:lnTo>
                  <a:lnTo>
                    <a:pt x="1702" y="1821"/>
                  </a:lnTo>
                  <a:lnTo>
                    <a:pt x="1610" y="1761"/>
                  </a:lnTo>
                  <a:lnTo>
                    <a:pt x="1599" y="1742"/>
                  </a:lnTo>
                  <a:lnTo>
                    <a:pt x="1577" y="1521"/>
                  </a:lnTo>
                  <a:lnTo>
                    <a:pt x="1609" y="1367"/>
                  </a:lnTo>
                  <a:lnTo>
                    <a:pt x="1555" y="1269"/>
                  </a:lnTo>
                  <a:lnTo>
                    <a:pt x="1544" y="1216"/>
                  </a:lnTo>
                  <a:lnTo>
                    <a:pt x="1454" y="1121"/>
                  </a:lnTo>
                  <a:lnTo>
                    <a:pt x="1435" y="1109"/>
                  </a:lnTo>
                  <a:lnTo>
                    <a:pt x="1362" y="1113"/>
                  </a:lnTo>
                  <a:lnTo>
                    <a:pt x="1308" y="1078"/>
                  </a:lnTo>
                  <a:lnTo>
                    <a:pt x="1308" y="1070"/>
                  </a:lnTo>
                  <a:lnTo>
                    <a:pt x="1328" y="1043"/>
                  </a:lnTo>
                  <a:lnTo>
                    <a:pt x="1359" y="1027"/>
                  </a:lnTo>
                  <a:lnTo>
                    <a:pt x="1435" y="1040"/>
                  </a:lnTo>
                  <a:lnTo>
                    <a:pt x="1474" y="1034"/>
                  </a:lnTo>
                  <a:lnTo>
                    <a:pt x="1452" y="966"/>
                  </a:lnTo>
                  <a:lnTo>
                    <a:pt x="1437" y="949"/>
                  </a:lnTo>
                  <a:lnTo>
                    <a:pt x="1437" y="927"/>
                  </a:lnTo>
                  <a:lnTo>
                    <a:pt x="1472" y="941"/>
                  </a:lnTo>
                  <a:lnTo>
                    <a:pt x="1501" y="932"/>
                  </a:lnTo>
                  <a:lnTo>
                    <a:pt x="1534" y="906"/>
                  </a:lnTo>
                  <a:lnTo>
                    <a:pt x="1552" y="877"/>
                  </a:lnTo>
                  <a:lnTo>
                    <a:pt x="1626" y="821"/>
                  </a:lnTo>
                  <a:lnTo>
                    <a:pt x="1706" y="690"/>
                  </a:lnTo>
                  <a:lnTo>
                    <a:pt x="1778" y="646"/>
                  </a:lnTo>
                  <a:lnTo>
                    <a:pt x="1801" y="574"/>
                  </a:lnTo>
                  <a:lnTo>
                    <a:pt x="1798" y="538"/>
                  </a:lnTo>
                  <a:lnTo>
                    <a:pt x="1562" y="459"/>
                  </a:lnTo>
                  <a:lnTo>
                    <a:pt x="1523" y="431"/>
                  </a:lnTo>
                  <a:lnTo>
                    <a:pt x="1373" y="432"/>
                  </a:lnTo>
                  <a:lnTo>
                    <a:pt x="1339" y="448"/>
                  </a:lnTo>
                  <a:lnTo>
                    <a:pt x="1327" y="429"/>
                  </a:lnTo>
                  <a:lnTo>
                    <a:pt x="1345" y="405"/>
                  </a:lnTo>
                  <a:lnTo>
                    <a:pt x="1350" y="393"/>
                  </a:lnTo>
                  <a:lnTo>
                    <a:pt x="1316" y="392"/>
                  </a:lnTo>
                  <a:lnTo>
                    <a:pt x="1322" y="375"/>
                  </a:lnTo>
                  <a:lnTo>
                    <a:pt x="1380" y="377"/>
                  </a:lnTo>
                  <a:lnTo>
                    <a:pt x="1425" y="355"/>
                  </a:lnTo>
                  <a:lnTo>
                    <a:pt x="1366" y="328"/>
                  </a:lnTo>
                  <a:lnTo>
                    <a:pt x="1384" y="300"/>
                  </a:lnTo>
                  <a:lnTo>
                    <a:pt x="1386" y="306"/>
                  </a:lnTo>
                  <a:lnTo>
                    <a:pt x="1437" y="275"/>
                  </a:lnTo>
                  <a:lnTo>
                    <a:pt x="1526" y="254"/>
                  </a:lnTo>
                  <a:lnTo>
                    <a:pt x="1573" y="211"/>
                  </a:lnTo>
                  <a:lnTo>
                    <a:pt x="1631" y="196"/>
                  </a:lnTo>
                  <a:lnTo>
                    <a:pt x="1675" y="107"/>
                  </a:lnTo>
                  <a:lnTo>
                    <a:pt x="1636" y="77"/>
                  </a:lnTo>
                  <a:lnTo>
                    <a:pt x="1423" y="50"/>
                  </a:lnTo>
                  <a:lnTo>
                    <a:pt x="1421" y="43"/>
                  </a:lnTo>
                  <a:lnTo>
                    <a:pt x="1357" y="2"/>
                  </a:lnTo>
                  <a:lnTo>
                    <a:pt x="1315" y="0"/>
                  </a:lnTo>
                  <a:lnTo>
                    <a:pt x="1255" y="49"/>
                  </a:lnTo>
                  <a:lnTo>
                    <a:pt x="1232" y="103"/>
                  </a:lnTo>
                  <a:lnTo>
                    <a:pt x="1190" y="92"/>
                  </a:lnTo>
                  <a:lnTo>
                    <a:pt x="1173" y="144"/>
                  </a:lnTo>
                  <a:lnTo>
                    <a:pt x="1148" y="146"/>
                  </a:lnTo>
                  <a:lnTo>
                    <a:pt x="1148" y="167"/>
                  </a:lnTo>
                  <a:lnTo>
                    <a:pt x="1166" y="208"/>
                  </a:lnTo>
                  <a:lnTo>
                    <a:pt x="1046" y="224"/>
                  </a:lnTo>
                  <a:lnTo>
                    <a:pt x="1020" y="301"/>
                  </a:lnTo>
                  <a:lnTo>
                    <a:pt x="1038" y="326"/>
                  </a:lnTo>
                  <a:lnTo>
                    <a:pt x="1029" y="329"/>
                  </a:lnTo>
                  <a:lnTo>
                    <a:pt x="1007" y="317"/>
                  </a:lnTo>
                  <a:lnTo>
                    <a:pt x="993" y="319"/>
                  </a:lnTo>
                  <a:lnTo>
                    <a:pt x="975" y="376"/>
                  </a:lnTo>
                  <a:lnTo>
                    <a:pt x="998" y="387"/>
                  </a:lnTo>
                  <a:lnTo>
                    <a:pt x="1042" y="394"/>
                  </a:lnTo>
                  <a:lnTo>
                    <a:pt x="1031" y="410"/>
                  </a:lnTo>
                  <a:lnTo>
                    <a:pt x="1007" y="414"/>
                  </a:lnTo>
                  <a:lnTo>
                    <a:pt x="1027" y="429"/>
                  </a:lnTo>
                  <a:lnTo>
                    <a:pt x="994" y="452"/>
                  </a:lnTo>
                  <a:lnTo>
                    <a:pt x="985" y="466"/>
                  </a:lnTo>
                  <a:lnTo>
                    <a:pt x="979" y="493"/>
                  </a:lnTo>
                  <a:lnTo>
                    <a:pt x="970" y="492"/>
                  </a:lnTo>
                  <a:lnTo>
                    <a:pt x="949" y="504"/>
                  </a:lnTo>
                  <a:lnTo>
                    <a:pt x="943" y="519"/>
                  </a:lnTo>
                  <a:lnTo>
                    <a:pt x="926" y="527"/>
                  </a:lnTo>
                  <a:lnTo>
                    <a:pt x="907" y="549"/>
                  </a:lnTo>
                  <a:lnTo>
                    <a:pt x="884" y="603"/>
                  </a:lnTo>
                  <a:lnTo>
                    <a:pt x="841" y="598"/>
                  </a:lnTo>
                  <a:lnTo>
                    <a:pt x="817" y="604"/>
                  </a:lnTo>
                  <a:lnTo>
                    <a:pt x="815" y="617"/>
                  </a:lnTo>
                  <a:lnTo>
                    <a:pt x="849" y="634"/>
                  </a:lnTo>
                  <a:lnTo>
                    <a:pt x="840" y="670"/>
                  </a:lnTo>
                  <a:lnTo>
                    <a:pt x="870" y="726"/>
                  </a:lnTo>
                  <a:lnTo>
                    <a:pt x="973" y="691"/>
                  </a:lnTo>
                  <a:lnTo>
                    <a:pt x="976" y="699"/>
                  </a:lnTo>
                  <a:lnTo>
                    <a:pt x="968" y="720"/>
                  </a:lnTo>
                  <a:lnTo>
                    <a:pt x="851" y="859"/>
                  </a:lnTo>
                  <a:lnTo>
                    <a:pt x="845" y="876"/>
                  </a:lnTo>
                  <a:lnTo>
                    <a:pt x="827" y="893"/>
                  </a:lnTo>
                  <a:lnTo>
                    <a:pt x="793" y="967"/>
                  </a:lnTo>
                  <a:lnTo>
                    <a:pt x="815" y="969"/>
                  </a:lnTo>
                  <a:lnTo>
                    <a:pt x="819" y="986"/>
                  </a:lnTo>
                  <a:lnTo>
                    <a:pt x="695" y="1139"/>
                  </a:lnTo>
                  <a:lnTo>
                    <a:pt x="692" y="1151"/>
                  </a:lnTo>
                  <a:lnTo>
                    <a:pt x="717" y="1160"/>
                  </a:lnTo>
                  <a:lnTo>
                    <a:pt x="735" y="1147"/>
                  </a:lnTo>
                  <a:lnTo>
                    <a:pt x="845" y="1018"/>
                  </a:lnTo>
                  <a:lnTo>
                    <a:pt x="863" y="917"/>
                  </a:lnTo>
                  <a:lnTo>
                    <a:pt x="949" y="867"/>
                  </a:lnTo>
                  <a:lnTo>
                    <a:pt x="937" y="891"/>
                  </a:lnTo>
                  <a:lnTo>
                    <a:pt x="886" y="946"/>
                  </a:lnTo>
                  <a:lnTo>
                    <a:pt x="870" y="986"/>
                  </a:lnTo>
                  <a:lnTo>
                    <a:pt x="885" y="977"/>
                  </a:lnTo>
                  <a:lnTo>
                    <a:pt x="898" y="979"/>
                  </a:lnTo>
                  <a:lnTo>
                    <a:pt x="908" y="964"/>
                  </a:lnTo>
                  <a:lnTo>
                    <a:pt x="920" y="961"/>
                  </a:lnTo>
                  <a:lnTo>
                    <a:pt x="940" y="986"/>
                  </a:lnTo>
                  <a:lnTo>
                    <a:pt x="948" y="984"/>
                  </a:lnTo>
                  <a:lnTo>
                    <a:pt x="966" y="932"/>
                  </a:lnTo>
                  <a:lnTo>
                    <a:pt x="994" y="964"/>
                  </a:lnTo>
                  <a:lnTo>
                    <a:pt x="1009" y="995"/>
                  </a:lnTo>
                  <a:lnTo>
                    <a:pt x="986" y="992"/>
                  </a:lnTo>
                  <a:lnTo>
                    <a:pt x="956" y="1026"/>
                  </a:lnTo>
                  <a:lnTo>
                    <a:pt x="929" y="1083"/>
                  </a:lnTo>
                  <a:lnTo>
                    <a:pt x="935" y="1106"/>
                  </a:lnTo>
                  <a:lnTo>
                    <a:pt x="951" y="1134"/>
                  </a:lnTo>
                  <a:lnTo>
                    <a:pt x="943" y="1175"/>
                  </a:lnTo>
                  <a:lnTo>
                    <a:pt x="806" y="1321"/>
                  </a:lnTo>
                  <a:lnTo>
                    <a:pt x="795" y="1357"/>
                  </a:lnTo>
                  <a:lnTo>
                    <a:pt x="777" y="1327"/>
                  </a:lnTo>
                  <a:lnTo>
                    <a:pt x="762" y="1346"/>
                  </a:lnTo>
                  <a:lnTo>
                    <a:pt x="760" y="1448"/>
                  </a:lnTo>
                  <a:lnTo>
                    <a:pt x="772" y="1467"/>
                  </a:lnTo>
                  <a:lnTo>
                    <a:pt x="783" y="1466"/>
                  </a:lnTo>
                  <a:lnTo>
                    <a:pt x="797" y="1412"/>
                  </a:lnTo>
                  <a:lnTo>
                    <a:pt x="808" y="1400"/>
                  </a:lnTo>
                  <a:lnTo>
                    <a:pt x="823" y="1400"/>
                  </a:lnTo>
                  <a:lnTo>
                    <a:pt x="889" y="1491"/>
                  </a:lnTo>
                  <a:lnTo>
                    <a:pt x="910" y="1471"/>
                  </a:lnTo>
                  <a:lnTo>
                    <a:pt x="921" y="1440"/>
                  </a:lnTo>
                  <a:lnTo>
                    <a:pt x="1010" y="1481"/>
                  </a:lnTo>
                  <a:lnTo>
                    <a:pt x="1085" y="1472"/>
                  </a:lnTo>
                  <a:lnTo>
                    <a:pt x="1096" y="1463"/>
                  </a:lnTo>
                  <a:lnTo>
                    <a:pt x="1131" y="1456"/>
                  </a:lnTo>
                  <a:lnTo>
                    <a:pt x="1211" y="1493"/>
                  </a:lnTo>
                  <a:lnTo>
                    <a:pt x="1195" y="1501"/>
                  </a:lnTo>
                  <a:lnTo>
                    <a:pt x="1179" y="1495"/>
                  </a:lnTo>
                  <a:lnTo>
                    <a:pt x="1136" y="1513"/>
                  </a:lnTo>
                  <a:lnTo>
                    <a:pt x="1035" y="1630"/>
                  </a:lnTo>
                  <a:lnTo>
                    <a:pt x="1035" y="1662"/>
                  </a:lnTo>
                  <a:lnTo>
                    <a:pt x="1051" y="1707"/>
                  </a:lnTo>
                  <a:lnTo>
                    <a:pt x="1052" y="1744"/>
                  </a:lnTo>
                  <a:lnTo>
                    <a:pt x="1056" y="1750"/>
                  </a:lnTo>
                  <a:lnTo>
                    <a:pt x="1066" y="1741"/>
                  </a:lnTo>
                  <a:lnTo>
                    <a:pt x="1075" y="1803"/>
                  </a:lnTo>
                  <a:lnTo>
                    <a:pt x="1138" y="1802"/>
                  </a:lnTo>
                  <a:lnTo>
                    <a:pt x="1183" y="1779"/>
                  </a:lnTo>
                  <a:lnTo>
                    <a:pt x="1197" y="1792"/>
                  </a:lnTo>
                  <a:lnTo>
                    <a:pt x="1173" y="1810"/>
                  </a:lnTo>
                  <a:lnTo>
                    <a:pt x="1145" y="1880"/>
                  </a:lnTo>
                  <a:lnTo>
                    <a:pt x="1116" y="1896"/>
                  </a:lnTo>
                  <a:lnTo>
                    <a:pt x="1085" y="1938"/>
                  </a:lnTo>
                  <a:lnTo>
                    <a:pt x="1121" y="1962"/>
                  </a:lnTo>
                  <a:lnTo>
                    <a:pt x="1086" y="1987"/>
                  </a:lnTo>
                  <a:lnTo>
                    <a:pt x="1044" y="2046"/>
                  </a:lnTo>
                  <a:lnTo>
                    <a:pt x="1050" y="2069"/>
                  </a:lnTo>
                  <a:lnTo>
                    <a:pt x="1066" y="2086"/>
                  </a:lnTo>
                  <a:lnTo>
                    <a:pt x="1049" y="2091"/>
                  </a:lnTo>
                  <a:lnTo>
                    <a:pt x="1017" y="2116"/>
                  </a:lnTo>
                  <a:lnTo>
                    <a:pt x="856" y="2058"/>
                  </a:lnTo>
                  <a:lnTo>
                    <a:pt x="591" y="2167"/>
                  </a:lnTo>
                  <a:lnTo>
                    <a:pt x="607" y="2188"/>
                  </a:lnTo>
                  <a:lnTo>
                    <a:pt x="680" y="2167"/>
                  </a:lnTo>
                  <a:lnTo>
                    <a:pt x="729" y="2174"/>
                  </a:lnTo>
                  <a:lnTo>
                    <a:pt x="696" y="2318"/>
                  </a:lnTo>
                  <a:lnTo>
                    <a:pt x="715" y="2343"/>
                  </a:lnTo>
                  <a:lnTo>
                    <a:pt x="641" y="2421"/>
                  </a:lnTo>
                  <a:lnTo>
                    <a:pt x="331" y="2487"/>
                  </a:lnTo>
                  <a:lnTo>
                    <a:pt x="343" y="2585"/>
                  </a:lnTo>
                  <a:lnTo>
                    <a:pt x="350" y="2598"/>
                  </a:lnTo>
                  <a:lnTo>
                    <a:pt x="373" y="2612"/>
                  </a:lnTo>
                  <a:lnTo>
                    <a:pt x="408" y="2610"/>
                  </a:lnTo>
                  <a:lnTo>
                    <a:pt x="459" y="2587"/>
                  </a:lnTo>
                  <a:lnTo>
                    <a:pt x="504" y="2583"/>
                  </a:lnTo>
                  <a:lnTo>
                    <a:pt x="516" y="2596"/>
                  </a:lnTo>
                  <a:lnTo>
                    <a:pt x="507" y="2654"/>
                  </a:lnTo>
                  <a:lnTo>
                    <a:pt x="518" y="2675"/>
                  </a:lnTo>
                  <a:lnTo>
                    <a:pt x="569" y="2695"/>
                  </a:lnTo>
                  <a:lnTo>
                    <a:pt x="608" y="2676"/>
                  </a:lnTo>
                  <a:lnTo>
                    <a:pt x="623" y="2678"/>
                  </a:lnTo>
                  <a:lnTo>
                    <a:pt x="633" y="2691"/>
                  </a:lnTo>
                  <a:lnTo>
                    <a:pt x="670" y="2795"/>
                  </a:lnTo>
                  <a:lnTo>
                    <a:pt x="693" y="2813"/>
                  </a:lnTo>
                  <a:lnTo>
                    <a:pt x="729" y="2822"/>
                  </a:lnTo>
                  <a:lnTo>
                    <a:pt x="761" y="2813"/>
                  </a:lnTo>
                  <a:lnTo>
                    <a:pt x="791" y="2788"/>
                  </a:lnTo>
                  <a:lnTo>
                    <a:pt x="936" y="2746"/>
                  </a:lnTo>
                  <a:lnTo>
                    <a:pt x="929" y="2776"/>
                  </a:lnTo>
                  <a:lnTo>
                    <a:pt x="804" y="2864"/>
                  </a:lnTo>
                  <a:lnTo>
                    <a:pt x="784" y="2893"/>
                  </a:lnTo>
                  <a:lnTo>
                    <a:pt x="766" y="2906"/>
                  </a:lnTo>
                  <a:lnTo>
                    <a:pt x="503" y="2846"/>
                  </a:lnTo>
                  <a:lnTo>
                    <a:pt x="465" y="2882"/>
                  </a:lnTo>
                  <a:lnTo>
                    <a:pt x="412" y="2899"/>
                  </a:lnTo>
                  <a:lnTo>
                    <a:pt x="364" y="2948"/>
                  </a:lnTo>
                  <a:lnTo>
                    <a:pt x="32" y="3108"/>
                  </a:lnTo>
                  <a:lnTo>
                    <a:pt x="7" y="3138"/>
                  </a:lnTo>
                  <a:lnTo>
                    <a:pt x="0" y="3158"/>
                  </a:lnTo>
                  <a:lnTo>
                    <a:pt x="24" y="3133"/>
                  </a:lnTo>
                  <a:lnTo>
                    <a:pt x="43" y="3127"/>
                  </a:lnTo>
                  <a:lnTo>
                    <a:pt x="80" y="3174"/>
                  </a:lnTo>
                  <a:lnTo>
                    <a:pt x="103" y="3176"/>
                  </a:lnTo>
                  <a:lnTo>
                    <a:pt x="110" y="3200"/>
                  </a:lnTo>
                  <a:lnTo>
                    <a:pt x="134" y="3187"/>
                  </a:lnTo>
                  <a:lnTo>
                    <a:pt x="161" y="3155"/>
                  </a:lnTo>
                  <a:lnTo>
                    <a:pt x="218" y="3144"/>
                  </a:lnTo>
                  <a:lnTo>
                    <a:pt x="261" y="3106"/>
                  </a:lnTo>
                  <a:lnTo>
                    <a:pt x="390" y="3148"/>
                  </a:lnTo>
                  <a:lnTo>
                    <a:pt x="465" y="3207"/>
                  </a:lnTo>
                  <a:lnTo>
                    <a:pt x="498" y="3221"/>
                  </a:lnTo>
                  <a:lnTo>
                    <a:pt x="540" y="3193"/>
                  </a:lnTo>
                  <a:lnTo>
                    <a:pt x="591" y="3098"/>
                  </a:lnTo>
                  <a:lnTo>
                    <a:pt x="606" y="3098"/>
                  </a:lnTo>
                  <a:lnTo>
                    <a:pt x="640" y="3112"/>
                  </a:lnTo>
                  <a:lnTo>
                    <a:pt x="765" y="3105"/>
                  </a:lnTo>
                  <a:lnTo>
                    <a:pt x="812" y="3208"/>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79" name="Freeform 36"/>
            <p:cNvSpPr>
              <a:spLocks/>
            </p:cNvSpPr>
            <p:nvPr/>
          </p:nvSpPr>
          <p:spPr bwMode="auto">
            <a:xfrm>
              <a:off x="5262664" y="3154667"/>
              <a:ext cx="35686" cy="25170"/>
            </a:xfrm>
            <a:custGeom>
              <a:avLst/>
              <a:gdLst>
                <a:gd name="T0" fmla="*/ 0 w 92"/>
                <a:gd name="T1" fmla="*/ 0 h 57"/>
                <a:gd name="T2" fmla="*/ 0 w 92"/>
                <a:gd name="T3" fmla="*/ 0 h 57"/>
                <a:gd name="T4" fmla="*/ 0 w 92"/>
                <a:gd name="T5" fmla="*/ 0 h 57"/>
                <a:gd name="T6" fmla="*/ 0 w 92"/>
                <a:gd name="T7" fmla="*/ 0 h 57"/>
                <a:gd name="T8" fmla="*/ 0 w 92"/>
                <a:gd name="T9" fmla="*/ 0 h 57"/>
                <a:gd name="T10" fmla="*/ 0 w 92"/>
                <a:gd name="T11" fmla="*/ 0 h 57"/>
                <a:gd name="T12" fmla="*/ 0 w 92"/>
                <a:gd name="T13" fmla="*/ 0 h 57"/>
                <a:gd name="T14" fmla="*/ 0 w 92"/>
                <a:gd name="T15" fmla="*/ 0 h 57"/>
                <a:gd name="T16" fmla="*/ 0 w 92"/>
                <a:gd name="T17" fmla="*/ 0 h 57"/>
                <a:gd name="T18" fmla="*/ 0 w 92"/>
                <a:gd name="T19" fmla="*/ 0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2"/>
                <a:gd name="T31" fmla="*/ 0 h 57"/>
                <a:gd name="T32" fmla="*/ 92 w 92"/>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2" h="57">
                  <a:moveTo>
                    <a:pt x="68" y="14"/>
                  </a:moveTo>
                  <a:lnTo>
                    <a:pt x="62" y="0"/>
                  </a:lnTo>
                  <a:lnTo>
                    <a:pt x="11" y="9"/>
                  </a:lnTo>
                  <a:lnTo>
                    <a:pt x="0" y="20"/>
                  </a:lnTo>
                  <a:lnTo>
                    <a:pt x="4" y="32"/>
                  </a:lnTo>
                  <a:lnTo>
                    <a:pt x="35" y="53"/>
                  </a:lnTo>
                  <a:lnTo>
                    <a:pt x="64" y="57"/>
                  </a:lnTo>
                  <a:lnTo>
                    <a:pt x="92" y="38"/>
                  </a:lnTo>
                  <a:lnTo>
                    <a:pt x="92" y="29"/>
                  </a:lnTo>
                  <a:lnTo>
                    <a:pt x="68" y="14"/>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0" name="Freeform 37"/>
            <p:cNvSpPr>
              <a:spLocks/>
            </p:cNvSpPr>
            <p:nvPr/>
          </p:nvSpPr>
          <p:spPr bwMode="auto">
            <a:xfrm>
              <a:off x="5262664" y="3154667"/>
              <a:ext cx="35686" cy="25170"/>
            </a:xfrm>
            <a:custGeom>
              <a:avLst/>
              <a:gdLst>
                <a:gd name="T0" fmla="*/ 0 w 92"/>
                <a:gd name="T1" fmla="*/ 0 h 57"/>
                <a:gd name="T2" fmla="*/ 0 w 92"/>
                <a:gd name="T3" fmla="*/ 0 h 57"/>
                <a:gd name="T4" fmla="*/ 0 w 92"/>
                <a:gd name="T5" fmla="*/ 0 h 57"/>
                <a:gd name="T6" fmla="*/ 0 w 92"/>
                <a:gd name="T7" fmla="*/ 0 h 57"/>
                <a:gd name="T8" fmla="*/ 0 w 92"/>
                <a:gd name="T9" fmla="*/ 0 h 57"/>
                <a:gd name="T10" fmla="*/ 0 w 92"/>
                <a:gd name="T11" fmla="*/ 0 h 57"/>
                <a:gd name="T12" fmla="*/ 0 w 92"/>
                <a:gd name="T13" fmla="*/ 0 h 57"/>
                <a:gd name="T14" fmla="*/ 0 w 92"/>
                <a:gd name="T15" fmla="*/ 0 h 57"/>
                <a:gd name="T16" fmla="*/ 0 w 92"/>
                <a:gd name="T17" fmla="*/ 0 h 57"/>
                <a:gd name="T18" fmla="*/ 0 w 92"/>
                <a:gd name="T19" fmla="*/ 0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2"/>
                <a:gd name="T31" fmla="*/ 0 h 57"/>
                <a:gd name="T32" fmla="*/ 92 w 92"/>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2" h="57">
                  <a:moveTo>
                    <a:pt x="68" y="14"/>
                  </a:moveTo>
                  <a:lnTo>
                    <a:pt x="62" y="0"/>
                  </a:lnTo>
                  <a:lnTo>
                    <a:pt x="11" y="9"/>
                  </a:lnTo>
                  <a:lnTo>
                    <a:pt x="0" y="20"/>
                  </a:lnTo>
                  <a:lnTo>
                    <a:pt x="4" y="32"/>
                  </a:lnTo>
                  <a:lnTo>
                    <a:pt x="35" y="53"/>
                  </a:lnTo>
                  <a:lnTo>
                    <a:pt x="64" y="57"/>
                  </a:lnTo>
                  <a:lnTo>
                    <a:pt x="92" y="38"/>
                  </a:lnTo>
                  <a:lnTo>
                    <a:pt x="92" y="29"/>
                  </a:lnTo>
                  <a:lnTo>
                    <a:pt x="68" y="14"/>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1" name="Freeform 38"/>
            <p:cNvSpPr>
              <a:spLocks/>
            </p:cNvSpPr>
            <p:nvPr/>
          </p:nvSpPr>
          <p:spPr bwMode="auto">
            <a:xfrm>
              <a:off x="5119920" y="2651260"/>
              <a:ext cx="23091" cy="31463"/>
            </a:xfrm>
            <a:custGeom>
              <a:avLst/>
              <a:gdLst>
                <a:gd name="T0" fmla="*/ 0 w 54"/>
                <a:gd name="T1" fmla="*/ 0 h 81"/>
                <a:gd name="T2" fmla="*/ 0 w 54"/>
                <a:gd name="T3" fmla="*/ 0 h 81"/>
                <a:gd name="T4" fmla="*/ 0 w 54"/>
                <a:gd name="T5" fmla="*/ 0 h 81"/>
                <a:gd name="T6" fmla="*/ 0 w 54"/>
                <a:gd name="T7" fmla="*/ 0 h 81"/>
                <a:gd name="T8" fmla="*/ 0 w 54"/>
                <a:gd name="T9" fmla="*/ 0 h 81"/>
                <a:gd name="T10" fmla="*/ 0 60000 65536"/>
                <a:gd name="T11" fmla="*/ 0 60000 65536"/>
                <a:gd name="T12" fmla="*/ 0 60000 65536"/>
                <a:gd name="T13" fmla="*/ 0 60000 65536"/>
                <a:gd name="T14" fmla="*/ 0 60000 65536"/>
                <a:gd name="T15" fmla="*/ 0 w 54"/>
                <a:gd name="T16" fmla="*/ 0 h 81"/>
                <a:gd name="T17" fmla="*/ 54 w 54"/>
                <a:gd name="T18" fmla="*/ 81 h 81"/>
              </a:gdLst>
              <a:ahLst/>
              <a:cxnLst>
                <a:cxn ang="T10">
                  <a:pos x="T0" y="T1"/>
                </a:cxn>
                <a:cxn ang="T11">
                  <a:pos x="T2" y="T3"/>
                </a:cxn>
                <a:cxn ang="T12">
                  <a:pos x="T4" y="T5"/>
                </a:cxn>
                <a:cxn ang="T13">
                  <a:pos x="T6" y="T7"/>
                </a:cxn>
                <a:cxn ang="T14">
                  <a:pos x="T8" y="T9"/>
                </a:cxn>
              </a:cxnLst>
              <a:rect l="T15" t="T16" r="T17" b="T18"/>
              <a:pathLst>
                <a:path w="54" h="81">
                  <a:moveTo>
                    <a:pt x="24" y="81"/>
                  </a:moveTo>
                  <a:lnTo>
                    <a:pt x="54" y="66"/>
                  </a:lnTo>
                  <a:lnTo>
                    <a:pt x="19" y="9"/>
                  </a:lnTo>
                  <a:lnTo>
                    <a:pt x="0" y="0"/>
                  </a:lnTo>
                  <a:lnTo>
                    <a:pt x="24" y="8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2" name="Freeform 39"/>
            <p:cNvSpPr>
              <a:spLocks/>
            </p:cNvSpPr>
            <p:nvPr/>
          </p:nvSpPr>
          <p:spPr bwMode="auto">
            <a:xfrm>
              <a:off x="5119920" y="2651260"/>
              <a:ext cx="23091" cy="31463"/>
            </a:xfrm>
            <a:custGeom>
              <a:avLst/>
              <a:gdLst>
                <a:gd name="T0" fmla="*/ 0 w 54"/>
                <a:gd name="T1" fmla="*/ 0 h 81"/>
                <a:gd name="T2" fmla="*/ 0 w 54"/>
                <a:gd name="T3" fmla="*/ 0 h 81"/>
                <a:gd name="T4" fmla="*/ 0 w 54"/>
                <a:gd name="T5" fmla="*/ 0 h 81"/>
                <a:gd name="T6" fmla="*/ 0 w 54"/>
                <a:gd name="T7" fmla="*/ 0 h 81"/>
                <a:gd name="T8" fmla="*/ 0 w 54"/>
                <a:gd name="T9" fmla="*/ 0 h 81"/>
                <a:gd name="T10" fmla="*/ 0 60000 65536"/>
                <a:gd name="T11" fmla="*/ 0 60000 65536"/>
                <a:gd name="T12" fmla="*/ 0 60000 65536"/>
                <a:gd name="T13" fmla="*/ 0 60000 65536"/>
                <a:gd name="T14" fmla="*/ 0 60000 65536"/>
                <a:gd name="T15" fmla="*/ 0 w 54"/>
                <a:gd name="T16" fmla="*/ 0 h 81"/>
                <a:gd name="T17" fmla="*/ 54 w 54"/>
                <a:gd name="T18" fmla="*/ 81 h 81"/>
              </a:gdLst>
              <a:ahLst/>
              <a:cxnLst>
                <a:cxn ang="T10">
                  <a:pos x="T0" y="T1"/>
                </a:cxn>
                <a:cxn ang="T11">
                  <a:pos x="T2" y="T3"/>
                </a:cxn>
                <a:cxn ang="T12">
                  <a:pos x="T4" y="T5"/>
                </a:cxn>
                <a:cxn ang="T13">
                  <a:pos x="T6" y="T7"/>
                </a:cxn>
                <a:cxn ang="T14">
                  <a:pos x="T8" y="T9"/>
                </a:cxn>
              </a:cxnLst>
              <a:rect l="T15" t="T16" r="T17" b="T18"/>
              <a:pathLst>
                <a:path w="54" h="81">
                  <a:moveTo>
                    <a:pt x="24" y="81"/>
                  </a:moveTo>
                  <a:lnTo>
                    <a:pt x="54" y="66"/>
                  </a:lnTo>
                  <a:lnTo>
                    <a:pt x="19" y="9"/>
                  </a:lnTo>
                  <a:lnTo>
                    <a:pt x="0" y="0"/>
                  </a:lnTo>
                  <a:lnTo>
                    <a:pt x="24" y="8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3" name="Freeform 40"/>
            <p:cNvSpPr>
              <a:spLocks/>
            </p:cNvSpPr>
            <p:nvPr/>
          </p:nvSpPr>
          <p:spPr bwMode="auto">
            <a:xfrm>
              <a:off x="5119920" y="2500238"/>
              <a:ext cx="58777" cy="41951"/>
            </a:xfrm>
            <a:custGeom>
              <a:avLst/>
              <a:gdLst>
                <a:gd name="T0" fmla="*/ 0 w 139"/>
                <a:gd name="T1" fmla="*/ 0 h 101"/>
                <a:gd name="T2" fmla="*/ 0 w 139"/>
                <a:gd name="T3" fmla="*/ 0 h 101"/>
                <a:gd name="T4" fmla="*/ 0 w 139"/>
                <a:gd name="T5" fmla="*/ 0 h 101"/>
                <a:gd name="T6" fmla="*/ 0 w 139"/>
                <a:gd name="T7" fmla="*/ 0 h 101"/>
                <a:gd name="T8" fmla="*/ 0 w 139"/>
                <a:gd name="T9" fmla="*/ 0 h 101"/>
                <a:gd name="T10" fmla="*/ 0 w 139"/>
                <a:gd name="T11" fmla="*/ 0 h 101"/>
                <a:gd name="T12" fmla="*/ 0 w 139"/>
                <a:gd name="T13" fmla="*/ 0 h 101"/>
                <a:gd name="T14" fmla="*/ 0 60000 65536"/>
                <a:gd name="T15" fmla="*/ 0 60000 65536"/>
                <a:gd name="T16" fmla="*/ 0 60000 65536"/>
                <a:gd name="T17" fmla="*/ 0 60000 65536"/>
                <a:gd name="T18" fmla="*/ 0 60000 65536"/>
                <a:gd name="T19" fmla="*/ 0 60000 65536"/>
                <a:gd name="T20" fmla="*/ 0 60000 65536"/>
                <a:gd name="T21" fmla="*/ 0 w 139"/>
                <a:gd name="T22" fmla="*/ 0 h 101"/>
                <a:gd name="T23" fmla="*/ 139 w 139"/>
                <a:gd name="T24" fmla="*/ 101 h 1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9" h="101">
                  <a:moveTo>
                    <a:pt x="125" y="0"/>
                  </a:moveTo>
                  <a:lnTo>
                    <a:pt x="0" y="96"/>
                  </a:lnTo>
                  <a:lnTo>
                    <a:pt x="36" y="101"/>
                  </a:lnTo>
                  <a:lnTo>
                    <a:pt x="88" y="90"/>
                  </a:lnTo>
                  <a:lnTo>
                    <a:pt x="120" y="64"/>
                  </a:lnTo>
                  <a:lnTo>
                    <a:pt x="139" y="15"/>
                  </a:lnTo>
                  <a:lnTo>
                    <a:pt x="125"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4" name="Freeform 41"/>
            <p:cNvSpPr>
              <a:spLocks/>
            </p:cNvSpPr>
            <p:nvPr/>
          </p:nvSpPr>
          <p:spPr bwMode="auto">
            <a:xfrm>
              <a:off x="5119920" y="2500238"/>
              <a:ext cx="58777" cy="41951"/>
            </a:xfrm>
            <a:custGeom>
              <a:avLst/>
              <a:gdLst>
                <a:gd name="T0" fmla="*/ 0 w 139"/>
                <a:gd name="T1" fmla="*/ 0 h 101"/>
                <a:gd name="T2" fmla="*/ 0 w 139"/>
                <a:gd name="T3" fmla="*/ 0 h 101"/>
                <a:gd name="T4" fmla="*/ 0 w 139"/>
                <a:gd name="T5" fmla="*/ 0 h 101"/>
                <a:gd name="T6" fmla="*/ 0 w 139"/>
                <a:gd name="T7" fmla="*/ 0 h 101"/>
                <a:gd name="T8" fmla="*/ 0 w 139"/>
                <a:gd name="T9" fmla="*/ 0 h 101"/>
                <a:gd name="T10" fmla="*/ 0 w 139"/>
                <a:gd name="T11" fmla="*/ 0 h 101"/>
                <a:gd name="T12" fmla="*/ 0 w 139"/>
                <a:gd name="T13" fmla="*/ 0 h 101"/>
                <a:gd name="T14" fmla="*/ 0 60000 65536"/>
                <a:gd name="T15" fmla="*/ 0 60000 65536"/>
                <a:gd name="T16" fmla="*/ 0 60000 65536"/>
                <a:gd name="T17" fmla="*/ 0 60000 65536"/>
                <a:gd name="T18" fmla="*/ 0 60000 65536"/>
                <a:gd name="T19" fmla="*/ 0 60000 65536"/>
                <a:gd name="T20" fmla="*/ 0 60000 65536"/>
                <a:gd name="T21" fmla="*/ 0 w 139"/>
                <a:gd name="T22" fmla="*/ 0 h 101"/>
                <a:gd name="T23" fmla="*/ 139 w 139"/>
                <a:gd name="T24" fmla="*/ 101 h 1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9" h="101">
                  <a:moveTo>
                    <a:pt x="125" y="0"/>
                  </a:moveTo>
                  <a:lnTo>
                    <a:pt x="0" y="96"/>
                  </a:lnTo>
                  <a:lnTo>
                    <a:pt x="36" y="101"/>
                  </a:lnTo>
                  <a:lnTo>
                    <a:pt x="88" y="90"/>
                  </a:lnTo>
                  <a:lnTo>
                    <a:pt x="120" y="64"/>
                  </a:lnTo>
                  <a:lnTo>
                    <a:pt x="139" y="15"/>
                  </a:lnTo>
                  <a:lnTo>
                    <a:pt x="125" y="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5" name="Freeform 42"/>
            <p:cNvSpPr>
              <a:spLocks/>
            </p:cNvSpPr>
            <p:nvPr/>
          </p:nvSpPr>
          <p:spPr bwMode="auto">
            <a:xfrm>
              <a:off x="5151408" y="2273705"/>
              <a:ext cx="27289" cy="44048"/>
            </a:xfrm>
            <a:custGeom>
              <a:avLst/>
              <a:gdLst>
                <a:gd name="T0" fmla="*/ 0 w 67"/>
                <a:gd name="T1" fmla="*/ 0 h 104"/>
                <a:gd name="T2" fmla="*/ 0 w 67"/>
                <a:gd name="T3" fmla="*/ 0 h 104"/>
                <a:gd name="T4" fmla="*/ 0 w 67"/>
                <a:gd name="T5" fmla="*/ 0 h 104"/>
                <a:gd name="T6" fmla="*/ 0 w 67"/>
                <a:gd name="T7" fmla="*/ 0 h 104"/>
                <a:gd name="T8" fmla="*/ 0 w 67"/>
                <a:gd name="T9" fmla="*/ 0 h 104"/>
                <a:gd name="T10" fmla="*/ 0 w 67"/>
                <a:gd name="T11" fmla="*/ 0 h 104"/>
                <a:gd name="T12" fmla="*/ 0 w 67"/>
                <a:gd name="T13" fmla="*/ 0 h 104"/>
                <a:gd name="T14" fmla="*/ 0 w 67"/>
                <a:gd name="T15" fmla="*/ 0 h 104"/>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104"/>
                <a:gd name="T26" fmla="*/ 67 w 67"/>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104">
                  <a:moveTo>
                    <a:pt x="26" y="2"/>
                  </a:moveTo>
                  <a:lnTo>
                    <a:pt x="25" y="0"/>
                  </a:lnTo>
                  <a:lnTo>
                    <a:pt x="0" y="69"/>
                  </a:lnTo>
                  <a:lnTo>
                    <a:pt x="4" y="104"/>
                  </a:lnTo>
                  <a:lnTo>
                    <a:pt x="27" y="104"/>
                  </a:lnTo>
                  <a:lnTo>
                    <a:pt x="58" y="54"/>
                  </a:lnTo>
                  <a:lnTo>
                    <a:pt x="67" y="15"/>
                  </a:lnTo>
                  <a:lnTo>
                    <a:pt x="26" y="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6" name="Freeform 43"/>
            <p:cNvSpPr>
              <a:spLocks/>
            </p:cNvSpPr>
            <p:nvPr/>
          </p:nvSpPr>
          <p:spPr bwMode="auto">
            <a:xfrm>
              <a:off x="5151408" y="2273705"/>
              <a:ext cx="27289" cy="44048"/>
            </a:xfrm>
            <a:custGeom>
              <a:avLst/>
              <a:gdLst>
                <a:gd name="T0" fmla="*/ 0 w 67"/>
                <a:gd name="T1" fmla="*/ 0 h 104"/>
                <a:gd name="T2" fmla="*/ 0 w 67"/>
                <a:gd name="T3" fmla="*/ 0 h 104"/>
                <a:gd name="T4" fmla="*/ 0 w 67"/>
                <a:gd name="T5" fmla="*/ 0 h 104"/>
                <a:gd name="T6" fmla="*/ 0 w 67"/>
                <a:gd name="T7" fmla="*/ 0 h 104"/>
                <a:gd name="T8" fmla="*/ 0 w 67"/>
                <a:gd name="T9" fmla="*/ 0 h 104"/>
                <a:gd name="T10" fmla="*/ 0 w 67"/>
                <a:gd name="T11" fmla="*/ 0 h 104"/>
                <a:gd name="T12" fmla="*/ 0 w 67"/>
                <a:gd name="T13" fmla="*/ 0 h 104"/>
                <a:gd name="T14" fmla="*/ 0 w 67"/>
                <a:gd name="T15" fmla="*/ 0 h 104"/>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104"/>
                <a:gd name="T26" fmla="*/ 67 w 67"/>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104">
                  <a:moveTo>
                    <a:pt x="26" y="2"/>
                  </a:moveTo>
                  <a:lnTo>
                    <a:pt x="25" y="0"/>
                  </a:lnTo>
                  <a:lnTo>
                    <a:pt x="0" y="69"/>
                  </a:lnTo>
                  <a:lnTo>
                    <a:pt x="4" y="104"/>
                  </a:lnTo>
                  <a:lnTo>
                    <a:pt x="27" y="104"/>
                  </a:lnTo>
                  <a:lnTo>
                    <a:pt x="58" y="54"/>
                  </a:lnTo>
                  <a:lnTo>
                    <a:pt x="67" y="15"/>
                  </a:lnTo>
                  <a:lnTo>
                    <a:pt x="26" y="2"/>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7" name="Freeform 44"/>
            <p:cNvSpPr>
              <a:spLocks/>
            </p:cNvSpPr>
            <p:nvPr/>
          </p:nvSpPr>
          <p:spPr bwMode="auto">
            <a:xfrm>
              <a:off x="5063243" y="2214974"/>
              <a:ext cx="39884" cy="39853"/>
            </a:xfrm>
            <a:custGeom>
              <a:avLst/>
              <a:gdLst>
                <a:gd name="T0" fmla="*/ 0 w 93"/>
                <a:gd name="T1" fmla="*/ 0 h 96"/>
                <a:gd name="T2" fmla="*/ 0 w 93"/>
                <a:gd name="T3" fmla="*/ 0 h 96"/>
                <a:gd name="T4" fmla="*/ 0 w 93"/>
                <a:gd name="T5" fmla="*/ 0 h 96"/>
                <a:gd name="T6" fmla="*/ 0 w 93"/>
                <a:gd name="T7" fmla="*/ 0 h 96"/>
                <a:gd name="T8" fmla="*/ 0 w 93"/>
                <a:gd name="T9" fmla="*/ 0 h 96"/>
                <a:gd name="T10" fmla="*/ 0 w 93"/>
                <a:gd name="T11" fmla="*/ 0 h 96"/>
                <a:gd name="T12" fmla="*/ 0 w 93"/>
                <a:gd name="T13" fmla="*/ 0 h 96"/>
                <a:gd name="T14" fmla="*/ 0 w 93"/>
                <a:gd name="T15" fmla="*/ 0 h 96"/>
                <a:gd name="T16" fmla="*/ 0 w 93"/>
                <a:gd name="T17" fmla="*/ 0 h 96"/>
                <a:gd name="T18" fmla="*/ 0 w 93"/>
                <a:gd name="T19" fmla="*/ 0 h 96"/>
                <a:gd name="T20" fmla="*/ 0 w 93"/>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96"/>
                <a:gd name="T35" fmla="*/ 93 w 9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96">
                  <a:moveTo>
                    <a:pt x="93" y="6"/>
                  </a:moveTo>
                  <a:lnTo>
                    <a:pt x="93" y="0"/>
                  </a:lnTo>
                  <a:lnTo>
                    <a:pt x="72" y="7"/>
                  </a:lnTo>
                  <a:lnTo>
                    <a:pt x="35" y="7"/>
                  </a:lnTo>
                  <a:lnTo>
                    <a:pt x="1" y="44"/>
                  </a:lnTo>
                  <a:lnTo>
                    <a:pt x="0" y="54"/>
                  </a:lnTo>
                  <a:lnTo>
                    <a:pt x="37" y="32"/>
                  </a:lnTo>
                  <a:lnTo>
                    <a:pt x="37" y="96"/>
                  </a:lnTo>
                  <a:lnTo>
                    <a:pt x="79" y="90"/>
                  </a:lnTo>
                  <a:lnTo>
                    <a:pt x="93" y="59"/>
                  </a:lnTo>
                  <a:lnTo>
                    <a:pt x="93" y="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8" name="Freeform 45"/>
            <p:cNvSpPr>
              <a:spLocks/>
            </p:cNvSpPr>
            <p:nvPr/>
          </p:nvSpPr>
          <p:spPr bwMode="auto">
            <a:xfrm>
              <a:off x="5063243" y="2214974"/>
              <a:ext cx="39884" cy="39853"/>
            </a:xfrm>
            <a:custGeom>
              <a:avLst/>
              <a:gdLst>
                <a:gd name="T0" fmla="*/ 0 w 93"/>
                <a:gd name="T1" fmla="*/ 0 h 96"/>
                <a:gd name="T2" fmla="*/ 0 w 93"/>
                <a:gd name="T3" fmla="*/ 0 h 96"/>
                <a:gd name="T4" fmla="*/ 0 w 93"/>
                <a:gd name="T5" fmla="*/ 0 h 96"/>
                <a:gd name="T6" fmla="*/ 0 w 93"/>
                <a:gd name="T7" fmla="*/ 0 h 96"/>
                <a:gd name="T8" fmla="*/ 0 w 93"/>
                <a:gd name="T9" fmla="*/ 0 h 96"/>
                <a:gd name="T10" fmla="*/ 0 w 93"/>
                <a:gd name="T11" fmla="*/ 0 h 96"/>
                <a:gd name="T12" fmla="*/ 0 w 93"/>
                <a:gd name="T13" fmla="*/ 0 h 96"/>
                <a:gd name="T14" fmla="*/ 0 w 93"/>
                <a:gd name="T15" fmla="*/ 0 h 96"/>
                <a:gd name="T16" fmla="*/ 0 w 93"/>
                <a:gd name="T17" fmla="*/ 0 h 96"/>
                <a:gd name="T18" fmla="*/ 0 w 93"/>
                <a:gd name="T19" fmla="*/ 0 h 96"/>
                <a:gd name="T20" fmla="*/ 0 w 93"/>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96"/>
                <a:gd name="T35" fmla="*/ 93 w 9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96">
                  <a:moveTo>
                    <a:pt x="93" y="6"/>
                  </a:moveTo>
                  <a:lnTo>
                    <a:pt x="93" y="0"/>
                  </a:lnTo>
                  <a:lnTo>
                    <a:pt x="72" y="7"/>
                  </a:lnTo>
                  <a:lnTo>
                    <a:pt x="35" y="7"/>
                  </a:lnTo>
                  <a:lnTo>
                    <a:pt x="1" y="44"/>
                  </a:lnTo>
                  <a:lnTo>
                    <a:pt x="0" y="54"/>
                  </a:lnTo>
                  <a:lnTo>
                    <a:pt x="37" y="32"/>
                  </a:lnTo>
                  <a:lnTo>
                    <a:pt x="37" y="96"/>
                  </a:lnTo>
                  <a:lnTo>
                    <a:pt x="79" y="90"/>
                  </a:lnTo>
                  <a:lnTo>
                    <a:pt x="93" y="59"/>
                  </a:lnTo>
                  <a:lnTo>
                    <a:pt x="93" y="6"/>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89" name="Freeform 46"/>
            <p:cNvSpPr>
              <a:spLocks/>
            </p:cNvSpPr>
            <p:nvPr/>
          </p:nvSpPr>
          <p:spPr bwMode="auto">
            <a:xfrm>
              <a:off x="5107325" y="2198194"/>
              <a:ext cx="44083" cy="35658"/>
            </a:xfrm>
            <a:custGeom>
              <a:avLst/>
              <a:gdLst>
                <a:gd name="T0" fmla="*/ 0 w 103"/>
                <a:gd name="T1" fmla="*/ 0 h 85"/>
                <a:gd name="T2" fmla="*/ 0 w 103"/>
                <a:gd name="T3" fmla="*/ 0 h 85"/>
                <a:gd name="T4" fmla="*/ 0 w 103"/>
                <a:gd name="T5" fmla="*/ 0 h 85"/>
                <a:gd name="T6" fmla="*/ 0 w 103"/>
                <a:gd name="T7" fmla="*/ 0 h 85"/>
                <a:gd name="T8" fmla="*/ 0 w 103"/>
                <a:gd name="T9" fmla="*/ 0 h 85"/>
                <a:gd name="T10" fmla="*/ 0 w 103"/>
                <a:gd name="T11" fmla="*/ 0 h 85"/>
                <a:gd name="T12" fmla="*/ 0 w 103"/>
                <a:gd name="T13" fmla="*/ 0 h 85"/>
                <a:gd name="T14" fmla="*/ 0 w 103"/>
                <a:gd name="T15" fmla="*/ 0 h 85"/>
                <a:gd name="T16" fmla="*/ 0 60000 65536"/>
                <a:gd name="T17" fmla="*/ 0 60000 65536"/>
                <a:gd name="T18" fmla="*/ 0 60000 65536"/>
                <a:gd name="T19" fmla="*/ 0 60000 65536"/>
                <a:gd name="T20" fmla="*/ 0 60000 65536"/>
                <a:gd name="T21" fmla="*/ 0 60000 65536"/>
                <a:gd name="T22" fmla="*/ 0 60000 65536"/>
                <a:gd name="T23" fmla="*/ 0 60000 65536"/>
                <a:gd name="T24" fmla="*/ 0 w 103"/>
                <a:gd name="T25" fmla="*/ 0 h 85"/>
                <a:gd name="T26" fmla="*/ 103 w 103"/>
                <a:gd name="T27" fmla="*/ 85 h 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3" h="85">
                  <a:moveTo>
                    <a:pt x="103" y="0"/>
                  </a:moveTo>
                  <a:lnTo>
                    <a:pt x="66" y="12"/>
                  </a:lnTo>
                  <a:lnTo>
                    <a:pt x="49" y="27"/>
                  </a:lnTo>
                  <a:lnTo>
                    <a:pt x="38" y="46"/>
                  </a:lnTo>
                  <a:lnTo>
                    <a:pt x="11" y="63"/>
                  </a:lnTo>
                  <a:lnTo>
                    <a:pt x="0" y="84"/>
                  </a:lnTo>
                  <a:lnTo>
                    <a:pt x="23" y="85"/>
                  </a:lnTo>
                  <a:lnTo>
                    <a:pt x="103"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0" name="Freeform 47"/>
            <p:cNvSpPr>
              <a:spLocks/>
            </p:cNvSpPr>
            <p:nvPr/>
          </p:nvSpPr>
          <p:spPr bwMode="auto">
            <a:xfrm>
              <a:off x="5107325" y="2198194"/>
              <a:ext cx="44083" cy="35658"/>
            </a:xfrm>
            <a:custGeom>
              <a:avLst/>
              <a:gdLst>
                <a:gd name="T0" fmla="*/ 0 w 103"/>
                <a:gd name="T1" fmla="*/ 0 h 85"/>
                <a:gd name="T2" fmla="*/ 0 w 103"/>
                <a:gd name="T3" fmla="*/ 0 h 85"/>
                <a:gd name="T4" fmla="*/ 0 w 103"/>
                <a:gd name="T5" fmla="*/ 0 h 85"/>
                <a:gd name="T6" fmla="*/ 0 w 103"/>
                <a:gd name="T7" fmla="*/ 0 h 85"/>
                <a:gd name="T8" fmla="*/ 0 w 103"/>
                <a:gd name="T9" fmla="*/ 0 h 85"/>
                <a:gd name="T10" fmla="*/ 0 w 103"/>
                <a:gd name="T11" fmla="*/ 0 h 85"/>
                <a:gd name="T12" fmla="*/ 0 w 103"/>
                <a:gd name="T13" fmla="*/ 0 h 85"/>
                <a:gd name="T14" fmla="*/ 0 w 103"/>
                <a:gd name="T15" fmla="*/ 0 h 85"/>
                <a:gd name="T16" fmla="*/ 0 60000 65536"/>
                <a:gd name="T17" fmla="*/ 0 60000 65536"/>
                <a:gd name="T18" fmla="*/ 0 60000 65536"/>
                <a:gd name="T19" fmla="*/ 0 60000 65536"/>
                <a:gd name="T20" fmla="*/ 0 60000 65536"/>
                <a:gd name="T21" fmla="*/ 0 60000 65536"/>
                <a:gd name="T22" fmla="*/ 0 60000 65536"/>
                <a:gd name="T23" fmla="*/ 0 60000 65536"/>
                <a:gd name="T24" fmla="*/ 0 w 103"/>
                <a:gd name="T25" fmla="*/ 0 h 85"/>
                <a:gd name="T26" fmla="*/ 103 w 103"/>
                <a:gd name="T27" fmla="*/ 85 h 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3" h="85">
                  <a:moveTo>
                    <a:pt x="103" y="0"/>
                  </a:moveTo>
                  <a:lnTo>
                    <a:pt x="66" y="12"/>
                  </a:lnTo>
                  <a:lnTo>
                    <a:pt x="49" y="27"/>
                  </a:lnTo>
                  <a:lnTo>
                    <a:pt x="38" y="46"/>
                  </a:lnTo>
                  <a:lnTo>
                    <a:pt x="11" y="63"/>
                  </a:lnTo>
                  <a:lnTo>
                    <a:pt x="0" y="84"/>
                  </a:lnTo>
                  <a:lnTo>
                    <a:pt x="23" y="85"/>
                  </a:lnTo>
                  <a:lnTo>
                    <a:pt x="103" y="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1" name="Freeform 48"/>
            <p:cNvSpPr>
              <a:spLocks/>
            </p:cNvSpPr>
            <p:nvPr/>
          </p:nvSpPr>
          <p:spPr bwMode="auto">
            <a:xfrm>
              <a:off x="5111524" y="2108000"/>
              <a:ext cx="56678" cy="54536"/>
            </a:xfrm>
            <a:custGeom>
              <a:avLst/>
              <a:gdLst>
                <a:gd name="T0" fmla="*/ 0 w 140"/>
                <a:gd name="T1" fmla="*/ 0 h 137"/>
                <a:gd name="T2" fmla="*/ 0 w 140"/>
                <a:gd name="T3" fmla="*/ 0 h 137"/>
                <a:gd name="T4" fmla="*/ 0 w 140"/>
                <a:gd name="T5" fmla="*/ 0 h 137"/>
                <a:gd name="T6" fmla="*/ 0 w 140"/>
                <a:gd name="T7" fmla="*/ 0 h 137"/>
                <a:gd name="T8" fmla="*/ 0 w 140"/>
                <a:gd name="T9" fmla="*/ 0 h 137"/>
                <a:gd name="T10" fmla="*/ 0 w 140"/>
                <a:gd name="T11" fmla="*/ 0 h 137"/>
                <a:gd name="T12" fmla="*/ 0 w 140"/>
                <a:gd name="T13" fmla="*/ 0 h 137"/>
                <a:gd name="T14" fmla="*/ 0 w 140"/>
                <a:gd name="T15" fmla="*/ 0 h 137"/>
                <a:gd name="T16" fmla="*/ 0 w 140"/>
                <a:gd name="T17" fmla="*/ 0 h 137"/>
                <a:gd name="T18" fmla="*/ 0 w 140"/>
                <a:gd name="T19" fmla="*/ 0 h 137"/>
                <a:gd name="T20" fmla="*/ 0 w 140"/>
                <a:gd name="T21" fmla="*/ 0 h 137"/>
                <a:gd name="T22" fmla="*/ 0 w 140"/>
                <a:gd name="T23" fmla="*/ 0 h 137"/>
                <a:gd name="T24" fmla="*/ 0 w 140"/>
                <a:gd name="T25" fmla="*/ 0 h 137"/>
                <a:gd name="T26" fmla="*/ 0 w 140"/>
                <a:gd name="T27" fmla="*/ 0 h 137"/>
                <a:gd name="T28" fmla="*/ 0 w 140"/>
                <a:gd name="T29" fmla="*/ 0 h 137"/>
                <a:gd name="T30" fmla="*/ 0 w 140"/>
                <a:gd name="T31" fmla="*/ 0 h 137"/>
                <a:gd name="T32" fmla="*/ 0 w 140"/>
                <a:gd name="T33" fmla="*/ 0 h 137"/>
                <a:gd name="T34" fmla="*/ 0 w 140"/>
                <a:gd name="T35" fmla="*/ 0 h 137"/>
                <a:gd name="T36" fmla="*/ 0 w 140"/>
                <a:gd name="T37" fmla="*/ 0 h 1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0"/>
                <a:gd name="T58" fmla="*/ 0 h 137"/>
                <a:gd name="T59" fmla="*/ 140 w 140"/>
                <a:gd name="T60" fmla="*/ 137 h 1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0" h="137">
                  <a:moveTo>
                    <a:pt x="6" y="101"/>
                  </a:moveTo>
                  <a:lnTo>
                    <a:pt x="3" y="88"/>
                  </a:lnTo>
                  <a:lnTo>
                    <a:pt x="0" y="104"/>
                  </a:lnTo>
                  <a:lnTo>
                    <a:pt x="16" y="122"/>
                  </a:lnTo>
                  <a:lnTo>
                    <a:pt x="54" y="137"/>
                  </a:lnTo>
                  <a:lnTo>
                    <a:pt x="99" y="122"/>
                  </a:lnTo>
                  <a:lnTo>
                    <a:pt x="135" y="128"/>
                  </a:lnTo>
                  <a:lnTo>
                    <a:pt x="140" y="104"/>
                  </a:lnTo>
                  <a:lnTo>
                    <a:pt x="102" y="21"/>
                  </a:lnTo>
                  <a:lnTo>
                    <a:pt x="103" y="4"/>
                  </a:lnTo>
                  <a:lnTo>
                    <a:pt x="76" y="0"/>
                  </a:lnTo>
                  <a:lnTo>
                    <a:pt x="57" y="10"/>
                  </a:lnTo>
                  <a:lnTo>
                    <a:pt x="52" y="32"/>
                  </a:lnTo>
                  <a:lnTo>
                    <a:pt x="75" y="62"/>
                  </a:lnTo>
                  <a:lnTo>
                    <a:pt x="59" y="90"/>
                  </a:lnTo>
                  <a:lnTo>
                    <a:pt x="65" y="98"/>
                  </a:lnTo>
                  <a:lnTo>
                    <a:pt x="53" y="108"/>
                  </a:lnTo>
                  <a:lnTo>
                    <a:pt x="31" y="111"/>
                  </a:lnTo>
                  <a:lnTo>
                    <a:pt x="6" y="10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2" name="Freeform 49"/>
            <p:cNvSpPr>
              <a:spLocks/>
            </p:cNvSpPr>
            <p:nvPr/>
          </p:nvSpPr>
          <p:spPr bwMode="auto">
            <a:xfrm>
              <a:off x="5111524" y="2108000"/>
              <a:ext cx="56678" cy="54536"/>
            </a:xfrm>
            <a:custGeom>
              <a:avLst/>
              <a:gdLst>
                <a:gd name="T0" fmla="*/ 0 w 140"/>
                <a:gd name="T1" fmla="*/ 0 h 137"/>
                <a:gd name="T2" fmla="*/ 0 w 140"/>
                <a:gd name="T3" fmla="*/ 0 h 137"/>
                <a:gd name="T4" fmla="*/ 0 w 140"/>
                <a:gd name="T5" fmla="*/ 0 h 137"/>
                <a:gd name="T6" fmla="*/ 0 w 140"/>
                <a:gd name="T7" fmla="*/ 0 h 137"/>
                <a:gd name="T8" fmla="*/ 0 w 140"/>
                <a:gd name="T9" fmla="*/ 0 h 137"/>
                <a:gd name="T10" fmla="*/ 0 w 140"/>
                <a:gd name="T11" fmla="*/ 0 h 137"/>
                <a:gd name="T12" fmla="*/ 0 w 140"/>
                <a:gd name="T13" fmla="*/ 0 h 137"/>
                <a:gd name="T14" fmla="*/ 0 w 140"/>
                <a:gd name="T15" fmla="*/ 0 h 137"/>
                <a:gd name="T16" fmla="*/ 0 w 140"/>
                <a:gd name="T17" fmla="*/ 0 h 137"/>
                <a:gd name="T18" fmla="*/ 0 w 140"/>
                <a:gd name="T19" fmla="*/ 0 h 137"/>
                <a:gd name="T20" fmla="*/ 0 w 140"/>
                <a:gd name="T21" fmla="*/ 0 h 137"/>
                <a:gd name="T22" fmla="*/ 0 w 140"/>
                <a:gd name="T23" fmla="*/ 0 h 137"/>
                <a:gd name="T24" fmla="*/ 0 w 140"/>
                <a:gd name="T25" fmla="*/ 0 h 137"/>
                <a:gd name="T26" fmla="*/ 0 w 140"/>
                <a:gd name="T27" fmla="*/ 0 h 137"/>
                <a:gd name="T28" fmla="*/ 0 w 140"/>
                <a:gd name="T29" fmla="*/ 0 h 137"/>
                <a:gd name="T30" fmla="*/ 0 w 140"/>
                <a:gd name="T31" fmla="*/ 0 h 137"/>
                <a:gd name="T32" fmla="*/ 0 w 140"/>
                <a:gd name="T33" fmla="*/ 0 h 137"/>
                <a:gd name="T34" fmla="*/ 0 w 140"/>
                <a:gd name="T35" fmla="*/ 0 h 137"/>
                <a:gd name="T36" fmla="*/ 0 w 140"/>
                <a:gd name="T37" fmla="*/ 0 h 1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0"/>
                <a:gd name="T58" fmla="*/ 0 h 137"/>
                <a:gd name="T59" fmla="*/ 140 w 140"/>
                <a:gd name="T60" fmla="*/ 137 h 1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0" h="137">
                  <a:moveTo>
                    <a:pt x="6" y="101"/>
                  </a:moveTo>
                  <a:lnTo>
                    <a:pt x="3" y="88"/>
                  </a:lnTo>
                  <a:lnTo>
                    <a:pt x="0" y="104"/>
                  </a:lnTo>
                  <a:lnTo>
                    <a:pt x="16" y="122"/>
                  </a:lnTo>
                  <a:lnTo>
                    <a:pt x="54" y="137"/>
                  </a:lnTo>
                  <a:lnTo>
                    <a:pt x="99" y="122"/>
                  </a:lnTo>
                  <a:lnTo>
                    <a:pt x="135" y="128"/>
                  </a:lnTo>
                  <a:lnTo>
                    <a:pt x="140" y="104"/>
                  </a:lnTo>
                  <a:lnTo>
                    <a:pt x="102" y="21"/>
                  </a:lnTo>
                  <a:lnTo>
                    <a:pt x="103" y="4"/>
                  </a:lnTo>
                  <a:lnTo>
                    <a:pt x="76" y="0"/>
                  </a:lnTo>
                  <a:lnTo>
                    <a:pt x="57" y="10"/>
                  </a:lnTo>
                  <a:lnTo>
                    <a:pt x="52" y="32"/>
                  </a:lnTo>
                  <a:lnTo>
                    <a:pt x="75" y="62"/>
                  </a:lnTo>
                  <a:lnTo>
                    <a:pt x="59" y="90"/>
                  </a:lnTo>
                  <a:lnTo>
                    <a:pt x="65" y="98"/>
                  </a:lnTo>
                  <a:lnTo>
                    <a:pt x="53" y="108"/>
                  </a:lnTo>
                  <a:lnTo>
                    <a:pt x="31" y="111"/>
                  </a:lnTo>
                  <a:lnTo>
                    <a:pt x="6" y="10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3" name="Freeform 50"/>
            <p:cNvSpPr>
              <a:spLocks/>
            </p:cNvSpPr>
            <p:nvPr/>
          </p:nvSpPr>
          <p:spPr bwMode="auto">
            <a:xfrm>
              <a:off x="5147210" y="1936003"/>
              <a:ext cx="71372" cy="109072"/>
            </a:xfrm>
            <a:custGeom>
              <a:avLst/>
              <a:gdLst>
                <a:gd name="T0" fmla="*/ 0 w 172"/>
                <a:gd name="T1" fmla="*/ 0 h 266"/>
                <a:gd name="T2" fmla="*/ 0 w 172"/>
                <a:gd name="T3" fmla="*/ 0 h 266"/>
                <a:gd name="T4" fmla="*/ 0 w 172"/>
                <a:gd name="T5" fmla="*/ 0 h 266"/>
                <a:gd name="T6" fmla="*/ 0 w 172"/>
                <a:gd name="T7" fmla="*/ 0 h 266"/>
                <a:gd name="T8" fmla="*/ 0 w 172"/>
                <a:gd name="T9" fmla="*/ 0 h 266"/>
                <a:gd name="T10" fmla="*/ 0 w 172"/>
                <a:gd name="T11" fmla="*/ 0 h 266"/>
                <a:gd name="T12" fmla="*/ 0 w 172"/>
                <a:gd name="T13" fmla="*/ 0 h 266"/>
                <a:gd name="T14" fmla="*/ 0 w 172"/>
                <a:gd name="T15" fmla="*/ 0 h 266"/>
                <a:gd name="T16" fmla="*/ 0 w 172"/>
                <a:gd name="T17" fmla="*/ 0 h 266"/>
                <a:gd name="T18" fmla="*/ 0 w 172"/>
                <a:gd name="T19" fmla="*/ 0 h 266"/>
                <a:gd name="T20" fmla="*/ 0 w 172"/>
                <a:gd name="T21" fmla="*/ 0 h 266"/>
                <a:gd name="T22" fmla="*/ 0 w 172"/>
                <a:gd name="T23" fmla="*/ 0 h 266"/>
                <a:gd name="T24" fmla="*/ 0 w 172"/>
                <a:gd name="T25" fmla="*/ 0 h 266"/>
                <a:gd name="T26" fmla="*/ 0 w 172"/>
                <a:gd name="T27" fmla="*/ 0 h 266"/>
                <a:gd name="T28" fmla="*/ 0 w 172"/>
                <a:gd name="T29" fmla="*/ 0 h 266"/>
                <a:gd name="T30" fmla="*/ 0 w 172"/>
                <a:gd name="T31" fmla="*/ 0 h 266"/>
                <a:gd name="T32" fmla="*/ 0 w 172"/>
                <a:gd name="T33" fmla="*/ 0 h 266"/>
                <a:gd name="T34" fmla="*/ 0 w 172"/>
                <a:gd name="T35" fmla="*/ 0 h 266"/>
                <a:gd name="T36" fmla="*/ 0 w 172"/>
                <a:gd name="T37" fmla="*/ 0 h 266"/>
                <a:gd name="T38" fmla="*/ 0 w 172"/>
                <a:gd name="T39" fmla="*/ 0 h 266"/>
                <a:gd name="T40" fmla="*/ 0 w 172"/>
                <a:gd name="T41" fmla="*/ 0 h 2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2"/>
                <a:gd name="T64" fmla="*/ 0 h 266"/>
                <a:gd name="T65" fmla="*/ 172 w 172"/>
                <a:gd name="T66" fmla="*/ 266 h 2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2" h="266">
                  <a:moveTo>
                    <a:pt x="119" y="6"/>
                  </a:moveTo>
                  <a:lnTo>
                    <a:pt x="114" y="0"/>
                  </a:lnTo>
                  <a:lnTo>
                    <a:pt x="72" y="73"/>
                  </a:lnTo>
                  <a:lnTo>
                    <a:pt x="56" y="33"/>
                  </a:lnTo>
                  <a:lnTo>
                    <a:pt x="22" y="53"/>
                  </a:lnTo>
                  <a:lnTo>
                    <a:pt x="0" y="84"/>
                  </a:lnTo>
                  <a:lnTo>
                    <a:pt x="10" y="101"/>
                  </a:lnTo>
                  <a:lnTo>
                    <a:pt x="37" y="111"/>
                  </a:lnTo>
                  <a:lnTo>
                    <a:pt x="36" y="160"/>
                  </a:lnTo>
                  <a:lnTo>
                    <a:pt x="48" y="187"/>
                  </a:lnTo>
                  <a:lnTo>
                    <a:pt x="39" y="208"/>
                  </a:lnTo>
                  <a:lnTo>
                    <a:pt x="116" y="228"/>
                  </a:lnTo>
                  <a:lnTo>
                    <a:pt x="103" y="266"/>
                  </a:lnTo>
                  <a:lnTo>
                    <a:pt x="129" y="266"/>
                  </a:lnTo>
                  <a:lnTo>
                    <a:pt x="172" y="221"/>
                  </a:lnTo>
                  <a:lnTo>
                    <a:pt x="125" y="196"/>
                  </a:lnTo>
                  <a:lnTo>
                    <a:pt x="118" y="177"/>
                  </a:lnTo>
                  <a:lnTo>
                    <a:pt x="132" y="140"/>
                  </a:lnTo>
                  <a:lnTo>
                    <a:pt x="119" y="94"/>
                  </a:lnTo>
                  <a:lnTo>
                    <a:pt x="132" y="43"/>
                  </a:lnTo>
                  <a:lnTo>
                    <a:pt x="119" y="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4" name="Freeform 51"/>
            <p:cNvSpPr>
              <a:spLocks/>
            </p:cNvSpPr>
            <p:nvPr/>
          </p:nvSpPr>
          <p:spPr bwMode="auto">
            <a:xfrm>
              <a:off x="5147210" y="1936003"/>
              <a:ext cx="71372" cy="109072"/>
            </a:xfrm>
            <a:custGeom>
              <a:avLst/>
              <a:gdLst>
                <a:gd name="T0" fmla="*/ 0 w 172"/>
                <a:gd name="T1" fmla="*/ 0 h 266"/>
                <a:gd name="T2" fmla="*/ 0 w 172"/>
                <a:gd name="T3" fmla="*/ 0 h 266"/>
                <a:gd name="T4" fmla="*/ 0 w 172"/>
                <a:gd name="T5" fmla="*/ 0 h 266"/>
                <a:gd name="T6" fmla="*/ 0 w 172"/>
                <a:gd name="T7" fmla="*/ 0 h 266"/>
                <a:gd name="T8" fmla="*/ 0 w 172"/>
                <a:gd name="T9" fmla="*/ 0 h 266"/>
                <a:gd name="T10" fmla="*/ 0 w 172"/>
                <a:gd name="T11" fmla="*/ 0 h 266"/>
                <a:gd name="T12" fmla="*/ 0 w 172"/>
                <a:gd name="T13" fmla="*/ 0 h 266"/>
                <a:gd name="T14" fmla="*/ 0 w 172"/>
                <a:gd name="T15" fmla="*/ 0 h 266"/>
                <a:gd name="T16" fmla="*/ 0 w 172"/>
                <a:gd name="T17" fmla="*/ 0 h 266"/>
                <a:gd name="T18" fmla="*/ 0 w 172"/>
                <a:gd name="T19" fmla="*/ 0 h 266"/>
                <a:gd name="T20" fmla="*/ 0 w 172"/>
                <a:gd name="T21" fmla="*/ 0 h 266"/>
                <a:gd name="T22" fmla="*/ 0 w 172"/>
                <a:gd name="T23" fmla="*/ 0 h 266"/>
                <a:gd name="T24" fmla="*/ 0 w 172"/>
                <a:gd name="T25" fmla="*/ 0 h 266"/>
                <a:gd name="T26" fmla="*/ 0 w 172"/>
                <a:gd name="T27" fmla="*/ 0 h 266"/>
                <a:gd name="T28" fmla="*/ 0 w 172"/>
                <a:gd name="T29" fmla="*/ 0 h 266"/>
                <a:gd name="T30" fmla="*/ 0 w 172"/>
                <a:gd name="T31" fmla="*/ 0 h 266"/>
                <a:gd name="T32" fmla="*/ 0 w 172"/>
                <a:gd name="T33" fmla="*/ 0 h 266"/>
                <a:gd name="T34" fmla="*/ 0 w 172"/>
                <a:gd name="T35" fmla="*/ 0 h 266"/>
                <a:gd name="T36" fmla="*/ 0 w 172"/>
                <a:gd name="T37" fmla="*/ 0 h 266"/>
                <a:gd name="T38" fmla="*/ 0 w 172"/>
                <a:gd name="T39" fmla="*/ 0 h 266"/>
                <a:gd name="T40" fmla="*/ 0 w 172"/>
                <a:gd name="T41" fmla="*/ 0 h 2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2"/>
                <a:gd name="T64" fmla="*/ 0 h 266"/>
                <a:gd name="T65" fmla="*/ 172 w 172"/>
                <a:gd name="T66" fmla="*/ 266 h 2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2" h="266">
                  <a:moveTo>
                    <a:pt x="119" y="6"/>
                  </a:moveTo>
                  <a:lnTo>
                    <a:pt x="114" y="0"/>
                  </a:lnTo>
                  <a:lnTo>
                    <a:pt x="72" y="73"/>
                  </a:lnTo>
                  <a:lnTo>
                    <a:pt x="56" y="33"/>
                  </a:lnTo>
                  <a:lnTo>
                    <a:pt x="22" y="53"/>
                  </a:lnTo>
                  <a:lnTo>
                    <a:pt x="0" y="84"/>
                  </a:lnTo>
                  <a:lnTo>
                    <a:pt x="10" y="101"/>
                  </a:lnTo>
                  <a:lnTo>
                    <a:pt x="37" y="111"/>
                  </a:lnTo>
                  <a:lnTo>
                    <a:pt x="36" y="160"/>
                  </a:lnTo>
                  <a:lnTo>
                    <a:pt x="48" y="187"/>
                  </a:lnTo>
                  <a:lnTo>
                    <a:pt x="39" y="208"/>
                  </a:lnTo>
                  <a:lnTo>
                    <a:pt x="116" y="228"/>
                  </a:lnTo>
                  <a:lnTo>
                    <a:pt x="103" y="266"/>
                  </a:lnTo>
                  <a:lnTo>
                    <a:pt x="129" y="266"/>
                  </a:lnTo>
                  <a:lnTo>
                    <a:pt x="172" y="221"/>
                  </a:lnTo>
                  <a:lnTo>
                    <a:pt x="125" y="196"/>
                  </a:lnTo>
                  <a:lnTo>
                    <a:pt x="118" y="177"/>
                  </a:lnTo>
                  <a:lnTo>
                    <a:pt x="132" y="140"/>
                  </a:lnTo>
                  <a:lnTo>
                    <a:pt x="119" y="94"/>
                  </a:lnTo>
                  <a:lnTo>
                    <a:pt x="132" y="43"/>
                  </a:lnTo>
                  <a:lnTo>
                    <a:pt x="119" y="6"/>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5" name="Freeform 52"/>
            <p:cNvSpPr>
              <a:spLocks/>
            </p:cNvSpPr>
            <p:nvPr/>
          </p:nvSpPr>
          <p:spPr bwMode="auto">
            <a:xfrm>
              <a:off x="7057452" y="530658"/>
              <a:ext cx="144843" cy="117462"/>
            </a:xfrm>
            <a:custGeom>
              <a:avLst/>
              <a:gdLst>
                <a:gd name="T0" fmla="*/ 0 w 351"/>
                <a:gd name="T1" fmla="*/ 0 h 289"/>
                <a:gd name="T2" fmla="*/ 0 w 351"/>
                <a:gd name="T3" fmla="*/ 0 h 289"/>
                <a:gd name="T4" fmla="*/ 0 w 351"/>
                <a:gd name="T5" fmla="*/ 0 h 289"/>
                <a:gd name="T6" fmla="*/ 0 w 351"/>
                <a:gd name="T7" fmla="*/ 0 h 289"/>
                <a:gd name="T8" fmla="*/ 0 w 351"/>
                <a:gd name="T9" fmla="*/ 0 h 289"/>
                <a:gd name="T10" fmla="*/ 0 w 351"/>
                <a:gd name="T11" fmla="*/ 0 h 289"/>
                <a:gd name="T12" fmla="*/ 0 w 351"/>
                <a:gd name="T13" fmla="*/ 0 h 289"/>
                <a:gd name="T14" fmla="*/ 0 w 351"/>
                <a:gd name="T15" fmla="*/ 0 h 289"/>
                <a:gd name="T16" fmla="*/ 0 w 351"/>
                <a:gd name="T17" fmla="*/ 0 h 289"/>
                <a:gd name="T18" fmla="*/ 0 w 351"/>
                <a:gd name="T19" fmla="*/ 0 h 289"/>
                <a:gd name="T20" fmla="*/ 0 w 351"/>
                <a:gd name="T21" fmla="*/ 0 h 289"/>
                <a:gd name="T22" fmla="*/ 0 w 351"/>
                <a:gd name="T23" fmla="*/ 0 h 289"/>
                <a:gd name="T24" fmla="*/ 0 w 351"/>
                <a:gd name="T25" fmla="*/ 0 h 289"/>
                <a:gd name="T26" fmla="*/ 0 w 351"/>
                <a:gd name="T27" fmla="*/ 0 h 289"/>
                <a:gd name="T28" fmla="*/ 0 w 351"/>
                <a:gd name="T29" fmla="*/ 0 h 289"/>
                <a:gd name="T30" fmla="*/ 0 w 351"/>
                <a:gd name="T31" fmla="*/ 0 h 289"/>
                <a:gd name="T32" fmla="*/ 0 w 351"/>
                <a:gd name="T33" fmla="*/ 0 h 289"/>
                <a:gd name="T34" fmla="*/ 0 w 351"/>
                <a:gd name="T35" fmla="*/ 0 h 289"/>
                <a:gd name="T36" fmla="*/ 0 w 351"/>
                <a:gd name="T37" fmla="*/ 0 h 289"/>
                <a:gd name="T38" fmla="*/ 0 w 351"/>
                <a:gd name="T39" fmla="*/ 0 h 289"/>
                <a:gd name="T40" fmla="*/ 0 w 351"/>
                <a:gd name="T41" fmla="*/ 0 h 289"/>
                <a:gd name="T42" fmla="*/ 0 w 351"/>
                <a:gd name="T43" fmla="*/ 0 h 289"/>
                <a:gd name="T44" fmla="*/ 0 w 351"/>
                <a:gd name="T45" fmla="*/ 0 h 289"/>
                <a:gd name="T46" fmla="*/ 0 w 351"/>
                <a:gd name="T47" fmla="*/ 0 h 289"/>
                <a:gd name="T48" fmla="*/ 0 w 351"/>
                <a:gd name="T49" fmla="*/ 0 h 289"/>
                <a:gd name="T50" fmla="*/ 0 w 351"/>
                <a:gd name="T51" fmla="*/ 0 h 289"/>
                <a:gd name="T52" fmla="*/ 0 w 351"/>
                <a:gd name="T53" fmla="*/ 0 h 289"/>
                <a:gd name="T54" fmla="*/ 0 w 351"/>
                <a:gd name="T55" fmla="*/ 0 h 289"/>
                <a:gd name="T56" fmla="*/ 0 w 351"/>
                <a:gd name="T57" fmla="*/ 0 h 289"/>
                <a:gd name="T58" fmla="*/ 0 w 351"/>
                <a:gd name="T59" fmla="*/ 0 h 289"/>
                <a:gd name="T60" fmla="*/ 0 w 351"/>
                <a:gd name="T61" fmla="*/ 0 h 289"/>
                <a:gd name="T62" fmla="*/ 0 w 351"/>
                <a:gd name="T63" fmla="*/ 0 h 289"/>
                <a:gd name="T64" fmla="*/ 0 w 351"/>
                <a:gd name="T65" fmla="*/ 0 h 289"/>
                <a:gd name="T66" fmla="*/ 0 w 351"/>
                <a:gd name="T67" fmla="*/ 0 h 289"/>
                <a:gd name="T68" fmla="*/ 0 w 351"/>
                <a:gd name="T69" fmla="*/ 0 h 289"/>
                <a:gd name="T70" fmla="*/ 0 w 351"/>
                <a:gd name="T71" fmla="*/ 0 h 289"/>
                <a:gd name="T72" fmla="*/ 0 w 351"/>
                <a:gd name="T73" fmla="*/ 0 h 289"/>
                <a:gd name="T74" fmla="*/ 0 w 351"/>
                <a:gd name="T75" fmla="*/ 0 h 289"/>
                <a:gd name="T76" fmla="*/ 0 w 351"/>
                <a:gd name="T77" fmla="*/ 0 h 289"/>
                <a:gd name="T78" fmla="*/ 0 w 351"/>
                <a:gd name="T79" fmla="*/ 0 h 289"/>
                <a:gd name="T80" fmla="*/ 0 w 351"/>
                <a:gd name="T81" fmla="*/ 0 h 289"/>
                <a:gd name="T82" fmla="*/ 0 w 351"/>
                <a:gd name="T83" fmla="*/ 0 h 289"/>
                <a:gd name="T84" fmla="*/ 0 w 351"/>
                <a:gd name="T85" fmla="*/ 0 h 289"/>
                <a:gd name="T86" fmla="*/ 0 w 351"/>
                <a:gd name="T87" fmla="*/ 0 h 289"/>
                <a:gd name="T88" fmla="*/ 0 w 351"/>
                <a:gd name="T89" fmla="*/ 0 h 289"/>
                <a:gd name="T90" fmla="*/ 0 w 351"/>
                <a:gd name="T91" fmla="*/ 0 h 289"/>
                <a:gd name="T92" fmla="*/ 0 w 351"/>
                <a:gd name="T93" fmla="*/ 0 h 289"/>
                <a:gd name="T94" fmla="*/ 0 w 351"/>
                <a:gd name="T95" fmla="*/ 0 h 289"/>
                <a:gd name="T96" fmla="*/ 0 w 351"/>
                <a:gd name="T97" fmla="*/ 0 h 2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1"/>
                <a:gd name="T148" fmla="*/ 0 h 289"/>
                <a:gd name="T149" fmla="*/ 351 w 351"/>
                <a:gd name="T150" fmla="*/ 289 h 2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1" h="289">
                  <a:moveTo>
                    <a:pt x="224" y="5"/>
                  </a:moveTo>
                  <a:lnTo>
                    <a:pt x="244" y="0"/>
                  </a:lnTo>
                  <a:lnTo>
                    <a:pt x="254" y="45"/>
                  </a:lnTo>
                  <a:lnTo>
                    <a:pt x="246" y="68"/>
                  </a:lnTo>
                  <a:lnTo>
                    <a:pt x="253" y="62"/>
                  </a:lnTo>
                  <a:lnTo>
                    <a:pt x="258" y="83"/>
                  </a:lnTo>
                  <a:lnTo>
                    <a:pt x="232" y="143"/>
                  </a:lnTo>
                  <a:lnTo>
                    <a:pt x="240" y="133"/>
                  </a:lnTo>
                  <a:lnTo>
                    <a:pt x="260" y="122"/>
                  </a:lnTo>
                  <a:lnTo>
                    <a:pt x="273" y="84"/>
                  </a:lnTo>
                  <a:lnTo>
                    <a:pt x="298" y="80"/>
                  </a:lnTo>
                  <a:lnTo>
                    <a:pt x="294" y="62"/>
                  </a:lnTo>
                  <a:lnTo>
                    <a:pt x="306" y="34"/>
                  </a:lnTo>
                  <a:lnTo>
                    <a:pt x="330" y="48"/>
                  </a:lnTo>
                  <a:lnTo>
                    <a:pt x="350" y="75"/>
                  </a:lnTo>
                  <a:lnTo>
                    <a:pt x="351" y="110"/>
                  </a:lnTo>
                  <a:lnTo>
                    <a:pt x="343" y="135"/>
                  </a:lnTo>
                  <a:lnTo>
                    <a:pt x="328" y="154"/>
                  </a:lnTo>
                  <a:lnTo>
                    <a:pt x="299" y="161"/>
                  </a:lnTo>
                  <a:lnTo>
                    <a:pt x="277" y="180"/>
                  </a:lnTo>
                  <a:lnTo>
                    <a:pt x="264" y="208"/>
                  </a:lnTo>
                  <a:lnTo>
                    <a:pt x="253" y="183"/>
                  </a:lnTo>
                  <a:lnTo>
                    <a:pt x="217" y="219"/>
                  </a:lnTo>
                  <a:lnTo>
                    <a:pt x="216" y="236"/>
                  </a:lnTo>
                  <a:lnTo>
                    <a:pt x="203" y="251"/>
                  </a:lnTo>
                  <a:lnTo>
                    <a:pt x="192" y="229"/>
                  </a:lnTo>
                  <a:lnTo>
                    <a:pt x="189" y="202"/>
                  </a:lnTo>
                  <a:lnTo>
                    <a:pt x="195" y="187"/>
                  </a:lnTo>
                  <a:lnTo>
                    <a:pt x="140" y="248"/>
                  </a:lnTo>
                  <a:lnTo>
                    <a:pt x="85" y="282"/>
                  </a:lnTo>
                  <a:lnTo>
                    <a:pt x="89" y="256"/>
                  </a:lnTo>
                  <a:lnTo>
                    <a:pt x="71" y="253"/>
                  </a:lnTo>
                  <a:lnTo>
                    <a:pt x="52" y="275"/>
                  </a:lnTo>
                  <a:lnTo>
                    <a:pt x="3" y="289"/>
                  </a:lnTo>
                  <a:lnTo>
                    <a:pt x="0" y="277"/>
                  </a:lnTo>
                  <a:lnTo>
                    <a:pt x="5" y="241"/>
                  </a:lnTo>
                  <a:lnTo>
                    <a:pt x="21" y="234"/>
                  </a:lnTo>
                  <a:lnTo>
                    <a:pt x="32" y="216"/>
                  </a:lnTo>
                  <a:lnTo>
                    <a:pt x="50" y="219"/>
                  </a:lnTo>
                  <a:lnTo>
                    <a:pt x="74" y="206"/>
                  </a:lnTo>
                  <a:lnTo>
                    <a:pt x="87" y="209"/>
                  </a:lnTo>
                  <a:lnTo>
                    <a:pt x="101" y="192"/>
                  </a:lnTo>
                  <a:lnTo>
                    <a:pt x="155" y="176"/>
                  </a:lnTo>
                  <a:lnTo>
                    <a:pt x="152" y="157"/>
                  </a:lnTo>
                  <a:lnTo>
                    <a:pt x="188" y="124"/>
                  </a:lnTo>
                  <a:lnTo>
                    <a:pt x="190" y="95"/>
                  </a:lnTo>
                  <a:lnTo>
                    <a:pt x="202" y="88"/>
                  </a:lnTo>
                  <a:lnTo>
                    <a:pt x="211" y="33"/>
                  </a:lnTo>
                  <a:lnTo>
                    <a:pt x="224" y="5"/>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6" name="Freeform 53"/>
            <p:cNvSpPr>
              <a:spLocks/>
            </p:cNvSpPr>
            <p:nvPr/>
          </p:nvSpPr>
          <p:spPr bwMode="auto">
            <a:xfrm>
              <a:off x="7057452" y="530658"/>
              <a:ext cx="144843" cy="117462"/>
            </a:xfrm>
            <a:custGeom>
              <a:avLst/>
              <a:gdLst>
                <a:gd name="T0" fmla="*/ 0 w 351"/>
                <a:gd name="T1" fmla="*/ 0 h 289"/>
                <a:gd name="T2" fmla="*/ 0 w 351"/>
                <a:gd name="T3" fmla="*/ 0 h 289"/>
                <a:gd name="T4" fmla="*/ 0 w 351"/>
                <a:gd name="T5" fmla="*/ 0 h 289"/>
                <a:gd name="T6" fmla="*/ 0 w 351"/>
                <a:gd name="T7" fmla="*/ 0 h 289"/>
                <a:gd name="T8" fmla="*/ 0 w 351"/>
                <a:gd name="T9" fmla="*/ 0 h 289"/>
                <a:gd name="T10" fmla="*/ 0 w 351"/>
                <a:gd name="T11" fmla="*/ 0 h 289"/>
                <a:gd name="T12" fmla="*/ 0 w 351"/>
                <a:gd name="T13" fmla="*/ 0 h 289"/>
                <a:gd name="T14" fmla="*/ 0 w 351"/>
                <a:gd name="T15" fmla="*/ 0 h 289"/>
                <a:gd name="T16" fmla="*/ 0 w 351"/>
                <a:gd name="T17" fmla="*/ 0 h 289"/>
                <a:gd name="T18" fmla="*/ 0 w 351"/>
                <a:gd name="T19" fmla="*/ 0 h 289"/>
                <a:gd name="T20" fmla="*/ 0 w 351"/>
                <a:gd name="T21" fmla="*/ 0 h 289"/>
                <a:gd name="T22" fmla="*/ 0 w 351"/>
                <a:gd name="T23" fmla="*/ 0 h 289"/>
                <a:gd name="T24" fmla="*/ 0 w 351"/>
                <a:gd name="T25" fmla="*/ 0 h 289"/>
                <a:gd name="T26" fmla="*/ 0 w 351"/>
                <a:gd name="T27" fmla="*/ 0 h 289"/>
                <a:gd name="T28" fmla="*/ 0 w 351"/>
                <a:gd name="T29" fmla="*/ 0 h 289"/>
                <a:gd name="T30" fmla="*/ 0 w 351"/>
                <a:gd name="T31" fmla="*/ 0 h 289"/>
                <a:gd name="T32" fmla="*/ 0 w 351"/>
                <a:gd name="T33" fmla="*/ 0 h 289"/>
                <a:gd name="T34" fmla="*/ 0 w 351"/>
                <a:gd name="T35" fmla="*/ 0 h 289"/>
                <a:gd name="T36" fmla="*/ 0 w 351"/>
                <a:gd name="T37" fmla="*/ 0 h 289"/>
                <a:gd name="T38" fmla="*/ 0 w 351"/>
                <a:gd name="T39" fmla="*/ 0 h 289"/>
                <a:gd name="T40" fmla="*/ 0 w 351"/>
                <a:gd name="T41" fmla="*/ 0 h 289"/>
                <a:gd name="T42" fmla="*/ 0 w 351"/>
                <a:gd name="T43" fmla="*/ 0 h 289"/>
                <a:gd name="T44" fmla="*/ 0 w 351"/>
                <a:gd name="T45" fmla="*/ 0 h 289"/>
                <a:gd name="T46" fmla="*/ 0 w 351"/>
                <a:gd name="T47" fmla="*/ 0 h 289"/>
                <a:gd name="T48" fmla="*/ 0 w 351"/>
                <a:gd name="T49" fmla="*/ 0 h 289"/>
                <a:gd name="T50" fmla="*/ 0 w 351"/>
                <a:gd name="T51" fmla="*/ 0 h 289"/>
                <a:gd name="T52" fmla="*/ 0 w 351"/>
                <a:gd name="T53" fmla="*/ 0 h 289"/>
                <a:gd name="T54" fmla="*/ 0 w 351"/>
                <a:gd name="T55" fmla="*/ 0 h 289"/>
                <a:gd name="T56" fmla="*/ 0 w 351"/>
                <a:gd name="T57" fmla="*/ 0 h 289"/>
                <a:gd name="T58" fmla="*/ 0 w 351"/>
                <a:gd name="T59" fmla="*/ 0 h 289"/>
                <a:gd name="T60" fmla="*/ 0 w 351"/>
                <a:gd name="T61" fmla="*/ 0 h 289"/>
                <a:gd name="T62" fmla="*/ 0 w 351"/>
                <a:gd name="T63" fmla="*/ 0 h 289"/>
                <a:gd name="T64" fmla="*/ 0 w 351"/>
                <a:gd name="T65" fmla="*/ 0 h 289"/>
                <a:gd name="T66" fmla="*/ 0 w 351"/>
                <a:gd name="T67" fmla="*/ 0 h 289"/>
                <a:gd name="T68" fmla="*/ 0 w 351"/>
                <a:gd name="T69" fmla="*/ 0 h 289"/>
                <a:gd name="T70" fmla="*/ 0 w 351"/>
                <a:gd name="T71" fmla="*/ 0 h 289"/>
                <a:gd name="T72" fmla="*/ 0 w 351"/>
                <a:gd name="T73" fmla="*/ 0 h 289"/>
                <a:gd name="T74" fmla="*/ 0 w 351"/>
                <a:gd name="T75" fmla="*/ 0 h 289"/>
                <a:gd name="T76" fmla="*/ 0 w 351"/>
                <a:gd name="T77" fmla="*/ 0 h 289"/>
                <a:gd name="T78" fmla="*/ 0 w 351"/>
                <a:gd name="T79" fmla="*/ 0 h 289"/>
                <a:gd name="T80" fmla="*/ 0 w 351"/>
                <a:gd name="T81" fmla="*/ 0 h 289"/>
                <a:gd name="T82" fmla="*/ 0 w 351"/>
                <a:gd name="T83" fmla="*/ 0 h 289"/>
                <a:gd name="T84" fmla="*/ 0 w 351"/>
                <a:gd name="T85" fmla="*/ 0 h 289"/>
                <a:gd name="T86" fmla="*/ 0 w 351"/>
                <a:gd name="T87" fmla="*/ 0 h 289"/>
                <a:gd name="T88" fmla="*/ 0 w 351"/>
                <a:gd name="T89" fmla="*/ 0 h 289"/>
                <a:gd name="T90" fmla="*/ 0 w 351"/>
                <a:gd name="T91" fmla="*/ 0 h 289"/>
                <a:gd name="T92" fmla="*/ 0 w 351"/>
                <a:gd name="T93" fmla="*/ 0 h 289"/>
                <a:gd name="T94" fmla="*/ 0 w 351"/>
                <a:gd name="T95" fmla="*/ 0 h 289"/>
                <a:gd name="T96" fmla="*/ 0 w 351"/>
                <a:gd name="T97" fmla="*/ 0 h 2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1"/>
                <a:gd name="T148" fmla="*/ 0 h 289"/>
                <a:gd name="T149" fmla="*/ 351 w 351"/>
                <a:gd name="T150" fmla="*/ 289 h 2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1" h="289">
                  <a:moveTo>
                    <a:pt x="224" y="5"/>
                  </a:moveTo>
                  <a:lnTo>
                    <a:pt x="244" y="0"/>
                  </a:lnTo>
                  <a:lnTo>
                    <a:pt x="254" y="45"/>
                  </a:lnTo>
                  <a:lnTo>
                    <a:pt x="246" y="68"/>
                  </a:lnTo>
                  <a:lnTo>
                    <a:pt x="253" y="62"/>
                  </a:lnTo>
                  <a:lnTo>
                    <a:pt x="258" y="83"/>
                  </a:lnTo>
                  <a:lnTo>
                    <a:pt x="232" y="143"/>
                  </a:lnTo>
                  <a:lnTo>
                    <a:pt x="240" y="133"/>
                  </a:lnTo>
                  <a:lnTo>
                    <a:pt x="260" y="122"/>
                  </a:lnTo>
                  <a:lnTo>
                    <a:pt x="273" y="84"/>
                  </a:lnTo>
                  <a:lnTo>
                    <a:pt x="298" y="80"/>
                  </a:lnTo>
                  <a:lnTo>
                    <a:pt x="294" y="62"/>
                  </a:lnTo>
                  <a:lnTo>
                    <a:pt x="306" y="34"/>
                  </a:lnTo>
                  <a:lnTo>
                    <a:pt x="330" y="48"/>
                  </a:lnTo>
                  <a:lnTo>
                    <a:pt x="350" y="75"/>
                  </a:lnTo>
                  <a:lnTo>
                    <a:pt x="351" y="110"/>
                  </a:lnTo>
                  <a:lnTo>
                    <a:pt x="343" y="135"/>
                  </a:lnTo>
                  <a:lnTo>
                    <a:pt x="328" y="154"/>
                  </a:lnTo>
                  <a:lnTo>
                    <a:pt x="299" y="161"/>
                  </a:lnTo>
                  <a:lnTo>
                    <a:pt x="277" y="180"/>
                  </a:lnTo>
                  <a:lnTo>
                    <a:pt x="264" y="208"/>
                  </a:lnTo>
                  <a:lnTo>
                    <a:pt x="253" y="183"/>
                  </a:lnTo>
                  <a:lnTo>
                    <a:pt x="217" y="219"/>
                  </a:lnTo>
                  <a:lnTo>
                    <a:pt x="216" y="236"/>
                  </a:lnTo>
                  <a:lnTo>
                    <a:pt x="203" y="251"/>
                  </a:lnTo>
                  <a:lnTo>
                    <a:pt x="192" y="229"/>
                  </a:lnTo>
                  <a:lnTo>
                    <a:pt x="189" y="202"/>
                  </a:lnTo>
                  <a:lnTo>
                    <a:pt x="195" y="187"/>
                  </a:lnTo>
                  <a:lnTo>
                    <a:pt x="140" y="248"/>
                  </a:lnTo>
                  <a:lnTo>
                    <a:pt x="85" y="282"/>
                  </a:lnTo>
                  <a:lnTo>
                    <a:pt x="89" y="256"/>
                  </a:lnTo>
                  <a:lnTo>
                    <a:pt x="71" y="253"/>
                  </a:lnTo>
                  <a:lnTo>
                    <a:pt x="52" y="275"/>
                  </a:lnTo>
                  <a:lnTo>
                    <a:pt x="3" y="289"/>
                  </a:lnTo>
                  <a:lnTo>
                    <a:pt x="0" y="277"/>
                  </a:lnTo>
                  <a:lnTo>
                    <a:pt x="5" y="241"/>
                  </a:lnTo>
                  <a:lnTo>
                    <a:pt x="21" y="234"/>
                  </a:lnTo>
                  <a:lnTo>
                    <a:pt x="32" y="216"/>
                  </a:lnTo>
                  <a:lnTo>
                    <a:pt x="50" y="219"/>
                  </a:lnTo>
                  <a:lnTo>
                    <a:pt x="74" y="206"/>
                  </a:lnTo>
                  <a:lnTo>
                    <a:pt x="87" y="209"/>
                  </a:lnTo>
                  <a:lnTo>
                    <a:pt x="101" y="192"/>
                  </a:lnTo>
                  <a:lnTo>
                    <a:pt x="155" y="176"/>
                  </a:lnTo>
                  <a:lnTo>
                    <a:pt x="152" y="157"/>
                  </a:lnTo>
                  <a:lnTo>
                    <a:pt x="188" y="124"/>
                  </a:lnTo>
                  <a:lnTo>
                    <a:pt x="190" y="95"/>
                  </a:lnTo>
                  <a:lnTo>
                    <a:pt x="202" y="88"/>
                  </a:lnTo>
                  <a:lnTo>
                    <a:pt x="211" y="33"/>
                  </a:lnTo>
                  <a:lnTo>
                    <a:pt x="224" y="5"/>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7" name="Freeform 54"/>
            <p:cNvSpPr>
              <a:spLocks/>
            </p:cNvSpPr>
            <p:nvPr/>
          </p:nvSpPr>
          <p:spPr bwMode="auto">
            <a:xfrm>
              <a:off x="7074245" y="526463"/>
              <a:ext cx="54578" cy="60828"/>
            </a:xfrm>
            <a:custGeom>
              <a:avLst/>
              <a:gdLst>
                <a:gd name="T0" fmla="*/ 0 w 132"/>
                <a:gd name="T1" fmla="*/ 0 h 151"/>
                <a:gd name="T2" fmla="*/ 0 w 132"/>
                <a:gd name="T3" fmla="*/ 0 h 151"/>
                <a:gd name="T4" fmla="*/ 0 w 132"/>
                <a:gd name="T5" fmla="*/ 0 h 151"/>
                <a:gd name="T6" fmla="*/ 0 w 132"/>
                <a:gd name="T7" fmla="*/ 0 h 151"/>
                <a:gd name="T8" fmla="*/ 0 w 132"/>
                <a:gd name="T9" fmla="*/ 0 h 151"/>
                <a:gd name="T10" fmla="*/ 0 w 132"/>
                <a:gd name="T11" fmla="*/ 0 h 151"/>
                <a:gd name="T12" fmla="*/ 0 w 132"/>
                <a:gd name="T13" fmla="*/ 0 h 151"/>
                <a:gd name="T14" fmla="*/ 0 w 132"/>
                <a:gd name="T15" fmla="*/ 0 h 151"/>
                <a:gd name="T16" fmla="*/ 0 w 132"/>
                <a:gd name="T17" fmla="*/ 0 h 151"/>
                <a:gd name="T18" fmla="*/ 0 w 132"/>
                <a:gd name="T19" fmla="*/ 0 h 151"/>
                <a:gd name="T20" fmla="*/ 0 w 132"/>
                <a:gd name="T21" fmla="*/ 0 h 151"/>
                <a:gd name="T22" fmla="*/ 0 w 132"/>
                <a:gd name="T23" fmla="*/ 0 h 151"/>
                <a:gd name="T24" fmla="*/ 0 w 132"/>
                <a:gd name="T25" fmla="*/ 0 h 151"/>
                <a:gd name="T26" fmla="*/ 0 w 132"/>
                <a:gd name="T27" fmla="*/ 0 h 151"/>
                <a:gd name="T28" fmla="*/ 0 w 132"/>
                <a:gd name="T29" fmla="*/ 0 h 151"/>
                <a:gd name="T30" fmla="*/ 0 w 132"/>
                <a:gd name="T31" fmla="*/ 0 h 151"/>
                <a:gd name="T32" fmla="*/ 0 w 132"/>
                <a:gd name="T33" fmla="*/ 0 h 151"/>
                <a:gd name="T34" fmla="*/ 0 w 132"/>
                <a:gd name="T35" fmla="*/ 0 h 151"/>
                <a:gd name="T36" fmla="*/ 0 w 132"/>
                <a:gd name="T37" fmla="*/ 0 h 151"/>
                <a:gd name="T38" fmla="*/ 0 w 132"/>
                <a:gd name="T39" fmla="*/ 0 h 151"/>
                <a:gd name="T40" fmla="*/ 0 w 132"/>
                <a:gd name="T41" fmla="*/ 0 h 151"/>
                <a:gd name="T42" fmla="*/ 0 w 132"/>
                <a:gd name="T43" fmla="*/ 0 h 151"/>
                <a:gd name="T44" fmla="*/ 0 w 132"/>
                <a:gd name="T45" fmla="*/ 0 h 151"/>
                <a:gd name="T46" fmla="*/ 0 w 132"/>
                <a:gd name="T47" fmla="*/ 0 h 151"/>
                <a:gd name="T48" fmla="*/ 0 w 132"/>
                <a:gd name="T49" fmla="*/ 0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2"/>
                <a:gd name="T76" fmla="*/ 0 h 151"/>
                <a:gd name="T77" fmla="*/ 132 w 132"/>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2" h="151">
                  <a:moveTo>
                    <a:pt x="7" y="103"/>
                  </a:moveTo>
                  <a:lnTo>
                    <a:pt x="15" y="97"/>
                  </a:lnTo>
                  <a:lnTo>
                    <a:pt x="13" y="85"/>
                  </a:lnTo>
                  <a:lnTo>
                    <a:pt x="16" y="71"/>
                  </a:lnTo>
                  <a:lnTo>
                    <a:pt x="26" y="82"/>
                  </a:lnTo>
                  <a:lnTo>
                    <a:pt x="34" y="67"/>
                  </a:lnTo>
                  <a:lnTo>
                    <a:pt x="50" y="75"/>
                  </a:lnTo>
                  <a:lnTo>
                    <a:pt x="58" y="60"/>
                  </a:lnTo>
                  <a:lnTo>
                    <a:pt x="67" y="29"/>
                  </a:lnTo>
                  <a:lnTo>
                    <a:pt x="79" y="55"/>
                  </a:lnTo>
                  <a:lnTo>
                    <a:pt x="100" y="55"/>
                  </a:lnTo>
                  <a:lnTo>
                    <a:pt x="103" y="0"/>
                  </a:lnTo>
                  <a:lnTo>
                    <a:pt x="132" y="57"/>
                  </a:lnTo>
                  <a:lnTo>
                    <a:pt x="131" y="129"/>
                  </a:lnTo>
                  <a:lnTo>
                    <a:pt x="110" y="131"/>
                  </a:lnTo>
                  <a:lnTo>
                    <a:pt x="93" y="145"/>
                  </a:lnTo>
                  <a:lnTo>
                    <a:pt x="71" y="151"/>
                  </a:lnTo>
                  <a:lnTo>
                    <a:pt x="65" y="128"/>
                  </a:lnTo>
                  <a:lnTo>
                    <a:pt x="84" y="111"/>
                  </a:lnTo>
                  <a:lnTo>
                    <a:pt x="95" y="92"/>
                  </a:lnTo>
                  <a:lnTo>
                    <a:pt x="76" y="112"/>
                  </a:lnTo>
                  <a:lnTo>
                    <a:pt x="62" y="110"/>
                  </a:lnTo>
                  <a:lnTo>
                    <a:pt x="8" y="140"/>
                  </a:lnTo>
                  <a:lnTo>
                    <a:pt x="0" y="124"/>
                  </a:lnTo>
                  <a:lnTo>
                    <a:pt x="7" y="10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8" name="Freeform 55"/>
            <p:cNvSpPr>
              <a:spLocks/>
            </p:cNvSpPr>
            <p:nvPr/>
          </p:nvSpPr>
          <p:spPr bwMode="auto">
            <a:xfrm>
              <a:off x="7074245" y="526463"/>
              <a:ext cx="54578" cy="60828"/>
            </a:xfrm>
            <a:custGeom>
              <a:avLst/>
              <a:gdLst>
                <a:gd name="T0" fmla="*/ 0 w 132"/>
                <a:gd name="T1" fmla="*/ 0 h 151"/>
                <a:gd name="T2" fmla="*/ 0 w 132"/>
                <a:gd name="T3" fmla="*/ 0 h 151"/>
                <a:gd name="T4" fmla="*/ 0 w 132"/>
                <a:gd name="T5" fmla="*/ 0 h 151"/>
                <a:gd name="T6" fmla="*/ 0 w 132"/>
                <a:gd name="T7" fmla="*/ 0 h 151"/>
                <a:gd name="T8" fmla="*/ 0 w 132"/>
                <a:gd name="T9" fmla="*/ 0 h 151"/>
                <a:gd name="T10" fmla="*/ 0 w 132"/>
                <a:gd name="T11" fmla="*/ 0 h 151"/>
                <a:gd name="T12" fmla="*/ 0 w 132"/>
                <a:gd name="T13" fmla="*/ 0 h 151"/>
                <a:gd name="T14" fmla="*/ 0 w 132"/>
                <a:gd name="T15" fmla="*/ 0 h 151"/>
                <a:gd name="T16" fmla="*/ 0 w 132"/>
                <a:gd name="T17" fmla="*/ 0 h 151"/>
                <a:gd name="T18" fmla="*/ 0 w 132"/>
                <a:gd name="T19" fmla="*/ 0 h 151"/>
                <a:gd name="T20" fmla="*/ 0 w 132"/>
                <a:gd name="T21" fmla="*/ 0 h 151"/>
                <a:gd name="T22" fmla="*/ 0 w 132"/>
                <a:gd name="T23" fmla="*/ 0 h 151"/>
                <a:gd name="T24" fmla="*/ 0 w 132"/>
                <a:gd name="T25" fmla="*/ 0 h 151"/>
                <a:gd name="T26" fmla="*/ 0 w 132"/>
                <a:gd name="T27" fmla="*/ 0 h 151"/>
                <a:gd name="T28" fmla="*/ 0 w 132"/>
                <a:gd name="T29" fmla="*/ 0 h 151"/>
                <a:gd name="T30" fmla="*/ 0 w 132"/>
                <a:gd name="T31" fmla="*/ 0 h 151"/>
                <a:gd name="T32" fmla="*/ 0 w 132"/>
                <a:gd name="T33" fmla="*/ 0 h 151"/>
                <a:gd name="T34" fmla="*/ 0 w 132"/>
                <a:gd name="T35" fmla="*/ 0 h 151"/>
                <a:gd name="T36" fmla="*/ 0 w 132"/>
                <a:gd name="T37" fmla="*/ 0 h 151"/>
                <a:gd name="T38" fmla="*/ 0 w 132"/>
                <a:gd name="T39" fmla="*/ 0 h 151"/>
                <a:gd name="T40" fmla="*/ 0 w 132"/>
                <a:gd name="T41" fmla="*/ 0 h 151"/>
                <a:gd name="T42" fmla="*/ 0 w 132"/>
                <a:gd name="T43" fmla="*/ 0 h 151"/>
                <a:gd name="T44" fmla="*/ 0 w 132"/>
                <a:gd name="T45" fmla="*/ 0 h 151"/>
                <a:gd name="T46" fmla="*/ 0 w 132"/>
                <a:gd name="T47" fmla="*/ 0 h 151"/>
                <a:gd name="T48" fmla="*/ 0 w 132"/>
                <a:gd name="T49" fmla="*/ 0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2"/>
                <a:gd name="T76" fmla="*/ 0 h 151"/>
                <a:gd name="T77" fmla="*/ 132 w 132"/>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2" h="151">
                  <a:moveTo>
                    <a:pt x="7" y="103"/>
                  </a:moveTo>
                  <a:lnTo>
                    <a:pt x="15" y="97"/>
                  </a:lnTo>
                  <a:lnTo>
                    <a:pt x="13" y="85"/>
                  </a:lnTo>
                  <a:lnTo>
                    <a:pt x="16" y="71"/>
                  </a:lnTo>
                  <a:lnTo>
                    <a:pt x="26" y="82"/>
                  </a:lnTo>
                  <a:lnTo>
                    <a:pt x="34" y="67"/>
                  </a:lnTo>
                  <a:lnTo>
                    <a:pt x="50" y="75"/>
                  </a:lnTo>
                  <a:lnTo>
                    <a:pt x="58" y="60"/>
                  </a:lnTo>
                  <a:lnTo>
                    <a:pt x="67" y="29"/>
                  </a:lnTo>
                  <a:lnTo>
                    <a:pt x="79" y="55"/>
                  </a:lnTo>
                  <a:lnTo>
                    <a:pt x="100" y="55"/>
                  </a:lnTo>
                  <a:lnTo>
                    <a:pt x="103" y="0"/>
                  </a:lnTo>
                  <a:lnTo>
                    <a:pt x="132" y="57"/>
                  </a:lnTo>
                  <a:lnTo>
                    <a:pt x="131" y="129"/>
                  </a:lnTo>
                  <a:lnTo>
                    <a:pt x="110" y="131"/>
                  </a:lnTo>
                  <a:lnTo>
                    <a:pt x="93" y="145"/>
                  </a:lnTo>
                  <a:lnTo>
                    <a:pt x="71" y="151"/>
                  </a:lnTo>
                  <a:lnTo>
                    <a:pt x="65" y="128"/>
                  </a:lnTo>
                  <a:lnTo>
                    <a:pt x="84" y="111"/>
                  </a:lnTo>
                  <a:lnTo>
                    <a:pt x="95" y="92"/>
                  </a:lnTo>
                  <a:lnTo>
                    <a:pt x="76" y="112"/>
                  </a:lnTo>
                  <a:lnTo>
                    <a:pt x="62" y="110"/>
                  </a:lnTo>
                  <a:lnTo>
                    <a:pt x="8" y="140"/>
                  </a:lnTo>
                  <a:lnTo>
                    <a:pt x="0" y="124"/>
                  </a:lnTo>
                  <a:lnTo>
                    <a:pt x="7" y="103"/>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399" name="Freeform 56"/>
            <p:cNvSpPr>
              <a:spLocks/>
            </p:cNvSpPr>
            <p:nvPr/>
          </p:nvSpPr>
          <p:spPr bwMode="auto">
            <a:xfrm>
              <a:off x="7143518" y="474025"/>
              <a:ext cx="41983" cy="48243"/>
            </a:xfrm>
            <a:custGeom>
              <a:avLst/>
              <a:gdLst>
                <a:gd name="T0" fmla="*/ 0 w 101"/>
                <a:gd name="T1" fmla="*/ 0 h 124"/>
                <a:gd name="T2" fmla="*/ 0 w 101"/>
                <a:gd name="T3" fmla="*/ 0 h 124"/>
                <a:gd name="T4" fmla="*/ 0 w 101"/>
                <a:gd name="T5" fmla="*/ 0 h 124"/>
                <a:gd name="T6" fmla="*/ 0 w 101"/>
                <a:gd name="T7" fmla="*/ 0 h 124"/>
                <a:gd name="T8" fmla="*/ 0 w 101"/>
                <a:gd name="T9" fmla="*/ 0 h 124"/>
                <a:gd name="T10" fmla="*/ 0 w 101"/>
                <a:gd name="T11" fmla="*/ 0 h 124"/>
                <a:gd name="T12" fmla="*/ 0 w 101"/>
                <a:gd name="T13" fmla="*/ 0 h 124"/>
                <a:gd name="T14" fmla="*/ 0 w 101"/>
                <a:gd name="T15" fmla="*/ 0 h 124"/>
                <a:gd name="T16" fmla="*/ 0 w 101"/>
                <a:gd name="T17" fmla="*/ 0 h 124"/>
                <a:gd name="T18" fmla="*/ 0 w 101"/>
                <a:gd name="T19" fmla="*/ 0 h 124"/>
                <a:gd name="T20" fmla="*/ 0 w 101"/>
                <a:gd name="T21" fmla="*/ 0 h 124"/>
                <a:gd name="T22" fmla="*/ 0 w 101"/>
                <a:gd name="T23" fmla="*/ 0 h 1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124"/>
                <a:gd name="T38" fmla="*/ 101 w 101"/>
                <a:gd name="T39" fmla="*/ 124 h 1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124">
                  <a:moveTo>
                    <a:pt x="40" y="41"/>
                  </a:moveTo>
                  <a:lnTo>
                    <a:pt x="52" y="40"/>
                  </a:lnTo>
                  <a:lnTo>
                    <a:pt x="64" y="0"/>
                  </a:lnTo>
                  <a:lnTo>
                    <a:pt x="79" y="0"/>
                  </a:lnTo>
                  <a:lnTo>
                    <a:pt x="101" y="15"/>
                  </a:lnTo>
                  <a:lnTo>
                    <a:pt x="67" y="99"/>
                  </a:lnTo>
                  <a:lnTo>
                    <a:pt x="21" y="124"/>
                  </a:lnTo>
                  <a:lnTo>
                    <a:pt x="5" y="121"/>
                  </a:lnTo>
                  <a:lnTo>
                    <a:pt x="0" y="105"/>
                  </a:lnTo>
                  <a:lnTo>
                    <a:pt x="7" y="73"/>
                  </a:lnTo>
                  <a:lnTo>
                    <a:pt x="38" y="56"/>
                  </a:lnTo>
                  <a:lnTo>
                    <a:pt x="40" y="4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0" name="Freeform 57"/>
            <p:cNvSpPr>
              <a:spLocks/>
            </p:cNvSpPr>
            <p:nvPr/>
          </p:nvSpPr>
          <p:spPr bwMode="auto">
            <a:xfrm>
              <a:off x="7143518" y="474025"/>
              <a:ext cx="41983" cy="48243"/>
            </a:xfrm>
            <a:custGeom>
              <a:avLst/>
              <a:gdLst>
                <a:gd name="T0" fmla="*/ 0 w 101"/>
                <a:gd name="T1" fmla="*/ 0 h 124"/>
                <a:gd name="T2" fmla="*/ 0 w 101"/>
                <a:gd name="T3" fmla="*/ 0 h 124"/>
                <a:gd name="T4" fmla="*/ 0 w 101"/>
                <a:gd name="T5" fmla="*/ 0 h 124"/>
                <a:gd name="T6" fmla="*/ 0 w 101"/>
                <a:gd name="T7" fmla="*/ 0 h 124"/>
                <a:gd name="T8" fmla="*/ 0 w 101"/>
                <a:gd name="T9" fmla="*/ 0 h 124"/>
                <a:gd name="T10" fmla="*/ 0 w 101"/>
                <a:gd name="T11" fmla="*/ 0 h 124"/>
                <a:gd name="T12" fmla="*/ 0 w 101"/>
                <a:gd name="T13" fmla="*/ 0 h 124"/>
                <a:gd name="T14" fmla="*/ 0 w 101"/>
                <a:gd name="T15" fmla="*/ 0 h 124"/>
                <a:gd name="T16" fmla="*/ 0 w 101"/>
                <a:gd name="T17" fmla="*/ 0 h 124"/>
                <a:gd name="T18" fmla="*/ 0 w 101"/>
                <a:gd name="T19" fmla="*/ 0 h 124"/>
                <a:gd name="T20" fmla="*/ 0 w 101"/>
                <a:gd name="T21" fmla="*/ 0 h 124"/>
                <a:gd name="T22" fmla="*/ 0 w 101"/>
                <a:gd name="T23" fmla="*/ 0 h 1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124"/>
                <a:gd name="T38" fmla="*/ 101 w 101"/>
                <a:gd name="T39" fmla="*/ 124 h 1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124">
                  <a:moveTo>
                    <a:pt x="40" y="41"/>
                  </a:moveTo>
                  <a:lnTo>
                    <a:pt x="52" y="40"/>
                  </a:lnTo>
                  <a:lnTo>
                    <a:pt x="64" y="0"/>
                  </a:lnTo>
                  <a:lnTo>
                    <a:pt x="79" y="0"/>
                  </a:lnTo>
                  <a:lnTo>
                    <a:pt x="101" y="15"/>
                  </a:lnTo>
                  <a:lnTo>
                    <a:pt x="67" y="99"/>
                  </a:lnTo>
                  <a:lnTo>
                    <a:pt x="21" y="124"/>
                  </a:lnTo>
                  <a:lnTo>
                    <a:pt x="5" y="121"/>
                  </a:lnTo>
                  <a:lnTo>
                    <a:pt x="0" y="105"/>
                  </a:lnTo>
                  <a:lnTo>
                    <a:pt x="7" y="73"/>
                  </a:lnTo>
                  <a:lnTo>
                    <a:pt x="38" y="56"/>
                  </a:lnTo>
                  <a:lnTo>
                    <a:pt x="40" y="4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1" name="Freeform 58"/>
            <p:cNvSpPr>
              <a:spLocks/>
            </p:cNvSpPr>
            <p:nvPr/>
          </p:nvSpPr>
          <p:spPr bwMode="auto">
            <a:xfrm>
              <a:off x="7080543" y="694266"/>
              <a:ext cx="37785" cy="35658"/>
            </a:xfrm>
            <a:custGeom>
              <a:avLst/>
              <a:gdLst>
                <a:gd name="T0" fmla="*/ 0 w 97"/>
                <a:gd name="T1" fmla="*/ 0 h 89"/>
                <a:gd name="T2" fmla="*/ 0 w 97"/>
                <a:gd name="T3" fmla="*/ 0 h 89"/>
                <a:gd name="T4" fmla="*/ 0 w 97"/>
                <a:gd name="T5" fmla="*/ 0 h 89"/>
                <a:gd name="T6" fmla="*/ 0 w 97"/>
                <a:gd name="T7" fmla="*/ 0 h 89"/>
                <a:gd name="T8" fmla="*/ 0 w 97"/>
                <a:gd name="T9" fmla="*/ 0 h 89"/>
                <a:gd name="T10" fmla="*/ 0 w 97"/>
                <a:gd name="T11" fmla="*/ 0 h 89"/>
                <a:gd name="T12" fmla="*/ 0 w 97"/>
                <a:gd name="T13" fmla="*/ 0 h 89"/>
                <a:gd name="T14" fmla="*/ 0 w 97"/>
                <a:gd name="T15" fmla="*/ 0 h 89"/>
                <a:gd name="T16" fmla="*/ 0 w 97"/>
                <a:gd name="T17" fmla="*/ 0 h 89"/>
                <a:gd name="T18" fmla="*/ 0 w 97"/>
                <a:gd name="T19" fmla="*/ 0 h 89"/>
                <a:gd name="T20" fmla="*/ 0 w 97"/>
                <a:gd name="T21" fmla="*/ 0 h 89"/>
                <a:gd name="T22" fmla="*/ 0 w 97"/>
                <a:gd name="T23" fmla="*/ 0 h 89"/>
                <a:gd name="T24" fmla="*/ 0 w 97"/>
                <a:gd name="T25" fmla="*/ 0 h 89"/>
                <a:gd name="T26" fmla="*/ 0 w 97"/>
                <a:gd name="T27" fmla="*/ 0 h 89"/>
                <a:gd name="T28" fmla="*/ 0 w 97"/>
                <a:gd name="T29" fmla="*/ 0 h 89"/>
                <a:gd name="T30" fmla="*/ 0 w 97"/>
                <a:gd name="T31" fmla="*/ 0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89"/>
                <a:gd name="T50" fmla="*/ 97 w 97"/>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89">
                  <a:moveTo>
                    <a:pt x="35" y="43"/>
                  </a:moveTo>
                  <a:lnTo>
                    <a:pt x="30" y="42"/>
                  </a:lnTo>
                  <a:lnTo>
                    <a:pt x="22" y="12"/>
                  </a:lnTo>
                  <a:lnTo>
                    <a:pt x="45" y="23"/>
                  </a:lnTo>
                  <a:lnTo>
                    <a:pt x="64" y="23"/>
                  </a:lnTo>
                  <a:lnTo>
                    <a:pt x="91" y="0"/>
                  </a:lnTo>
                  <a:lnTo>
                    <a:pt x="97" y="21"/>
                  </a:lnTo>
                  <a:lnTo>
                    <a:pt x="90" y="42"/>
                  </a:lnTo>
                  <a:lnTo>
                    <a:pt x="69" y="49"/>
                  </a:lnTo>
                  <a:lnTo>
                    <a:pt x="54" y="71"/>
                  </a:lnTo>
                  <a:lnTo>
                    <a:pt x="28" y="87"/>
                  </a:lnTo>
                  <a:lnTo>
                    <a:pt x="13" y="89"/>
                  </a:lnTo>
                  <a:lnTo>
                    <a:pt x="0" y="78"/>
                  </a:lnTo>
                  <a:lnTo>
                    <a:pt x="18" y="53"/>
                  </a:lnTo>
                  <a:lnTo>
                    <a:pt x="36" y="52"/>
                  </a:lnTo>
                  <a:lnTo>
                    <a:pt x="35" y="4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2" name="Freeform 59"/>
            <p:cNvSpPr>
              <a:spLocks/>
            </p:cNvSpPr>
            <p:nvPr/>
          </p:nvSpPr>
          <p:spPr bwMode="auto">
            <a:xfrm>
              <a:off x="7080543" y="694266"/>
              <a:ext cx="37785" cy="35658"/>
            </a:xfrm>
            <a:custGeom>
              <a:avLst/>
              <a:gdLst>
                <a:gd name="T0" fmla="*/ 0 w 97"/>
                <a:gd name="T1" fmla="*/ 0 h 89"/>
                <a:gd name="T2" fmla="*/ 0 w 97"/>
                <a:gd name="T3" fmla="*/ 0 h 89"/>
                <a:gd name="T4" fmla="*/ 0 w 97"/>
                <a:gd name="T5" fmla="*/ 0 h 89"/>
                <a:gd name="T6" fmla="*/ 0 w 97"/>
                <a:gd name="T7" fmla="*/ 0 h 89"/>
                <a:gd name="T8" fmla="*/ 0 w 97"/>
                <a:gd name="T9" fmla="*/ 0 h 89"/>
                <a:gd name="T10" fmla="*/ 0 w 97"/>
                <a:gd name="T11" fmla="*/ 0 h 89"/>
                <a:gd name="T12" fmla="*/ 0 w 97"/>
                <a:gd name="T13" fmla="*/ 0 h 89"/>
                <a:gd name="T14" fmla="*/ 0 w 97"/>
                <a:gd name="T15" fmla="*/ 0 h 89"/>
                <a:gd name="T16" fmla="*/ 0 w 97"/>
                <a:gd name="T17" fmla="*/ 0 h 89"/>
                <a:gd name="T18" fmla="*/ 0 w 97"/>
                <a:gd name="T19" fmla="*/ 0 h 89"/>
                <a:gd name="T20" fmla="*/ 0 w 97"/>
                <a:gd name="T21" fmla="*/ 0 h 89"/>
                <a:gd name="T22" fmla="*/ 0 w 97"/>
                <a:gd name="T23" fmla="*/ 0 h 89"/>
                <a:gd name="T24" fmla="*/ 0 w 97"/>
                <a:gd name="T25" fmla="*/ 0 h 89"/>
                <a:gd name="T26" fmla="*/ 0 w 97"/>
                <a:gd name="T27" fmla="*/ 0 h 89"/>
                <a:gd name="T28" fmla="*/ 0 w 97"/>
                <a:gd name="T29" fmla="*/ 0 h 89"/>
                <a:gd name="T30" fmla="*/ 0 w 97"/>
                <a:gd name="T31" fmla="*/ 0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89"/>
                <a:gd name="T50" fmla="*/ 97 w 97"/>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89">
                  <a:moveTo>
                    <a:pt x="35" y="43"/>
                  </a:moveTo>
                  <a:lnTo>
                    <a:pt x="30" y="42"/>
                  </a:lnTo>
                  <a:lnTo>
                    <a:pt x="22" y="12"/>
                  </a:lnTo>
                  <a:lnTo>
                    <a:pt x="45" y="23"/>
                  </a:lnTo>
                  <a:lnTo>
                    <a:pt x="64" y="23"/>
                  </a:lnTo>
                  <a:lnTo>
                    <a:pt x="91" y="0"/>
                  </a:lnTo>
                  <a:lnTo>
                    <a:pt x="97" y="21"/>
                  </a:lnTo>
                  <a:lnTo>
                    <a:pt x="90" y="42"/>
                  </a:lnTo>
                  <a:lnTo>
                    <a:pt x="69" y="49"/>
                  </a:lnTo>
                  <a:lnTo>
                    <a:pt x="54" y="71"/>
                  </a:lnTo>
                  <a:lnTo>
                    <a:pt x="28" y="87"/>
                  </a:lnTo>
                  <a:lnTo>
                    <a:pt x="13" y="89"/>
                  </a:lnTo>
                  <a:lnTo>
                    <a:pt x="0" y="78"/>
                  </a:lnTo>
                  <a:lnTo>
                    <a:pt x="18" y="53"/>
                  </a:lnTo>
                  <a:lnTo>
                    <a:pt x="36" y="52"/>
                  </a:lnTo>
                  <a:lnTo>
                    <a:pt x="35" y="43"/>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3" name="Freeform 60"/>
            <p:cNvSpPr>
              <a:spLocks/>
            </p:cNvSpPr>
            <p:nvPr/>
          </p:nvSpPr>
          <p:spPr bwMode="auto">
            <a:xfrm>
              <a:off x="7219088" y="436270"/>
              <a:ext cx="69273" cy="81804"/>
            </a:xfrm>
            <a:custGeom>
              <a:avLst/>
              <a:gdLst>
                <a:gd name="T0" fmla="*/ 0 w 173"/>
                <a:gd name="T1" fmla="*/ 0 h 207"/>
                <a:gd name="T2" fmla="*/ 0 w 173"/>
                <a:gd name="T3" fmla="*/ 0 h 207"/>
                <a:gd name="T4" fmla="*/ 0 w 173"/>
                <a:gd name="T5" fmla="*/ 0 h 207"/>
                <a:gd name="T6" fmla="*/ 0 w 173"/>
                <a:gd name="T7" fmla="*/ 0 h 207"/>
                <a:gd name="T8" fmla="*/ 0 w 173"/>
                <a:gd name="T9" fmla="*/ 0 h 207"/>
                <a:gd name="T10" fmla="*/ 0 w 173"/>
                <a:gd name="T11" fmla="*/ 0 h 207"/>
                <a:gd name="T12" fmla="*/ 0 w 173"/>
                <a:gd name="T13" fmla="*/ 0 h 207"/>
                <a:gd name="T14" fmla="*/ 0 w 173"/>
                <a:gd name="T15" fmla="*/ 0 h 207"/>
                <a:gd name="T16" fmla="*/ 0 w 173"/>
                <a:gd name="T17" fmla="*/ 0 h 207"/>
                <a:gd name="T18" fmla="*/ 0 w 173"/>
                <a:gd name="T19" fmla="*/ 0 h 207"/>
                <a:gd name="T20" fmla="*/ 0 w 173"/>
                <a:gd name="T21" fmla="*/ 0 h 207"/>
                <a:gd name="T22" fmla="*/ 0 w 173"/>
                <a:gd name="T23" fmla="*/ 0 h 207"/>
                <a:gd name="T24" fmla="*/ 0 w 173"/>
                <a:gd name="T25" fmla="*/ 0 h 207"/>
                <a:gd name="T26" fmla="*/ 0 w 173"/>
                <a:gd name="T27" fmla="*/ 0 h 207"/>
                <a:gd name="T28" fmla="*/ 0 w 173"/>
                <a:gd name="T29" fmla="*/ 0 h 207"/>
                <a:gd name="T30" fmla="*/ 0 w 173"/>
                <a:gd name="T31" fmla="*/ 0 h 207"/>
                <a:gd name="T32" fmla="*/ 0 w 173"/>
                <a:gd name="T33" fmla="*/ 0 h 207"/>
                <a:gd name="T34" fmla="*/ 0 w 173"/>
                <a:gd name="T35" fmla="*/ 0 h 207"/>
                <a:gd name="T36" fmla="*/ 0 w 173"/>
                <a:gd name="T37" fmla="*/ 0 h 207"/>
                <a:gd name="T38" fmla="*/ 0 w 173"/>
                <a:gd name="T39" fmla="*/ 0 h 207"/>
                <a:gd name="T40" fmla="*/ 0 w 173"/>
                <a:gd name="T41" fmla="*/ 0 h 207"/>
                <a:gd name="T42" fmla="*/ 0 w 173"/>
                <a:gd name="T43" fmla="*/ 0 h 207"/>
                <a:gd name="T44" fmla="*/ 0 w 173"/>
                <a:gd name="T45" fmla="*/ 0 h 207"/>
                <a:gd name="T46" fmla="*/ 0 w 173"/>
                <a:gd name="T47" fmla="*/ 0 h 207"/>
                <a:gd name="T48" fmla="*/ 0 w 173"/>
                <a:gd name="T49" fmla="*/ 0 h 207"/>
                <a:gd name="T50" fmla="*/ 0 w 173"/>
                <a:gd name="T51" fmla="*/ 0 h 207"/>
                <a:gd name="T52" fmla="*/ 0 w 173"/>
                <a:gd name="T53" fmla="*/ 0 h 207"/>
                <a:gd name="T54" fmla="*/ 0 w 173"/>
                <a:gd name="T55" fmla="*/ 0 h 207"/>
                <a:gd name="T56" fmla="*/ 0 w 173"/>
                <a:gd name="T57" fmla="*/ 0 h 207"/>
                <a:gd name="T58" fmla="*/ 0 w 173"/>
                <a:gd name="T59" fmla="*/ 0 h 207"/>
                <a:gd name="T60" fmla="*/ 0 w 173"/>
                <a:gd name="T61" fmla="*/ 0 h 207"/>
                <a:gd name="T62" fmla="*/ 0 w 173"/>
                <a:gd name="T63" fmla="*/ 0 h 207"/>
                <a:gd name="T64" fmla="*/ 0 w 173"/>
                <a:gd name="T65" fmla="*/ 0 h 207"/>
                <a:gd name="T66" fmla="*/ 0 w 173"/>
                <a:gd name="T67" fmla="*/ 0 h 20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3"/>
                <a:gd name="T103" fmla="*/ 0 h 207"/>
                <a:gd name="T104" fmla="*/ 173 w 173"/>
                <a:gd name="T105" fmla="*/ 207 h 20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3" h="207">
                  <a:moveTo>
                    <a:pt x="25" y="144"/>
                  </a:moveTo>
                  <a:lnTo>
                    <a:pt x="7" y="132"/>
                  </a:lnTo>
                  <a:lnTo>
                    <a:pt x="25" y="134"/>
                  </a:lnTo>
                  <a:lnTo>
                    <a:pt x="31" y="124"/>
                  </a:lnTo>
                  <a:lnTo>
                    <a:pt x="35" y="108"/>
                  </a:lnTo>
                  <a:lnTo>
                    <a:pt x="18" y="102"/>
                  </a:lnTo>
                  <a:lnTo>
                    <a:pt x="34" y="96"/>
                  </a:lnTo>
                  <a:lnTo>
                    <a:pt x="26" y="83"/>
                  </a:lnTo>
                  <a:lnTo>
                    <a:pt x="47" y="66"/>
                  </a:lnTo>
                  <a:lnTo>
                    <a:pt x="65" y="78"/>
                  </a:lnTo>
                  <a:lnTo>
                    <a:pt x="81" y="60"/>
                  </a:lnTo>
                  <a:lnTo>
                    <a:pt x="69" y="41"/>
                  </a:lnTo>
                  <a:lnTo>
                    <a:pt x="82" y="34"/>
                  </a:lnTo>
                  <a:lnTo>
                    <a:pt x="102" y="45"/>
                  </a:lnTo>
                  <a:lnTo>
                    <a:pt x="113" y="33"/>
                  </a:lnTo>
                  <a:lnTo>
                    <a:pt x="103" y="0"/>
                  </a:lnTo>
                  <a:lnTo>
                    <a:pt x="118" y="25"/>
                  </a:lnTo>
                  <a:lnTo>
                    <a:pt x="123" y="3"/>
                  </a:lnTo>
                  <a:lnTo>
                    <a:pt x="142" y="2"/>
                  </a:lnTo>
                  <a:lnTo>
                    <a:pt x="156" y="37"/>
                  </a:lnTo>
                  <a:lnTo>
                    <a:pt x="166" y="51"/>
                  </a:lnTo>
                  <a:lnTo>
                    <a:pt x="173" y="84"/>
                  </a:lnTo>
                  <a:lnTo>
                    <a:pt x="158" y="111"/>
                  </a:lnTo>
                  <a:lnTo>
                    <a:pt x="157" y="162"/>
                  </a:lnTo>
                  <a:lnTo>
                    <a:pt x="111" y="168"/>
                  </a:lnTo>
                  <a:lnTo>
                    <a:pt x="110" y="149"/>
                  </a:lnTo>
                  <a:lnTo>
                    <a:pt x="92" y="155"/>
                  </a:lnTo>
                  <a:lnTo>
                    <a:pt x="74" y="191"/>
                  </a:lnTo>
                  <a:lnTo>
                    <a:pt x="29" y="195"/>
                  </a:lnTo>
                  <a:lnTo>
                    <a:pt x="9" y="207"/>
                  </a:lnTo>
                  <a:lnTo>
                    <a:pt x="0" y="187"/>
                  </a:lnTo>
                  <a:lnTo>
                    <a:pt x="28" y="169"/>
                  </a:lnTo>
                  <a:lnTo>
                    <a:pt x="36" y="154"/>
                  </a:lnTo>
                  <a:lnTo>
                    <a:pt x="25" y="144"/>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4" name="Freeform 61"/>
            <p:cNvSpPr>
              <a:spLocks/>
            </p:cNvSpPr>
            <p:nvPr/>
          </p:nvSpPr>
          <p:spPr bwMode="auto">
            <a:xfrm>
              <a:off x="7219088" y="436270"/>
              <a:ext cx="69273" cy="81804"/>
            </a:xfrm>
            <a:custGeom>
              <a:avLst/>
              <a:gdLst>
                <a:gd name="T0" fmla="*/ 0 w 173"/>
                <a:gd name="T1" fmla="*/ 0 h 207"/>
                <a:gd name="T2" fmla="*/ 0 w 173"/>
                <a:gd name="T3" fmla="*/ 0 h 207"/>
                <a:gd name="T4" fmla="*/ 0 w 173"/>
                <a:gd name="T5" fmla="*/ 0 h 207"/>
                <a:gd name="T6" fmla="*/ 0 w 173"/>
                <a:gd name="T7" fmla="*/ 0 h 207"/>
                <a:gd name="T8" fmla="*/ 0 w 173"/>
                <a:gd name="T9" fmla="*/ 0 h 207"/>
                <a:gd name="T10" fmla="*/ 0 w 173"/>
                <a:gd name="T11" fmla="*/ 0 h 207"/>
                <a:gd name="T12" fmla="*/ 0 w 173"/>
                <a:gd name="T13" fmla="*/ 0 h 207"/>
                <a:gd name="T14" fmla="*/ 0 w 173"/>
                <a:gd name="T15" fmla="*/ 0 h 207"/>
                <a:gd name="T16" fmla="*/ 0 w 173"/>
                <a:gd name="T17" fmla="*/ 0 h 207"/>
                <a:gd name="T18" fmla="*/ 0 w 173"/>
                <a:gd name="T19" fmla="*/ 0 h 207"/>
                <a:gd name="T20" fmla="*/ 0 w 173"/>
                <a:gd name="T21" fmla="*/ 0 h 207"/>
                <a:gd name="T22" fmla="*/ 0 w 173"/>
                <a:gd name="T23" fmla="*/ 0 h 207"/>
                <a:gd name="T24" fmla="*/ 0 w 173"/>
                <a:gd name="T25" fmla="*/ 0 h 207"/>
                <a:gd name="T26" fmla="*/ 0 w 173"/>
                <a:gd name="T27" fmla="*/ 0 h 207"/>
                <a:gd name="T28" fmla="*/ 0 w 173"/>
                <a:gd name="T29" fmla="*/ 0 h 207"/>
                <a:gd name="T30" fmla="*/ 0 w 173"/>
                <a:gd name="T31" fmla="*/ 0 h 207"/>
                <a:gd name="T32" fmla="*/ 0 w 173"/>
                <a:gd name="T33" fmla="*/ 0 h 207"/>
                <a:gd name="T34" fmla="*/ 0 w 173"/>
                <a:gd name="T35" fmla="*/ 0 h 207"/>
                <a:gd name="T36" fmla="*/ 0 w 173"/>
                <a:gd name="T37" fmla="*/ 0 h 207"/>
                <a:gd name="T38" fmla="*/ 0 w 173"/>
                <a:gd name="T39" fmla="*/ 0 h 207"/>
                <a:gd name="T40" fmla="*/ 0 w 173"/>
                <a:gd name="T41" fmla="*/ 0 h 207"/>
                <a:gd name="T42" fmla="*/ 0 w 173"/>
                <a:gd name="T43" fmla="*/ 0 h 207"/>
                <a:gd name="T44" fmla="*/ 0 w 173"/>
                <a:gd name="T45" fmla="*/ 0 h 207"/>
                <a:gd name="T46" fmla="*/ 0 w 173"/>
                <a:gd name="T47" fmla="*/ 0 h 207"/>
                <a:gd name="T48" fmla="*/ 0 w 173"/>
                <a:gd name="T49" fmla="*/ 0 h 207"/>
                <a:gd name="T50" fmla="*/ 0 w 173"/>
                <a:gd name="T51" fmla="*/ 0 h 207"/>
                <a:gd name="T52" fmla="*/ 0 w 173"/>
                <a:gd name="T53" fmla="*/ 0 h 207"/>
                <a:gd name="T54" fmla="*/ 0 w 173"/>
                <a:gd name="T55" fmla="*/ 0 h 207"/>
                <a:gd name="T56" fmla="*/ 0 w 173"/>
                <a:gd name="T57" fmla="*/ 0 h 207"/>
                <a:gd name="T58" fmla="*/ 0 w 173"/>
                <a:gd name="T59" fmla="*/ 0 h 207"/>
                <a:gd name="T60" fmla="*/ 0 w 173"/>
                <a:gd name="T61" fmla="*/ 0 h 207"/>
                <a:gd name="T62" fmla="*/ 0 w 173"/>
                <a:gd name="T63" fmla="*/ 0 h 207"/>
                <a:gd name="T64" fmla="*/ 0 w 173"/>
                <a:gd name="T65" fmla="*/ 0 h 207"/>
                <a:gd name="T66" fmla="*/ 0 w 173"/>
                <a:gd name="T67" fmla="*/ 0 h 20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3"/>
                <a:gd name="T103" fmla="*/ 0 h 207"/>
                <a:gd name="T104" fmla="*/ 173 w 173"/>
                <a:gd name="T105" fmla="*/ 207 h 20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3" h="207">
                  <a:moveTo>
                    <a:pt x="25" y="144"/>
                  </a:moveTo>
                  <a:lnTo>
                    <a:pt x="7" y="132"/>
                  </a:lnTo>
                  <a:lnTo>
                    <a:pt x="25" y="134"/>
                  </a:lnTo>
                  <a:lnTo>
                    <a:pt x="31" y="124"/>
                  </a:lnTo>
                  <a:lnTo>
                    <a:pt x="35" y="108"/>
                  </a:lnTo>
                  <a:lnTo>
                    <a:pt x="18" y="102"/>
                  </a:lnTo>
                  <a:lnTo>
                    <a:pt x="34" y="96"/>
                  </a:lnTo>
                  <a:lnTo>
                    <a:pt x="26" y="83"/>
                  </a:lnTo>
                  <a:lnTo>
                    <a:pt x="47" y="66"/>
                  </a:lnTo>
                  <a:lnTo>
                    <a:pt x="65" y="78"/>
                  </a:lnTo>
                  <a:lnTo>
                    <a:pt x="81" y="60"/>
                  </a:lnTo>
                  <a:lnTo>
                    <a:pt x="69" y="41"/>
                  </a:lnTo>
                  <a:lnTo>
                    <a:pt x="82" y="34"/>
                  </a:lnTo>
                  <a:lnTo>
                    <a:pt x="102" y="45"/>
                  </a:lnTo>
                  <a:lnTo>
                    <a:pt x="113" y="33"/>
                  </a:lnTo>
                  <a:lnTo>
                    <a:pt x="103" y="0"/>
                  </a:lnTo>
                  <a:lnTo>
                    <a:pt x="118" y="25"/>
                  </a:lnTo>
                  <a:lnTo>
                    <a:pt x="123" y="3"/>
                  </a:lnTo>
                  <a:lnTo>
                    <a:pt x="142" y="2"/>
                  </a:lnTo>
                  <a:lnTo>
                    <a:pt x="156" y="37"/>
                  </a:lnTo>
                  <a:lnTo>
                    <a:pt x="166" y="51"/>
                  </a:lnTo>
                  <a:lnTo>
                    <a:pt x="173" y="84"/>
                  </a:lnTo>
                  <a:lnTo>
                    <a:pt x="158" y="111"/>
                  </a:lnTo>
                  <a:lnTo>
                    <a:pt x="157" y="162"/>
                  </a:lnTo>
                  <a:lnTo>
                    <a:pt x="111" y="168"/>
                  </a:lnTo>
                  <a:lnTo>
                    <a:pt x="110" y="149"/>
                  </a:lnTo>
                  <a:lnTo>
                    <a:pt x="92" y="155"/>
                  </a:lnTo>
                  <a:lnTo>
                    <a:pt x="74" y="191"/>
                  </a:lnTo>
                  <a:lnTo>
                    <a:pt x="29" y="195"/>
                  </a:lnTo>
                  <a:lnTo>
                    <a:pt x="9" y="207"/>
                  </a:lnTo>
                  <a:lnTo>
                    <a:pt x="0" y="187"/>
                  </a:lnTo>
                  <a:lnTo>
                    <a:pt x="28" y="169"/>
                  </a:lnTo>
                  <a:lnTo>
                    <a:pt x="36" y="154"/>
                  </a:lnTo>
                  <a:lnTo>
                    <a:pt x="25" y="144"/>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5" name="Freeform 62"/>
            <p:cNvSpPr>
              <a:spLocks/>
            </p:cNvSpPr>
            <p:nvPr/>
          </p:nvSpPr>
          <p:spPr bwMode="auto">
            <a:xfrm>
              <a:off x="7296757" y="392222"/>
              <a:ext cx="50380" cy="48243"/>
            </a:xfrm>
            <a:custGeom>
              <a:avLst/>
              <a:gdLst>
                <a:gd name="T0" fmla="*/ 0 w 129"/>
                <a:gd name="T1" fmla="*/ 0 h 121"/>
                <a:gd name="T2" fmla="*/ 0 w 129"/>
                <a:gd name="T3" fmla="*/ 0 h 121"/>
                <a:gd name="T4" fmla="*/ 0 w 129"/>
                <a:gd name="T5" fmla="*/ 0 h 121"/>
                <a:gd name="T6" fmla="*/ 0 w 129"/>
                <a:gd name="T7" fmla="*/ 0 h 121"/>
                <a:gd name="T8" fmla="*/ 0 w 129"/>
                <a:gd name="T9" fmla="*/ 0 h 121"/>
                <a:gd name="T10" fmla="*/ 0 w 129"/>
                <a:gd name="T11" fmla="*/ 0 h 121"/>
                <a:gd name="T12" fmla="*/ 0 w 129"/>
                <a:gd name="T13" fmla="*/ 0 h 121"/>
                <a:gd name="T14" fmla="*/ 0 w 129"/>
                <a:gd name="T15" fmla="*/ 0 h 121"/>
                <a:gd name="T16" fmla="*/ 0 w 129"/>
                <a:gd name="T17" fmla="*/ 0 h 121"/>
                <a:gd name="T18" fmla="*/ 0 w 129"/>
                <a:gd name="T19" fmla="*/ 0 h 121"/>
                <a:gd name="T20" fmla="*/ 0 w 129"/>
                <a:gd name="T21" fmla="*/ 0 h 121"/>
                <a:gd name="T22" fmla="*/ 0 w 129"/>
                <a:gd name="T23" fmla="*/ 0 h 121"/>
                <a:gd name="T24" fmla="*/ 0 w 129"/>
                <a:gd name="T25" fmla="*/ 0 h 121"/>
                <a:gd name="T26" fmla="*/ 0 w 129"/>
                <a:gd name="T27" fmla="*/ 0 h 121"/>
                <a:gd name="T28" fmla="*/ 0 w 129"/>
                <a:gd name="T29" fmla="*/ 0 h 121"/>
                <a:gd name="T30" fmla="*/ 0 w 129"/>
                <a:gd name="T31" fmla="*/ 0 h 121"/>
                <a:gd name="T32" fmla="*/ 0 w 129"/>
                <a:gd name="T33" fmla="*/ 0 h 1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9"/>
                <a:gd name="T52" fmla="*/ 0 h 121"/>
                <a:gd name="T53" fmla="*/ 129 w 129"/>
                <a:gd name="T54" fmla="*/ 121 h 1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9" h="121">
                  <a:moveTo>
                    <a:pt x="25" y="61"/>
                  </a:moveTo>
                  <a:lnTo>
                    <a:pt x="56" y="63"/>
                  </a:lnTo>
                  <a:lnTo>
                    <a:pt x="62" y="55"/>
                  </a:lnTo>
                  <a:lnTo>
                    <a:pt x="68" y="26"/>
                  </a:lnTo>
                  <a:lnTo>
                    <a:pt x="79" y="48"/>
                  </a:lnTo>
                  <a:lnTo>
                    <a:pt x="87" y="48"/>
                  </a:lnTo>
                  <a:lnTo>
                    <a:pt x="95" y="0"/>
                  </a:lnTo>
                  <a:lnTo>
                    <a:pt x="120" y="14"/>
                  </a:lnTo>
                  <a:lnTo>
                    <a:pt x="129" y="35"/>
                  </a:lnTo>
                  <a:lnTo>
                    <a:pt x="106" y="77"/>
                  </a:lnTo>
                  <a:lnTo>
                    <a:pt x="105" y="99"/>
                  </a:lnTo>
                  <a:lnTo>
                    <a:pt x="40" y="121"/>
                  </a:lnTo>
                  <a:lnTo>
                    <a:pt x="0" y="111"/>
                  </a:lnTo>
                  <a:lnTo>
                    <a:pt x="2" y="98"/>
                  </a:lnTo>
                  <a:lnTo>
                    <a:pt x="20" y="99"/>
                  </a:lnTo>
                  <a:lnTo>
                    <a:pt x="27" y="89"/>
                  </a:lnTo>
                  <a:lnTo>
                    <a:pt x="25" y="6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6" name="Freeform 63"/>
            <p:cNvSpPr>
              <a:spLocks/>
            </p:cNvSpPr>
            <p:nvPr/>
          </p:nvSpPr>
          <p:spPr bwMode="auto">
            <a:xfrm>
              <a:off x="7296757" y="392222"/>
              <a:ext cx="50380" cy="48243"/>
            </a:xfrm>
            <a:custGeom>
              <a:avLst/>
              <a:gdLst>
                <a:gd name="T0" fmla="*/ 0 w 129"/>
                <a:gd name="T1" fmla="*/ 0 h 121"/>
                <a:gd name="T2" fmla="*/ 0 w 129"/>
                <a:gd name="T3" fmla="*/ 0 h 121"/>
                <a:gd name="T4" fmla="*/ 0 w 129"/>
                <a:gd name="T5" fmla="*/ 0 h 121"/>
                <a:gd name="T6" fmla="*/ 0 w 129"/>
                <a:gd name="T7" fmla="*/ 0 h 121"/>
                <a:gd name="T8" fmla="*/ 0 w 129"/>
                <a:gd name="T9" fmla="*/ 0 h 121"/>
                <a:gd name="T10" fmla="*/ 0 w 129"/>
                <a:gd name="T11" fmla="*/ 0 h 121"/>
                <a:gd name="T12" fmla="*/ 0 w 129"/>
                <a:gd name="T13" fmla="*/ 0 h 121"/>
                <a:gd name="T14" fmla="*/ 0 w 129"/>
                <a:gd name="T15" fmla="*/ 0 h 121"/>
                <a:gd name="T16" fmla="*/ 0 w 129"/>
                <a:gd name="T17" fmla="*/ 0 h 121"/>
                <a:gd name="T18" fmla="*/ 0 w 129"/>
                <a:gd name="T19" fmla="*/ 0 h 121"/>
                <a:gd name="T20" fmla="*/ 0 w 129"/>
                <a:gd name="T21" fmla="*/ 0 h 121"/>
                <a:gd name="T22" fmla="*/ 0 w 129"/>
                <a:gd name="T23" fmla="*/ 0 h 121"/>
                <a:gd name="T24" fmla="*/ 0 w 129"/>
                <a:gd name="T25" fmla="*/ 0 h 121"/>
                <a:gd name="T26" fmla="*/ 0 w 129"/>
                <a:gd name="T27" fmla="*/ 0 h 121"/>
                <a:gd name="T28" fmla="*/ 0 w 129"/>
                <a:gd name="T29" fmla="*/ 0 h 121"/>
                <a:gd name="T30" fmla="*/ 0 w 129"/>
                <a:gd name="T31" fmla="*/ 0 h 121"/>
                <a:gd name="T32" fmla="*/ 0 w 129"/>
                <a:gd name="T33" fmla="*/ 0 h 1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9"/>
                <a:gd name="T52" fmla="*/ 0 h 121"/>
                <a:gd name="T53" fmla="*/ 129 w 129"/>
                <a:gd name="T54" fmla="*/ 121 h 1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9" h="121">
                  <a:moveTo>
                    <a:pt x="25" y="61"/>
                  </a:moveTo>
                  <a:lnTo>
                    <a:pt x="56" y="63"/>
                  </a:lnTo>
                  <a:lnTo>
                    <a:pt x="62" y="55"/>
                  </a:lnTo>
                  <a:lnTo>
                    <a:pt x="68" y="26"/>
                  </a:lnTo>
                  <a:lnTo>
                    <a:pt x="79" y="48"/>
                  </a:lnTo>
                  <a:lnTo>
                    <a:pt x="87" y="48"/>
                  </a:lnTo>
                  <a:lnTo>
                    <a:pt x="95" y="0"/>
                  </a:lnTo>
                  <a:lnTo>
                    <a:pt x="120" y="14"/>
                  </a:lnTo>
                  <a:lnTo>
                    <a:pt x="129" y="35"/>
                  </a:lnTo>
                  <a:lnTo>
                    <a:pt x="106" y="77"/>
                  </a:lnTo>
                  <a:lnTo>
                    <a:pt x="105" y="99"/>
                  </a:lnTo>
                  <a:lnTo>
                    <a:pt x="40" y="121"/>
                  </a:lnTo>
                  <a:lnTo>
                    <a:pt x="0" y="111"/>
                  </a:lnTo>
                  <a:lnTo>
                    <a:pt x="2" y="98"/>
                  </a:lnTo>
                  <a:lnTo>
                    <a:pt x="20" y="99"/>
                  </a:lnTo>
                  <a:lnTo>
                    <a:pt x="27" y="89"/>
                  </a:lnTo>
                  <a:lnTo>
                    <a:pt x="25" y="6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7" name="Freeform 64"/>
            <p:cNvSpPr>
              <a:spLocks/>
            </p:cNvSpPr>
            <p:nvPr/>
          </p:nvSpPr>
          <p:spPr bwMode="auto">
            <a:xfrm>
              <a:off x="7332443" y="354466"/>
              <a:ext cx="50380" cy="46146"/>
            </a:xfrm>
            <a:custGeom>
              <a:avLst/>
              <a:gdLst>
                <a:gd name="T0" fmla="*/ 0 w 121"/>
                <a:gd name="T1" fmla="*/ 0 h 113"/>
                <a:gd name="T2" fmla="*/ 0 w 121"/>
                <a:gd name="T3" fmla="*/ 0 h 113"/>
                <a:gd name="T4" fmla="*/ 0 w 121"/>
                <a:gd name="T5" fmla="*/ 0 h 113"/>
                <a:gd name="T6" fmla="*/ 0 w 121"/>
                <a:gd name="T7" fmla="*/ 0 h 113"/>
                <a:gd name="T8" fmla="*/ 0 w 121"/>
                <a:gd name="T9" fmla="*/ 0 h 113"/>
                <a:gd name="T10" fmla="*/ 0 w 121"/>
                <a:gd name="T11" fmla="*/ 0 h 113"/>
                <a:gd name="T12" fmla="*/ 0 w 121"/>
                <a:gd name="T13" fmla="*/ 0 h 113"/>
                <a:gd name="T14" fmla="*/ 0 w 121"/>
                <a:gd name="T15" fmla="*/ 0 h 113"/>
                <a:gd name="T16" fmla="*/ 0 w 121"/>
                <a:gd name="T17" fmla="*/ 0 h 113"/>
                <a:gd name="T18" fmla="*/ 0 w 121"/>
                <a:gd name="T19" fmla="*/ 0 h 113"/>
                <a:gd name="T20" fmla="*/ 0 w 121"/>
                <a:gd name="T21" fmla="*/ 0 h 113"/>
                <a:gd name="T22" fmla="*/ 0 w 121"/>
                <a:gd name="T23" fmla="*/ 0 h 113"/>
                <a:gd name="T24" fmla="*/ 0 w 121"/>
                <a:gd name="T25" fmla="*/ 0 h 113"/>
                <a:gd name="T26" fmla="*/ 0 w 121"/>
                <a:gd name="T27" fmla="*/ 0 h 113"/>
                <a:gd name="T28" fmla="*/ 0 w 121"/>
                <a:gd name="T29" fmla="*/ 0 h 113"/>
                <a:gd name="T30" fmla="*/ 0 w 121"/>
                <a:gd name="T31" fmla="*/ 0 h 113"/>
                <a:gd name="T32" fmla="*/ 0 w 121"/>
                <a:gd name="T33" fmla="*/ 0 h 113"/>
                <a:gd name="T34" fmla="*/ 0 w 121"/>
                <a:gd name="T35" fmla="*/ 0 h 113"/>
                <a:gd name="T36" fmla="*/ 0 w 121"/>
                <a:gd name="T37" fmla="*/ 0 h 113"/>
                <a:gd name="T38" fmla="*/ 0 w 121"/>
                <a:gd name="T39" fmla="*/ 0 h 113"/>
                <a:gd name="T40" fmla="*/ 0 w 121"/>
                <a:gd name="T41" fmla="*/ 0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113"/>
                <a:gd name="T65" fmla="*/ 121 w 121"/>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113">
                  <a:moveTo>
                    <a:pt x="24" y="25"/>
                  </a:moveTo>
                  <a:lnTo>
                    <a:pt x="12" y="37"/>
                  </a:lnTo>
                  <a:lnTo>
                    <a:pt x="5" y="30"/>
                  </a:lnTo>
                  <a:lnTo>
                    <a:pt x="0" y="12"/>
                  </a:lnTo>
                  <a:lnTo>
                    <a:pt x="8" y="0"/>
                  </a:lnTo>
                  <a:lnTo>
                    <a:pt x="23" y="8"/>
                  </a:lnTo>
                  <a:lnTo>
                    <a:pt x="48" y="8"/>
                  </a:lnTo>
                  <a:lnTo>
                    <a:pt x="59" y="13"/>
                  </a:lnTo>
                  <a:lnTo>
                    <a:pt x="63" y="21"/>
                  </a:lnTo>
                  <a:lnTo>
                    <a:pt x="60" y="53"/>
                  </a:lnTo>
                  <a:lnTo>
                    <a:pt x="69" y="53"/>
                  </a:lnTo>
                  <a:lnTo>
                    <a:pt x="73" y="39"/>
                  </a:lnTo>
                  <a:lnTo>
                    <a:pt x="91" y="32"/>
                  </a:lnTo>
                  <a:lnTo>
                    <a:pt x="121" y="43"/>
                  </a:lnTo>
                  <a:lnTo>
                    <a:pt x="90" y="102"/>
                  </a:lnTo>
                  <a:lnTo>
                    <a:pt x="72" y="113"/>
                  </a:lnTo>
                  <a:lnTo>
                    <a:pt x="19" y="72"/>
                  </a:lnTo>
                  <a:lnTo>
                    <a:pt x="15" y="53"/>
                  </a:lnTo>
                  <a:lnTo>
                    <a:pt x="24" y="61"/>
                  </a:lnTo>
                  <a:lnTo>
                    <a:pt x="31" y="26"/>
                  </a:lnTo>
                  <a:lnTo>
                    <a:pt x="24" y="25"/>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8" name="Freeform 65"/>
            <p:cNvSpPr>
              <a:spLocks/>
            </p:cNvSpPr>
            <p:nvPr/>
          </p:nvSpPr>
          <p:spPr bwMode="auto">
            <a:xfrm>
              <a:off x="7332443" y="354466"/>
              <a:ext cx="50380" cy="46146"/>
            </a:xfrm>
            <a:custGeom>
              <a:avLst/>
              <a:gdLst>
                <a:gd name="T0" fmla="*/ 0 w 121"/>
                <a:gd name="T1" fmla="*/ 0 h 113"/>
                <a:gd name="T2" fmla="*/ 0 w 121"/>
                <a:gd name="T3" fmla="*/ 0 h 113"/>
                <a:gd name="T4" fmla="*/ 0 w 121"/>
                <a:gd name="T5" fmla="*/ 0 h 113"/>
                <a:gd name="T6" fmla="*/ 0 w 121"/>
                <a:gd name="T7" fmla="*/ 0 h 113"/>
                <a:gd name="T8" fmla="*/ 0 w 121"/>
                <a:gd name="T9" fmla="*/ 0 h 113"/>
                <a:gd name="T10" fmla="*/ 0 w 121"/>
                <a:gd name="T11" fmla="*/ 0 h 113"/>
                <a:gd name="T12" fmla="*/ 0 w 121"/>
                <a:gd name="T13" fmla="*/ 0 h 113"/>
                <a:gd name="T14" fmla="*/ 0 w 121"/>
                <a:gd name="T15" fmla="*/ 0 h 113"/>
                <a:gd name="T16" fmla="*/ 0 w 121"/>
                <a:gd name="T17" fmla="*/ 0 h 113"/>
                <a:gd name="T18" fmla="*/ 0 w 121"/>
                <a:gd name="T19" fmla="*/ 0 h 113"/>
                <a:gd name="T20" fmla="*/ 0 w 121"/>
                <a:gd name="T21" fmla="*/ 0 h 113"/>
                <a:gd name="T22" fmla="*/ 0 w 121"/>
                <a:gd name="T23" fmla="*/ 0 h 113"/>
                <a:gd name="T24" fmla="*/ 0 w 121"/>
                <a:gd name="T25" fmla="*/ 0 h 113"/>
                <a:gd name="T26" fmla="*/ 0 w 121"/>
                <a:gd name="T27" fmla="*/ 0 h 113"/>
                <a:gd name="T28" fmla="*/ 0 w 121"/>
                <a:gd name="T29" fmla="*/ 0 h 113"/>
                <a:gd name="T30" fmla="*/ 0 w 121"/>
                <a:gd name="T31" fmla="*/ 0 h 113"/>
                <a:gd name="T32" fmla="*/ 0 w 121"/>
                <a:gd name="T33" fmla="*/ 0 h 113"/>
                <a:gd name="T34" fmla="*/ 0 w 121"/>
                <a:gd name="T35" fmla="*/ 0 h 113"/>
                <a:gd name="T36" fmla="*/ 0 w 121"/>
                <a:gd name="T37" fmla="*/ 0 h 113"/>
                <a:gd name="T38" fmla="*/ 0 w 121"/>
                <a:gd name="T39" fmla="*/ 0 h 113"/>
                <a:gd name="T40" fmla="*/ 0 w 121"/>
                <a:gd name="T41" fmla="*/ 0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113"/>
                <a:gd name="T65" fmla="*/ 121 w 121"/>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113">
                  <a:moveTo>
                    <a:pt x="24" y="25"/>
                  </a:moveTo>
                  <a:lnTo>
                    <a:pt x="12" y="37"/>
                  </a:lnTo>
                  <a:lnTo>
                    <a:pt x="5" y="30"/>
                  </a:lnTo>
                  <a:lnTo>
                    <a:pt x="0" y="12"/>
                  </a:lnTo>
                  <a:lnTo>
                    <a:pt x="8" y="0"/>
                  </a:lnTo>
                  <a:lnTo>
                    <a:pt x="23" y="8"/>
                  </a:lnTo>
                  <a:lnTo>
                    <a:pt x="48" y="8"/>
                  </a:lnTo>
                  <a:lnTo>
                    <a:pt x="59" y="13"/>
                  </a:lnTo>
                  <a:lnTo>
                    <a:pt x="63" y="21"/>
                  </a:lnTo>
                  <a:lnTo>
                    <a:pt x="60" y="53"/>
                  </a:lnTo>
                  <a:lnTo>
                    <a:pt x="69" y="53"/>
                  </a:lnTo>
                  <a:lnTo>
                    <a:pt x="73" y="39"/>
                  </a:lnTo>
                  <a:lnTo>
                    <a:pt x="91" y="32"/>
                  </a:lnTo>
                  <a:lnTo>
                    <a:pt x="121" y="43"/>
                  </a:lnTo>
                  <a:lnTo>
                    <a:pt x="90" y="102"/>
                  </a:lnTo>
                  <a:lnTo>
                    <a:pt x="72" y="113"/>
                  </a:lnTo>
                  <a:lnTo>
                    <a:pt x="19" y="72"/>
                  </a:lnTo>
                  <a:lnTo>
                    <a:pt x="15" y="53"/>
                  </a:lnTo>
                  <a:lnTo>
                    <a:pt x="24" y="61"/>
                  </a:lnTo>
                  <a:lnTo>
                    <a:pt x="31" y="26"/>
                  </a:lnTo>
                  <a:lnTo>
                    <a:pt x="24" y="25"/>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09" name="Freeform 66"/>
            <p:cNvSpPr>
              <a:spLocks/>
            </p:cNvSpPr>
            <p:nvPr/>
          </p:nvSpPr>
          <p:spPr bwMode="auto">
            <a:xfrm>
              <a:off x="7382823" y="331393"/>
              <a:ext cx="25190" cy="33560"/>
            </a:xfrm>
            <a:custGeom>
              <a:avLst/>
              <a:gdLst>
                <a:gd name="T0" fmla="*/ 0 w 71"/>
                <a:gd name="T1" fmla="*/ 0 h 86"/>
                <a:gd name="T2" fmla="*/ 0 w 71"/>
                <a:gd name="T3" fmla="*/ 0 h 86"/>
                <a:gd name="T4" fmla="*/ 0 w 71"/>
                <a:gd name="T5" fmla="*/ 0 h 86"/>
                <a:gd name="T6" fmla="*/ 0 w 71"/>
                <a:gd name="T7" fmla="*/ 0 h 86"/>
                <a:gd name="T8" fmla="*/ 0 w 71"/>
                <a:gd name="T9" fmla="*/ 0 h 86"/>
                <a:gd name="T10" fmla="*/ 0 w 71"/>
                <a:gd name="T11" fmla="*/ 0 h 86"/>
                <a:gd name="T12" fmla="*/ 0 w 71"/>
                <a:gd name="T13" fmla="*/ 0 h 86"/>
                <a:gd name="T14" fmla="*/ 0 w 71"/>
                <a:gd name="T15" fmla="*/ 0 h 86"/>
                <a:gd name="T16" fmla="*/ 0 w 71"/>
                <a:gd name="T17" fmla="*/ 0 h 86"/>
                <a:gd name="T18" fmla="*/ 0 w 71"/>
                <a:gd name="T19" fmla="*/ 0 h 86"/>
                <a:gd name="T20" fmla="*/ 0 w 71"/>
                <a:gd name="T21" fmla="*/ 0 h 86"/>
                <a:gd name="T22" fmla="*/ 0 w 71"/>
                <a:gd name="T23" fmla="*/ 0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1"/>
                <a:gd name="T37" fmla="*/ 0 h 86"/>
                <a:gd name="T38" fmla="*/ 71 w 71"/>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1" h="86">
                  <a:moveTo>
                    <a:pt x="37" y="31"/>
                  </a:moveTo>
                  <a:lnTo>
                    <a:pt x="42" y="28"/>
                  </a:lnTo>
                  <a:lnTo>
                    <a:pt x="45" y="38"/>
                  </a:lnTo>
                  <a:lnTo>
                    <a:pt x="53" y="41"/>
                  </a:lnTo>
                  <a:lnTo>
                    <a:pt x="71" y="66"/>
                  </a:lnTo>
                  <a:lnTo>
                    <a:pt x="60" y="86"/>
                  </a:lnTo>
                  <a:lnTo>
                    <a:pt x="23" y="70"/>
                  </a:lnTo>
                  <a:lnTo>
                    <a:pt x="0" y="2"/>
                  </a:lnTo>
                  <a:lnTo>
                    <a:pt x="7" y="0"/>
                  </a:lnTo>
                  <a:lnTo>
                    <a:pt x="19" y="8"/>
                  </a:lnTo>
                  <a:lnTo>
                    <a:pt x="27" y="38"/>
                  </a:lnTo>
                  <a:lnTo>
                    <a:pt x="37" y="3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0" name="Freeform 67"/>
            <p:cNvSpPr>
              <a:spLocks/>
            </p:cNvSpPr>
            <p:nvPr/>
          </p:nvSpPr>
          <p:spPr bwMode="auto">
            <a:xfrm>
              <a:off x="7382823" y="331393"/>
              <a:ext cx="25190" cy="33560"/>
            </a:xfrm>
            <a:custGeom>
              <a:avLst/>
              <a:gdLst>
                <a:gd name="T0" fmla="*/ 0 w 71"/>
                <a:gd name="T1" fmla="*/ 0 h 86"/>
                <a:gd name="T2" fmla="*/ 0 w 71"/>
                <a:gd name="T3" fmla="*/ 0 h 86"/>
                <a:gd name="T4" fmla="*/ 0 w 71"/>
                <a:gd name="T5" fmla="*/ 0 h 86"/>
                <a:gd name="T6" fmla="*/ 0 w 71"/>
                <a:gd name="T7" fmla="*/ 0 h 86"/>
                <a:gd name="T8" fmla="*/ 0 w 71"/>
                <a:gd name="T9" fmla="*/ 0 h 86"/>
                <a:gd name="T10" fmla="*/ 0 w 71"/>
                <a:gd name="T11" fmla="*/ 0 h 86"/>
                <a:gd name="T12" fmla="*/ 0 w 71"/>
                <a:gd name="T13" fmla="*/ 0 h 86"/>
                <a:gd name="T14" fmla="*/ 0 w 71"/>
                <a:gd name="T15" fmla="*/ 0 h 86"/>
                <a:gd name="T16" fmla="*/ 0 w 71"/>
                <a:gd name="T17" fmla="*/ 0 h 86"/>
                <a:gd name="T18" fmla="*/ 0 w 71"/>
                <a:gd name="T19" fmla="*/ 0 h 86"/>
                <a:gd name="T20" fmla="*/ 0 w 71"/>
                <a:gd name="T21" fmla="*/ 0 h 86"/>
                <a:gd name="T22" fmla="*/ 0 w 71"/>
                <a:gd name="T23" fmla="*/ 0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1"/>
                <a:gd name="T37" fmla="*/ 0 h 86"/>
                <a:gd name="T38" fmla="*/ 71 w 71"/>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1" h="86">
                  <a:moveTo>
                    <a:pt x="37" y="31"/>
                  </a:moveTo>
                  <a:lnTo>
                    <a:pt x="42" y="28"/>
                  </a:lnTo>
                  <a:lnTo>
                    <a:pt x="45" y="38"/>
                  </a:lnTo>
                  <a:lnTo>
                    <a:pt x="53" y="41"/>
                  </a:lnTo>
                  <a:lnTo>
                    <a:pt x="71" y="66"/>
                  </a:lnTo>
                  <a:lnTo>
                    <a:pt x="60" y="86"/>
                  </a:lnTo>
                  <a:lnTo>
                    <a:pt x="23" y="70"/>
                  </a:lnTo>
                  <a:lnTo>
                    <a:pt x="0" y="2"/>
                  </a:lnTo>
                  <a:lnTo>
                    <a:pt x="7" y="0"/>
                  </a:lnTo>
                  <a:lnTo>
                    <a:pt x="19" y="8"/>
                  </a:lnTo>
                  <a:lnTo>
                    <a:pt x="27" y="38"/>
                  </a:lnTo>
                  <a:lnTo>
                    <a:pt x="37" y="3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1" name="Freeform 68"/>
            <p:cNvSpPr>
              <a:spLocks/>
            </p:cNvSpPr>
            <p:nvPr/>
          </p:nvSpPr>
          <p:spPr bwMode="auto">
            <a:xfrm>
              <a:off x="7433203" y="333491"/>
              <a:ext cx="16793" cy="31463"/>
            </a:xfrm>
            <a:custGeom>
              <a:avLst/>
              <a:gdLst>
                <a:gd name="T0" fmla="*/ 0 w 44"/>
                <a:gd name="T1" fmla="*/ 0 h 75"/>
                <a:gd name="T2" fmla="*/ 0 w 44"/>
                <a:gd name="T3" fmla="*/ 0 h 75"/>
                <a:gd name="T4" fmla="*/ 0 w 44"/>
                <a:gd name="T5" fmla="*/ 0 h 75"/>
                <a:gd name="T6" fmla="*/ 0 w 44"/>
                <a:gd name="T7" fmla="*/ 0 h 75"/>
                <a:gd name="T8" fmla="*/ 0 w 44"/>
                <a:gd name="T9" fmla="*/ 0 h 75"/>
                <a:gd name="T10" fmla="*/ 0 w 44"/>
                <a:gd name="T11" fmla="*/ 0 h 75"/>
                <a:gd name="T12" fmla="*/ 0 w 44"/>
                <a:gd name="T13" fmla="*/ 0 h 75"/>
                <a:gd name="T14" fmla="*/ 0 w 44"/>
                <a:gd name="T15" fmla="*/ 0 h 75"/>
                <a:gd name="T16" fmla="*/ 0 w 44"/>
                <a:gd name="T17" fmla="*/ 0 h 75"/>
                <a:gd name="T18" fmla="*/ 0 w 44"/>
                <a:gd name="T19" fmla="*/ 0 h 75"/>
                <a:gd name="T20" fmla="*/ 0 w 44"/>
                <a:gd name="T21" fmla="*/ 0 h 75"/>
                <a:gd name="T22" fmla="*/ 0 w 44"/>
                <a:gd name="T23" fmla="*/ 0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75"/>
                <a:gd name="T38" fmla="*/ 44 w 44"/>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75">
                  <a:moveTo>
                    <a:pt x="29" y="2"/>
                  </a:moveTo>
                  <a:lnTo>
                    <a:pt x="36" y="0"/>
                  </a:lnTo>
                  <a:lnTo>
                    <a:pt x="44" y="17"/>
                  </a:lnTo>
                  <a:lnTo>
                    <a:pt x="39" y="70"/>
                  </a:lnTo>
                  <a:lnTo>
                    <a:pt x="33" y="75"/>
                  </a:lnTo>
                  <a:lnTo>
                    <a:pt x="22" y="71"/>
                  </a:lnTo>
                  <a:lnTo>
                    <a:pt x="22" y="48"/>
                  </a:lnTo>
                  <a:lnTo>
                    <a:pt x="13" y="63"/>
                  </a:lnTo>
                  <a:lnTo>
                    <a:pt x="0" y="52"/>
                  </a:lnTo>
                  <a:lnTo>
                    <a:pt x="0" y="29"/>
                  </a:lnTo>
                  <a:lnTo>
                    <a:pt x="7" y="9"/>
                  </a:lnTo>
                  <a:lnTo>
                    <a:pt x="29" y="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2" name="Freeform 69"/>
            <p:cNvSpPr>
              <a:spLocks/>
            </p:cNvSpPr>
            <p:nvPr/>
          </p:nvSpPr>
          <p:spPr bwMode="auto">
            <a:xfrm>
              <a:off x="7433203" y="333491"/>
              <a:ext cx="16793" cy="31463"/>
            </a:xfrm>
            <a:custGeom>
              <a:avLst/>
              <a:gdLst>
                <a:gd name="T0" fmla="*/ 0 w 44"/>
                <a:gd name="T1" fmla="*/ 0 h 75"/>
                <a:gd name="T2" fmla="*/ 0 w 44"/>
                <a:gd name="T3" fmla="*/ 0 h 75"/>
                <a:gd name="T4" fmla="*/ 0 w 44"/>
                <a:gd name="T5" fmla="*/ 0 h 75"/>
                <a:gd name="T6" fmla="*/ 0 w 44"/>
                <a:gd name="T7" fmla="*/ 0 h 75"/>
                <a:gd name="T8" fmla="*/ 0 w 44"/>
                <a:gd name="T9" fmla="*/ 0 h 75"/>
                <a:gd name="T10" fmla="*/ 0 w 44"/>
                <a:gd name="T11" fmla="*/ 0 h 75"/>
                <a:gd name="T12" fmla="*/ 0 w 44"/>
                <a:gd name="T13" fmla="*/ 0 h 75"/>
                <a:gd name="T14" fmla="*/ 0 w 44"/>
                <a:gd name="T15" fmla="*/ 0 h 75"/>
                <a:gd name="T16" fmla="*/ 0 w 44"/>
                <a:gd name="T17" fmla="*/ 0 h 75"/>
                <a:gd name="T18" fmla="*/ 0 w 44"/>
                <a:gd name="T19" fmla="*/ 0 h 75"/>
                <a:gd name="T20" fmla="*/ 0 w 44"/>
                <a:gd name="T21" fmla="*/ 0 h 75"/>
                <a:gd name="T22" fmla="*/ 0 w 44"/>
                <a:gd name="T23" fmla="*/ 0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75"/>
                <a:gd name="T38" fmla="*/ 44 w 44"/>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75">
                  <a:moveTo>
                    <a:pt x="29" y="2"/>
                  </a:moveTo>
                  <a:lnTo>
                    <a:pt x="36" y="0"/>
                  </a:lnTo>
                  <a:lnTo>
                    <a:pt x="44" y="17"/>
                  </a:lnTo>
                  <a:lnTo>
                    <a:pt x="39" y="70"/>
                  </a:lnTo>
                  <a:lnTo>
                    <a:pt x="33" y="75"/>
                  </a:lnTo>
                  <a:lnTo>
                    <a:pt x="22" y="71"/>
                  </a:lnTo>
                  <a:lnTo>
                    <a:pt x="22" y="48"/>
                  </a:lnTo>
                  <a:lnTo>
                    <a:pt x="13" y="63"/>
                  </a:lnTo>
                  <a:lnTo>
                    <a:pt x="0" y="52"/>
                  </a:lnTo>
                  <a:lnTo>
                    <a:pt x="0" y="29"/>
                  </a:lnTo>
                  <a:lnTo>
                    <a:pt x="7" y="9"/>
                  </a:lnTo>
                  <a:lnTo>
                    <a:pt x="29" y="2"/>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3" name="Freeform 70"/>
            <p:cNvSpPr>
              <a:spLocks/>
            </p:cNvSpPr>
            <p:nvPr/>
          </p:nvSpPr>
          <p:spPr bwMode="auto">
            <a:xfrm>
              <a:off x="7542359" y="308320"/>
              <a:ext cx="27289" cy="18878"/>
            </a:xfrm>
            <a:custGeom>
              <a:avLst/>
              <a:gdLst>
                <a:gd name="T0" fmla="*/ 0 w 68"/>
                <a:gd name="T1" fmla="*/ 0 h 50"/>
                <a:gd name="T2" fmla="*/ 0 w 68"/>
                <a:gd name="T3" fmla="*/ 0 h 50"/>
                <a:gd name="T4" fmla="*/ 0 w 68"/>
                <a:gd name="T5" fmla="*/ 0 h 50"/>
                <a:gd name="T6" fmla="*/ 0 w 68"/>
                <a:gd name="T7" fmla="*/ 0 h 50"/>
                <a:gd name="T8" fmla="*/ 0 w 68"/>
                <a:gd name="T9" fmla="*/ 0 h 50"/>
                <a:gd name="T10" fmla="*/ 0 w 68"/>
                <a:gd name="T11" fmla="*/ 0 h 50"/>
                <a:gd name="T12" fmla="*/ 0 w 68"/>
                <a:gd name="T13" fmla="*/ 0 h 50"/>
                <a:gd name="T14" fmla="*/ 0 w 68"/>
                <a:gd name="T15" fmla="*/ 0 h 50"/>
                <a:gd name="T16" fmla="*/ 0 60000 65536"/>
                <a:gd name="T17" fmla="*/ 0 60000 65536"/>
                <a:gd name="T18" fmla="*/ 0 60000 65536"/>
                <a:gd name="T19" fmla="*/ 0 60000 65536"/>
                <a:gd name="T20" fmla="*/ 0 60000 65536"/>
                <a:gd name="T21" fmla="*/ 0 60000 65536"/>
                <a:gd name="T22" fmla="*/ 0 60000 65536"/>
                <a:gd name="T23" fmla="*/ 0 60000 65536"/>
                <a:gd name="T24" fmla="*/ 0 w 68"/>
                <a:gd name="T25" fmla="*/ 0 h 50"/>
                <a:gd name="T26" fmla="*/ 68 w 68"/>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8" h="50">
                  <a:moveTo>
                    <a:pt x="41" y="50"/>
                  </a:moveTo>
                  <a:lnTo>
                    <a:pt x="4" y="29"/>
                  </a:lnTo>
                  <a:lnTo>
                    <a:pt x="0" y="14"/>
                  </a:lnTo>
                  <a:lnTo>
                    <a:pt x="7" y="0"/>
                  </a:lnTo>
                  <a:lnTo>
                    <a:pt x="51" y="10"/>
                  </a:lnTo>
                  <a:lnTo>
                    <a:pt x="65" y="25"/>
                  </a:lnTo>
                  <a:lnTo>
                    <a:pt x="68" y="45"/>
                  </a:lnTo>
                  <a:lnTo>
                    <a:pt x="41" y="5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4" name="Freeform 71"/>
            <p:cNvSpPr>
              <a:spLocks/>
            </p:cNvSpPr>
            <p:nvPr/>
          </p:nvSpPr>
          <p:spPr bwMode="auto">
            <a:xfrm>
              <a:off x="7542359" y="308320"/>
              <a:ext cx="27289" cy="18878"/>
            </a:xfrm>
            <a:custGeom>
              <a:avLst/>
              <a:gdLst>
                <a:gd name="T0" fmla="*/ 0 w 68"/>
                <a:gd name="T1" fmla="*/ 0 h 50"/>
                <a:gd name="T2" fmla="*/ 0 w 68"/>
                <a:gd name="T3" fmla="*/ 0 h 50"/>
                <a:gd name="T4" fmla="*/ 0 w 68"/>
                <a:gd name="T5" fmla="*/ 0 h 50"/>
                <a:gd name="T6" fmla="*/ 0 w 68"/>
                <a:gd name="T7" fmla="*/ 0 h 50"/>
                <a:gd name="T8" fmla="*/ 0 w 68"/>
                <a:gd name="T9" fmla="*/ 0 h 50"/>
                <a:gd name="T10" fmla="*/ 0 w 68"/>
                <a:gd name="T11" fmla="*/ 0 h 50"/>
                <a:gd name="T12" fmla="*/ 0 w 68"/>
                <a:gd name="T13" fmla="*/ 0 h 50"/>
                <a:gd name="T14" fmla="*/ 0 w 68"/>
                <a:gd name="T15" fmla="*/ 0 h 50"/>
                <a:gd name="T16" fmla="*/ 0 60000 65536"/>
                <a:gd name="T17" fmla="*/ 0 60000 65536"/>
                <a:gd name="T18" fmla="*/ 0 60000 65536"/>
                <a:gd name="T19" fmla="*/ 0 60000 65536"/>
                <a:gd name="T20" fmla="*/ 0 60000 65536"/>
                <a:gd name="T21" fmla="*/ 0 60000 65536"/>
                <a:gd name="T22" fmla="*/ 0 60000 65536"/>
                <a:gd name="T23" fmla="*/ 0 60000 65536"/>
                <a:gd name="T24" fmla="*/ 0 w 68"/>
                <a:gd name="T25" fmla="*/ 0 h 50"/>
                <a:gd name="T26" fmla="*/ 68 w 68"/>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8" h="50">
                  <a:moveTo>
                    <a:pt x="41" y="50"/>
                  </a:moveTo>
                  <a:lnTo>
                    <a:pt x="4" y="29"/>
                  </a:lnTo>
                  <a:lnTo>
                    <a:pt x="0" y="14"/>
                  </a:lnTo>
                  <a:lnTo>
                    <a:pt x="7" y="0"/>
                  </a:lnTo>
                  <a:lnTo>
                    <a:pt x="51" y="10"/>
                  </a:lnTo>
                  <a:lnTo>
                    <a:pt x="65" y="25"/>
                  </a:lnTo>
                  <a:lnTo>
                    <a:pt x="68" y="45"/>
                  </a:lnTo>
                  <a:lnTo>
                    <a:pt x="41" y="5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5" name="Freeform 72"/>
            <p:cNvSpPr>
              <a:spLocks/>
            </p:cNvSpPr>
            <p:nvPr/>
          </p:nvSpPr>
          <p:spPr bwMode="auto">
            <a:xfrm>
              <a:off x="7519268" y="249590"/>
              <a:ext cx="54578" cy="44048"/>
            </a:xfrm>
            <a:custGeom>
              <a:avLst/>
              <a:gdLst>
                <a:gd name="T0" fmla="*/ 0 w 141"/>
                <a:gd name="T1" fmla="*/ 0 h 106"/>
                <a:gd name="T2" fmla="*/ 0 w 141"/>
                <a:gd name="T3" fmla="*/ 0 h 106"/>
                <a:gd name="T4" fmla="*/ 0 w 141"/>
                <a:gd name="T5" fmla="*/ 0 h 106"/>
                <a:gd name="T6" fmla="*/ 0 w 141"/>
                <a:gd name="T7" fmla="*/ 0 h 106"/>
                <a:gd name="T8" fmla="*/ 0 w 141"/>
                <a:gd name="T9" fmla="*/ 0 h 106"/>
                <a:gd name="T10" fmla="*/ 0 w 141"/>
                <a:gd name="T11" fmla="*/ 0 h 106"/>
                <a:gd name="T12" fmla="*/ 0 w 141"/>
                <a:gd name="T13" fmla="*/ 0 h 106"/>
                <a:gd name="T14" fmla="*/ 0 w 141"/>
                <a:gd name="T15" fmla="*/ 0 h 106"/>
                <a:gd name="T16" fmla="*/ 0 w 141"/>
                <a:gd name="T17" fmla="*/ 0 h 106"/>
                <a:gd name="T18" fmla="*/ 0 w 141"/>
                <a:gd name="T19" fmla="*/ 0 h 106"/>
                <a:gd name="T20" fmla="*/ 0 w 141"/>
                <a:gd name="T21" fmla="*/ 0 h 106"/>
                <a:gd name="T22" fmla="*/ 0 w 141"/>
                <a:gd name="T23" fmla="*/ 0 h 106"/>
                <a:gd name="T24" fmla="*/ 0 w 141"/>
                <a:gd name="T25" fmla="*/ 0 h 106"/>
                <a:gd name="T26" fmla="*/ 0 w 141"/>
                <a:gd name="T27" fmla="*/ 0 h 106"/>
                <a:gd name="T28" fmla="*/ 0 w 141"/>
                <a:gd name="T29" fmla="*/ 0 h 106"/>
                <a:gd name="T30" fmla="*/ 0 w 141"/>
                <a:gd name="T31" fmla="*/ 0 h 106"/>
                <a:gd name="T32" fmla="*/ 0 w 141"/>
                <a:gd name="T33" fmla="*/ 0 h 106"/>
                <a:gd name="T34" fmla="*/ 0 w 141"/>
                <a:gd name="T35" fmla="*/ 0 h 106"/>
                <a:gd name="T36" fmla="*/ 0 w 141"/>
                <a:gd name="T37" fmla="*/ 0 h 106"/>
                <a:gd name="T38" fmla="*/ 0 w 141"/>
                <a:gd name="T39" fmla="*/ 0 h 106"/>
                <a:gd name="T40" fmla="*/ 0 w 141"/>
                <a:gd name="T41" fmla="*/ 0 h 106"/>
                <a:gd name="T42" fmla="*/ 0 w 141"/>
                <a:gd name="T43" fmla="*/ 0 h 106"/>
                <a:gd name="T44" fmla="*/ 0 w 141"/>
                <a:gd name="T45" fmla="*/ 0 h 106"/>
                <a:gd name="T46" fmla="*/ 0 w 141"/>
                <a:gd name="T47" fmla="*/ 0 h 106"/>
                <a:gd name="T48" fmla="*/ 0 w 141"/>
                <a:gd name="T49" fmla="*/ 0 h 106"/>
                <a:gd name="T50" fmla="*/ 0 w 141"/>
                <a:gd name="T51" fmla="*/ 0 h 106"/>
                <a:gd name="T52" fmla="*/ 0 w 141"/>
                <a:gd name="T53" fmla="*/ 0 h 106"/>
                <a:gd name="T54" fmla="*/ 0 w 141"/>
                <a:gd name="T55" fmla="*/ 0 h 106"/>
                <a:gd name="T56" fmla="*/ 0 w 141"/>
                <a:gd name="T57" fmla="*/ 0 h 1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1"/>
                <a:gd name="T88" fmla="*/ 0 h 106"/>
                <a:gd name="T89" fmla="*/ 141 w 141"/>
                <a:gd name="T90" fmla="*/ 106 h 1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1" h="106">
                  <a:moveTo>
                    <a:pt x="41" y="29"/>
                  </a:moveTo>
                  <a:lnTo>
                    <a:pt x="48" y="25"/>
                  </a:lnTo>
                  <a:lnTo>
                    <a:pt x="48" y="15"/>
                  </a:lnTo>
                  <a:lnTo>
                    <a:pt x="58" y="18"/>
                  </a:lnTo>
                  <a:lnTo>
                    <a:pt x="63" y="7"/>
                  </a:lnTo>
                  <a:lnTo>
                    <a:pt x="66" y="11"/>
                  </a:lnTo>
                  <a:lnTo>
                    <a:pt x="70" y="37"/>
                  </a:lnTo>
                  <a:lnTo>
                    <a:pt x="95" y="27"/>
                  </a:lnTo>
                  <a:lnTo>
                    <a:pt x="94" y="0"/>
                  </a:lnTo>
                  <a:lnTo>
                    <a:pt x="109" y="0"/>
                  </a:lnTo>
                  <a:lnTo>
                    <a:pt x="116" y="16"/>
                  </a:lnTo>
                  <a:lnTo>
                    <a:pt x="133" y="21"/>
                  </a:lnTo>
                  <a:lnTo>
                    <a:pt x="141" y="34"/>
                  </a:lnTo>
                  <a:lnTo>
                    <a:pt x="139" y="50"/>
                  </a:lnTo>
                  <a:lnTo>
                    <a:pt x="127" y="51"/>
                  </a:lnTo>
                  <a:lnTo>
                    <a:pt x="124" y="70"/>
                  </a:lnTo>
                  <a:lnTo>
                    <a:pt x="114" y="81"/>
                  </a:lnTo>
                  <a:lnTo>
                    <a:pt x="97" y="71"/>
                  </a:lnTo>
                  <a:lnTo>
                    <a:pt x="85" y="89"/>
                  </a:lnTo>
                  <a:lnTo>
                    <a:pt x="72" y="92"/>
                  </a:lnTo>
                  <a:lnTo>
                    <a:pt x="63" y="81"/>
                  </a:lnTo>
                  <a:lnTo>
                    <a:pt x="43" y="94"/>
                  </a:lnTo>
                  <a:lnTo>
                    <a:pt x="35" y="78"/>
                  </a:lnTo>
                  <a:lnTo>
                    <a:pt x="29" y="106"/>
                  </a:lnTo>
                  <a:lnTo>
                    <a:pt x="19" y="58"/>
                  </a:lnTo>
                  <a:lnTo>
                    <a:pt x="0" y="54"/>
                  </a:lnTo>
                  <a:lnTo>
                    <a:pt x="15" y="36"/>
                  </a:lnTo>
                  <a:lnTo>
                    <a:pt x="34" y="40"/>
                  </a:lnTo>
                  <a:lnTo>
                    <a:pt x="41" y="29"/>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6" name="Freeform 73"/>
            <p:cNvSpPr>
              <a:spLocks/>
            </p:cNvSpPr>
            <p:nvPr/>
          </p:nvSpPr>
          <p:spPr bwMode="auto">
            <a:xfrm>
              <a:off x="7519268" y="249590"/>
              <a:ext cx="54578" cy="44048"/>
            </a:xfrm>
            <a:custGeom>
              <a:avLst/>
              <a:gdLst>
                <a:gd name="T0" fmla="*/ 0 w 141"/>
                <a:gd name="T1" fmla="*/ 0 h 106"/>
                <a:gd name="T2" fmla="*/ 0 w 141"/>
                <a:gd name="T3" fmla="*/ 0 h 106"/>
                <a:gd name="T4" fmla="*/ 0 w 141"/>
                <a:gd name="T5" fmla="*/ 0 h 106"/>
                <a:gd name="T6" fmla="*/ 0 w 141"/>
                <a:gd name="T7" fmla="*/ 0 h 106"/>
                <a:gd name="T8" fmla="*/ 0 w 141"/>
                <a:gd name="T9" fmla="*/ 0 h 106"/>
                <a:gd name="T10" fmla="*/ 0 w 141"/>
                <a:gd name="T11" fmla="*/ 0 h 106"/>
                <a:gd name="T12" fmla="*/ 0 w 141"/>
                <a:gd name="T13" fmla="*/ 0 h 106"/>
                <a:gd name="T14" fmla="*/ 0 w 141"/>
                <a:gd name="T15" fmla="*/ 0 h 106"/>
                <a:gd name="T16" fmla="*/ 0 w 141"/>
                <a:gd name="T17" fmla="*/ 0 h 106"/>
                <a:gd name="T18" fmla="*/ 0 w 141"/>
                <a:gd name="T19" fmla="*/ 0 h 106"/>
                <a:gd name="T20" fmla="*/ 0 w 141"/>
                <a:gd name="T21" fmla="*/ 0 h 106"/>
                <a:gd name="T22" fmla="*/ 0 w 141"/>
                <a:gd name="T23" fmla="*/ 0 h 106"/>
                <a:gd name="T24" fmla="*/ 0 w 141"/>
                <a:gd name="T25" fmla="*/ 0 h 106"/>
                <a:gd name="T26" fmla="*/ 0 w 141"/>
                <a:gd name="T27" fmla="*/ 0 h 106"/>
                <a:gd name="T28" fmla="*/ 0 w 141"/>
                <a:gd name="T29" fmla="*/ 0 h 106"/>
                <a:gd name="T30" fmla="*/ 0 w 141"/>
                <a:gd name="T31" fmla="*/ 0 h 106"/>
                <a:gd name="T32" fmla="*/ 0 w 141"/>
                <a:gd name="T33" fmla="*/ 0 h 106"/>
                <a:gd name="T34" fmla="*/ 0 w 141"/>
                <a:gd name="T35" fmla="*/ 0 h 106"/>
                <a:gd name="T36" fmla="*/ 0 w 141"/>
                <a:gd name="T37" fmla="*/ 0 h 106"/>
                <a:gd name="T38" fmla="*/ 0 w 141"/>
                <a:gd name="T39" fmla="*/ 0 h 106"/>
                <a:gd name="T40" fmla="*/ 0 w 141"/>
                <a:gd name="T41" fmla="*/ 0 h 106"/>
                <a:gd name="T42" fmla="*/ 0 w 141"/>
                <a:gd name="T43" fmla="*/ 0 h 106"/>
                <a:gd name="T44" fmla="*/ 0 w 141"/>
                <a:gd name="T45" fmla="*/ 0 h 106"/>
                <a:gd name="T46" fmla="*/ 0 w 141"/>
                <a:gd name="T47" fmla="*/ 0 h 106"/>
                <a:gd name="T48" fmla="*/ 0 w 141"/>
                <a:gd name="T49" fmla="*/ 0 h 106"/>
                <a:gd name="T50" fmla="*/ 0 w 141"/>
                <a:gd name="T51" fmla="*/ 0 h 106"/>
                <a:gd name="T52" fmla="*/ 0 w 141"/>
                <a:gd name="T53" fmla="*/ 0 h 106"/>
                <a:gd name="T54" fmla="*/ 0 w 141"/>
                <a:gd name="T55" fmla="*/ 0 h 106"/>
                <a:gd name="T56" fmla="*/ 0 w 141"/>
                <a:gd name="T57" fmla="*/ 0 h 1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1"/>
                <a:gd name="T88" fmla="*/ 0 h 106"/>
                <a:gd name="T89" fmla="*/ 141 w 141"/>
                <a:gd name="T90" fmla="*/ 106 h 1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1" h="106">
                  <a:moveTo>
                    <a:pt x="41" y="29"/>
                  </a:moveTo>
                  <a:lnTo>
                    <a:pt x="48" y="25"/>
                  </a:lnTo>
                  <a:lnTo>
                    <a:pt x="48" y="15"/>
                  </a:lnTo>
                  <a:lnTo>
                    <a:pt x="58" y="18"/>
                  </a:lnTo>
                  <a:lnTo>
                    <a:pt x="63" y="7"/>
                  </a:lnTo>
                  <a:lnTo>
                    <a:pt x="66" y="11"/>
                  </a:lnTo>
                  <a:lnTo>
                    <a:pt x="70" y="37"/>
                  </a:lnTo>
                  <a:lnTo>
                    <a:pt x="95" y="27"/>
                  </a:lnTo>
                  <a:lnTo>
                    <a:pt x="94" y="0"/>
                  </a:lnTo>
                  <a:lnTo>
                    <a:pt x="109" y="0"/>
                  </a:lnTo>
                  <a:lnTo>
                    <a:pt x="116" y="16"/>
                  </a:lnTo>
                  <a:lnTo>
                    <a:pt x="133" y="21"/>
                  </a:lnTo>
                  <a:lnTo>
                    <a:pt x="141" y="34"/>
                  </a:lnTo>
                  <a:lnTo>
                    <a:pt x="139" y="50"/>
                  </a:lnTo>
                  <a:lnTo>
                    <a:pt x="127" y="51"/>
                  </a:lnTo>
                  <a:lnTo>
                    <a:pt x="124" y="70"/>
                  </a:lnTo>
                  <a:lnTo>
                    <a:pt x="114" y="81"/>
                  </a:lnTo>
                  <a:lnTo>
                    <a:pt x="97" y="71"/>
                  </a:lnTo>
                  <a:lnTo>
                    <a:pt x="85" y="89"/>
                  </a:lnTo>
                  <a:lnTo>
                    <a:pt x="72" y="92"/>
                  </a:lnTo>
                  <a:lnTo>
                    <a:pt x="63" y="81"/>
                  </a:lnTo>
                  <a:lnTo>
                    <a:pt x="43" y="94"/>
                  </a:lnTo>
                  <a:lnTo>
                    <a:pt x="35" y="78"/>
                  </a:lnTo>
                  <a:lnTo>
                    <a:pt x="29" y="106"/>
                  </a:lnTo>
                  <a:lnTo>
                    <a:pt x="19" y="58"/>
                  </a:lnTo>
                  <a:lnTo>
                    <a:pt x="0" y="54"/>
                  </a:lnTo>
                  <a:lnTo>
                    <a:pt x="15" y="36"/>
                  </a:lnTo>
                  <a:lnTo>
                    <a:pt x="34" y="40"/>
                  </a:lnTo>
                  <a:lnTo>
                    <a:pt x="41" y="29"/>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7" name="Freeform 74"/>
            <p:cNvSpPr>
              <a:spLocks/>
            </p:cNvSpPr>
            <p:nvPr/>
          </p:nvSpPr>
          <p:spPr bwMode="auto">
            <a:xfrm>
              <a:off x="7567549" y="274760"/>
              <a:ext cx="35686" cy="44048"/>
            </a:xfrm>
            <a:custGeom>
              <a:avLst/>
              <a:gdLst>
                <a:gd name="T0" fmla="*/ 0 w 88"/>
                <a:gd name="T1" fmla="*/ 0 h 110"/>
                <a:gd name="T2" fmla="*/ 0 w 88"/>
                <a:gd name="T3" fmla="*/ 0 h 110"/>
                <a:gd name="T4" fmla="*/ 0 w 88"/>
                <a:gd name="T5" fmla="*/ 0 h 110"/>
                <a:gd name="T6" fmla="*/ 0 w 88"/>
                <a:gd name="T7" fmla="*/ 0 h 110"/>
                <a:gd name="T8" fmla="*/ 0 w 88"/>
                <a:gd name="T9" fmla="*/ 0 h 110"/>
                <a:gd name="T10" fmla="*/ 0 w 88"/>
                <a:gd name="T11" fmla="*/ 0 h 110"/>
                <a:gd name="T12" fmla="*/ 0 w 88"/>
                <a:gd name="T13" fmla="*/ 0 h 110"/>
                <a:gd name="T14" fmla="*/ 0 w 88"/>
                <a:gd name="T15" fmla="*/ 0 h 110"/>
                <a:gd name="T16" fmla="*/ 0 w 88"/>
                <a:gd name="T17" fmla="*/ 0 h 110"/>
                <a:gd name="T18" fmla="*/ 0 w 88"/>
                <a:gd name="T19" fmla="*/ 0 h 110"/>
                <a:gd name="T20" fmla="*/ 0 w 88"/>
                <a:gd name="T21" fmla="*/ 0 h 110"/>
                <a:gd name="T22" fmla="*/ 0 w 88"/>
                <a:gd name="T23" fmla="*/ 0 h 110"/>
                <a:gd name="T24" fmla="*/ 0 w 88"/>
                <a:gd name="T25" fmla="*/ 0 h 110"/>
                <a:gd name="T26" fmla="*/ 0 w 88"/>
                <a:gd name="T27" fmla="*/ 0 h 110"/>
                <a:gd name="T28" fmla="*/ 0 w 88"/>
                <a:gd name="T29" fmla="*/ 0 h 110"/>
                <a:gd name="T30" fmla="*/ 0 w 88"/>
                <a:gd name="T31" fmla="*/ 0 h 110"/>
                <a:gd name="T32" fmla="*/ 0 w 88"/>
                <a:gd name="T33" fmla="*/ 0 h 1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
                <a:gd name="T52" fmla="*/ 0 h 110"/>
                <a:gd name="T53" fmla="*/ 88 w 88"/>
                <a:gd name="T54" fmla="*/ 110 h 1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 h="110">
                  <a:moveTo>
                    <a:pt x="65" y="92"/>
                  </a:moveTo>
                  <a:lnTo>
                    <a:pt x="57" y="87"/>
                  </a:lnTo>
                  <a:lnTo>
                    <a:pt x="57" y="100"/>
                  </a:lnTo>
                  <a:lnTo>
                    <a:pt x="46" y="110"/>
                  </a:lnTo>
                  <a:lnTo>
                    <a:pt x="22" y="107"/>
                  </a:lnTo>
                  <a:lnTo>
                    <a:pt x="10" y="92"/>
                  </a:lnTo>
                  <a:lnTo>
                    <a:pt x="7" y="78"/>
                  </a:lnTo>
                  <a:lnTo>
                    <a:pt x="9" y="65"/>
                  </a:lnTo>
                  <a:lnTo>
                    <a:pt x="0" y="45"/>
                  </a:lnTo>
                  <a:lnTo>
                    <a:pt x="10" y="30"/>
                  </a:lnTo>
                  <a:lnTo>
                    <a:pt x="24" y="38"/>
                  </a:lnTo>
                  <a:lnTo>
                    <a:pt x="30" y="13"/>
                  </a:lnTo>
                  <a:lnTo>
                    <a:pt x="53" y="20"/>
                  </a:lnTo>
                  <a:lnTo>
                    <a:pt x="64" y="0"/>
                  </a:lnTo>
                  <a:lnTo>
                    <a:pt x="85" y="23"/>
                  </a:lnTo>
                  <a:lnTo>
                    <a:pt x="88" y="42"/>
                  </a:lnTo>
                  <a:lnTo>
                    <a:pt x="65" y="9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8" name="Freeform 75"/>
            <p:cNvSpPr>
              <a:spLocks/>
            </p:cNvSpPr>
            <p:nvPr/>
          </p:nvSpPr>
          <p:spPr bwMode="auto">
            <a:xfrm>
              <a:off x="7567549" y="274760"/>
              <a:ext cx="35686" cy="44048"/>
            </a:xfrm>
            <a:custGeom>
              <a:avLst/>
              <a:gdLst>
                <a:gd name="T0" fmla="*/ 0 w 88"/>
                <a:gd name="T1" fmla="*/ 0 h 110"/>
                <a:gd name="T2" fmla="*/ 0 w 88"/>
                <a:gd name="T3" fmla="*/ 0 h 110"/>
                <a:gd name="T4" fmla="*/ 0 w 88"/>
                <a:gd name="T5" fmla="*/ 0 h 110"/>
                <a:gd name="T6" fmla="*/ 0 w 88"/>
                <a:gd name="T7" fmla="*/ 0 h 110"/>
                <a:gd name="T8" fmla="*/ 0 w 88"/>
                <a:gd name="T9" fmla="*/ 0 h 110"/>
                <a:gd name="T10" fmla="*/ 0 w 88"/>
                <a:gd name="T11" fmla="*/ 0 h 110"/>
                <a:gd name="T12" fmla="*/ 0 w 88"/>
                <a:gd name="T13" fmla="*/ 0 h 110"/>
                <a:gd name="T14" fmla="*/ 0 w 88"/>
                <a:gd name="T15" fmla="*/ 0 h 110"/>
                <a:gd name="T16" fmla="*/ 0 w 88"/>
                <a:gd name="T17" fmla="*/ 0 h 110"/>
                <a:gd name="T18" fmla="*/ 0 w 88"/>
                <a:gd name="T19" fmla="*/ 0 h 110"/>
                <a:gd name="T20" fmla="*/ 0 w 88"/>
                <a:gd name="T21" fmla="*/ 0 h 110"/>
                <a:gd name="T22" fmla="*/ 0 w 88"/>
                <a:gd name="T23" fmla="*/ 0 h 110"/>
                <a:gd name="T24" fmla="*/ 0 w 88"/>
                <a:gd name="T25" fmla="*/ 0 h 110"/>
                <a:gd name="T26" fmla="*/ 0 w 88"/>
                <a:gd name="T27" fmla="*/ 0 h 110"/>
                <a:gd name="T28" fmla="*/ 0 w 88"/>
                <a:gd name="T29" fmla="*/ 0 h 110"/>
                <a:gd name="T30" fmla="*/ 0 w 88"/>
                <a:gd name="T31" fmla="*/ 0 h 110"/>
                <a:gd name="T32" fmla="*/ 0 w 88"/>
                <a:gd name="T33" fmla="*/ 0 h 1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
                <a:gd name="T52" fmla="*/ 0 h 110"/>
                <a:gd name="T53" fmla="*/ 88 w 88"/>
                <a:gd name="T54" fmla="*/ 110 h 1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 h="110">
                  <a:moveTo>
                    <a:pt x="65" y="92"/>
                  </a:moveTo>
                  <a:lnTo>
                    <a:pt x="57" y="87"/>
                  </a:lnTo>
                  <a:lnTo>
                    <a:pt x="57" y="100"/>
                  </a:lnTo>
                  <a:lnTo>
                    <a:pt x="46" y="110"/>
                  </a:lnTo>
                  <a:lnTo>
                    <a:pt x="22" y="107"/>
                  </a:lnTo>
                  <a:lnTo>
                    <a:pt x="10" y="92"/>
                  </a:lnTo>
                  <a:lnTo>
                    <a:pt x="7" y="78"/>
                  </a:lnTo>
                  <a:lnTo>
                    <a:pt x="9" y="65"/>
                  </a:lnTo>
                  <a:lnTo>
                    <a:pt x="0" y="45"/>
                  </a:lnTo>
                  <a:lnTo>
                    <a:pt x="10" y="30"/>
                  </a:lnTo>
                  <a:lnTo>
                    <a:pt x="24" y="38"/>
                  </a:lnTo>
                  <a:lnTo>
                    <a:pt x="30" y="13"/>
                  </a:lnTo>
                  <a:lnTo>
                    <a:pt x="53" y="20"/>
                  </a:lnTo>
                  <a:lnTo>
                    <a:pt x="64" y="0"/>
                  </a:lnTo>
                  <a:lnTo>
                    <a:pt x="85" y="23"/>
                  </a:lnTo>
                  <a:lnTo>
                    <a:pt x="88" y="42"/>
                  </a:lnTo>
                  <a:lnTo>
                    <a:pt x="65" y="92"/>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19" name="Freeform 76"/>
            <p:cNvSpPr>
              <a:spLocks/>
            </p:cNvSpPr>
            <p:nvPr/>
          </p:nvSpPr>
          <p:spPr bwMode="auto">
            <a:xfrm>
              <a:off x="7605334" y="245395"/>
              <a:ext cx="23091" cy="39853"/>
            </a:xfrm>
            <a:custGeom>
              <a:avLst/>
              <a:gdLst>
                <a:gd name="T0" fmla="*/ 0 w 52"/>
                <a:gd name="T1" fmla="*/ 0 h 94"/>
                <a:gd name="T2" fmla="*/ 0 w 52"/>
                <a:gd name="T3" fmla="*/ 0 h 94"/>
                <a:gd name="T4" fmla="*/ 0 w 52"/>
                <a:gd name="T5" fmla="*/ 0 h 94"/>
                <a:gd name="T6" fmla="*/ 0 w 52"/>
                <a:gd name="T7" fmla="*/ 0 h 94"/>
                <a:gd name="T8" fmla="*/ 0 w 52"/>
                <a:gd name="T9" fmla="*/ 0 h 94"/>
                <a:gd name="T10" fmla="*/ 0 w 52"/>
                <a:gd name="T11" fmla="*/ 0 h 94"/>
                <a:gd name="T12" fmla="*/ 0 w 52"/>
                <a:gd name="T13" fmla="*/ 0 h 94"/>
                <a:gd name="T14" fmla="*/ 0 w 52"/>
                <a:gd name="T15" fmla="*/ 0 h 94"/>
                <a:gd name="T16" fmla="*/ 0 w 52"/>
                <a:gd name="T17" fmla="*/ 0 h 94"/>
                <a:gd name="T18" fmla="*/ 0 w 52"/>
                <a:gd name="T19" fmla="*/ 0 h 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94"/>
                <a:gd name="T32" fmla="*/ 52 w 52"/>
                <a:gd name="T33" fmla="*/ 94 h 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94">
                  <a:moveTo>
                    <a:pt x="37" y="83"/>
                  </a:moveTo>
                  <a:lnTo>
                    <a:pt x="27" y="94"/>
                  </a:lnTo>
                  <a:lnTo>
                    <a:pt x="0" y="14"/>
                  </a:lnTo>
                  <a:lnTo>
                    <a:pt x="6" y="0"/>
                  </a:lnTo>
                  <a:lnTo>
                    <a:pt x="14" y="19"/>
                  </a:lnTo>
                  <a:lnTo>
                    <a:pt x="26" y="16"/>
                  </a:lnTo>
                  <a:lnTo>
                    <a:pt x="43" y="29"/>
                  </a:lnTo>
                  <a:lnTo>
                    <a:pt x="52" y="60"/>
                  </a:lnTo>
                  <a:lnTo>
                    <a:pt x="52" y="79"/>
                  </a:lnTo>
                  <a:lnTo>
                    <a:pt x="37" y="8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0" name="Freeform 77"/>
            <p:cNvSpPr>
              <a:spLocks/>
            </p:cNvSpPr>
            <p:nvPr/>
          </p:nvSpPr>
          <p:spPr bwMode="auto">
            <a:xfrm>
              <a:off x="7605334" y="245395"/>
              <a:ext cx="23091" cy="39853"/>
            </a:xfrm>
            <a:custGeom>
              <a:avLst/>
              <a:gdLst>
                <a:gd name="T0" fmla="*/ 0 w 52"/>
                <a:gd name="T1" fmla="*/ 0 h 94"/>
                <a:gd name="T2" fmla="*/ 0 w 52"/>
                <a:gd name="T3" fmla="*/ 0 h 94"/>
                <a:gd name="T4" fmla="*/ 0 w 52"/>
                <a:gd name="T5" fmla="*/ 0 h 94"/>
                <a:gd name="T6" fmla="*/ 0 w 52"/>
                <a:gd name="T7" fmla="*/ 0 h 94"/>
                <a:gd name="T8" fmla="*/ 0 w 52"/>
                <a:gd name="T9" fmla="*/ 0 h 94"/>
                <a:gd name="T10" fmla="*/ 0 w 52"/>
                <a:gd name="T11" fmla="*/ 0 h 94"/>
                <a:gd name="T12" fmla="*/ 0 w 52"/>
                <a:gd name="T13" fmla="*/ 0 h 94"/>
                <a:gd name="T14" fmla="*/ 0 w 52"/>
                <a:gd name="T15" fmla="*/ 0 h 94"/>
                <a:gd name="T16" fmla="*/ 0 w 52"/>
                <a:gd name="T17" fmla="*/ 0 h 94"/>
                <a:gd name="T18" fmla="*/ 0 w 52"/>
                <a:gd name="T19" fmla="*/ 0 h 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94"/>
                <a:gd name="T32" fmla="*/ 52 w 52"/>
                <a:gd name="T33" fmla="*/ 94 h 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94">
                  <a:moveTo>
                    <a:pt x="37" y="83"/>
                  </a:moveTo>
                  <a:lnTo>
                    <a:pt x="27" y="94"/>
                  </a:lnTo>
                  <a:lnTo>
                    <a:pt x="0" y="14"/>
                  </a:lnTo>
                  <a:lnTo>
                    <a:pt x="6" y="0"/>
                  </a:lnTo>
                  <a:lnTo>
                    <a:pt x="14" y="19"/>
                  </a:lnTo>
                  <a:lnTo>
                    <a:pt x="26" y="16"/>
                  </a:lnTo>
                  <a:lnTo>
                    <a:pt x="43" y="29"/>
                  </a:lnTo>
                  <a:lnTo>
                    <a:pt x="52" y="60"/>
                  </a:lnTo>
                  <a:lnTo>
                    <a:pt x="52" y="79"/>
                  </a:lnTo>
                  <a:lnTo>
                    <a:pt x="37" y="83"/>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1" name="Freeform 78"/>
            <p:cNvSpPr>
              <a:spLocks/>
            </p:cNvSpPr>
            <p:nvPr/>
          </p:nvSpPr>
          <p:spPr bwMode="auto">
            <a:xfrm>
              <a:off x="7689301" y="178274"/>
              <a:ext cx="37785" cy="31463"/>
            </a:xfrm>
            <a:custGeom>
              <a:avLst/>
              <a:gdLst>
                <a:gd name="T0" fmla="*/ 0 w 97"/>
                <a:gd name="T1" fmla="*/ 0 h 75"/>
                <a:gd name="T2" fmla="*/ 0 w 97"/>
                <a:gd name="T3" fmla="*/ 0 h 75"/>
                <a:gd name="T4" fmla="*/ 0 w 97"/>
                <a:gd name="T5" fmla="*/ 0 h 75"/>
                <a:gd name="T6" fmla="*/ 0 w 97"/>
                <a:gd name="T7" fmla="*/ 0 h 75"/>
                <a:gd name="T8" fmla="*/ 0 w 97"/>
                <a:gd name="T9" fmla="*/ 0 h 75"/>
                <a:gd name="T10" fmla="*/ 0 w 97"/>
                <a:gd name="T11" fmla="*/ 0 h 75"/>
                <a:gd name="T12" fmla="*/ 0 w 97"/>
                <a:gd name="T13" fmla="*/ 0 h 75"/>
                <a:gd name="T14" fmla="*/ 0 w 97"/>
                <a:gd name="T15" fmla="*/ 0 h 75"/>
                <a:gd name="T16" fmla="*/ 0 w 97"/>
                <a:gd name="T17" fmla="*/ 0 h 75"/>
                <a:gd name="T18" fmla="*/ 0 w 97"/>
                <a:gd name="T19" fmla="*/ 0 h 75"/>
                <a:gd name="T20" fmla="*/ 0 w 97"/>
                <a:gd name="T21" fmla="*/ 0 h 75"/>
                <a:gd name="T22" fmla="*/ 0 w 97"/>
                <a:gd name="T23" fmla="*/ 0 h 75"/>
                <a:gd name="T24" fmla="*/ 0 w 97"/>
                <a:gd name="T25" fmla="*/ 0 h 75"/>
                <a:gd name="T26" fmla="*/ 0 w 97"/>
                <a:gd name="T27" fmla="*/ 0 h 75"/>
                <a:gd name="T28" fmla="*/ 0 w 97"/>
                <a:gd name="T29" fmla="*/ 0 h 75"/>
                <a:gd name="T30" fmla="*/ 0 w 97"/>
                <a:gd name="T31" fmla="*/ 0 h 75"/>
                <a:gd name="T32" fmla="*/ 0 w 97"/>
                <a:gd name="T33" fmla="*/ 0 h 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7"/>
                <a:gd name="T52" fmla="*/ 0 h 75"/>
                <a:gd name="T53" fmla="*/ 97 w 97"/>
                <a:gd name="T54" fmla="*/ 75 h 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7" h="75">
                  <a:moveTo>
                    <a:pt x="71" y="16"/>
                  </a:moveTo>
                  <a:lnTo>
                    <a:pt x="93" y="42"/>
                  </a:lnTo>
                  <a:lnTo>
                    <a:pt x="97" y="62"/>
                  </a:lnTo>
                  <a:lnTo>
                    <a:pt x="74" y="56"/>
                  </a:lnTo>
                  <a:lnTo>
                    <a:pt x="61" y="75"/>
                  </a:lnTo>
                  <a:lnTo>
                    <a:pt x="49" y="68"/>
                  </a:lnTo>
                  <a:lnTo>
                    <a:pt x="22" y="73"/>
                  </a:lnTo>
                  <a:lnTo>
                    <a:pt x="16" y="62"/>
                  </a:lnTo>
                  <a:lnTo>
                    <a:pt x="32" y="51"/>
                  </a:lnTo>
                  <a:lnTo>
                    <a:pt x="37" y="37"/>
                  </a:lnTo>
                  <a:lnTo>
                    <a:pt x="0" y="44"/>
                  </a:lnTo>
                  <a:lnTo>
                    <a:pt x="2" y="30"/>
                  </a:lnTo>
                  <a:lnTo>
                    <a:pt x="22" y="24"/>
                  </a:lnTo>
                  <a:lnTo>
                    <a:pt x="43" y="27"/>
                  </a:lnTo>
                  <a:lnTo>
                    <a:pt x="46" y="11"/>
                  </a:lnTo>
                  <a:lnTo>
                    <a:pt x="43" y="0"/>
                  </a:lnTo>
                  <a:lnTo>
                    <a:pt x="71" y="1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2" name="Freeform 79"/>
            <p:cNvSpPr>
              <a:spLocks/>
            </p:cNvSpPr>
            <p:nvPr/>
          </p:nvSpPr>
          <p:spPr bwMode="auto">
            <a:xfrm>
              <a:off x="7689301" y="178274"/>
              <a:ext cx="37785" cy="31463"/>
            </a:xfrm>
            <a:custGeom>
              <a:avLst/>
              <a:gdLst>
                <a:gd name="T0" fmla="*/ 0 w 97"/>
                <a:gd name="T1" fmla="*/ 0 h 75"/>
                <a:gd name="T2" fmla="*/ 0 w 97"/>
                <a:gd name="T3" fmla="*/ 0 h 75"/>
                <a:gd name="T4" fmla="*/ 0 w 97"/>
                <a:gd name="T5" fmla="*/ 0 h 75"/>
                <a:gd name="T6" fmla="*/ 0 w 97"/>
                <a:gd name="T7" fmla="*/ 0 h 75"/>
                <a:gd name="T8" fmla="*/ 0 w 97"/>
                <a:gd name="T9" fmla="*/ 0 h 75"/>
                <a:gd name="T10" fmla="*/ 0 w 97"/>
                <a:gd name="T11" fmla="*/ 0 h 75"/>
                <a:gd name="T12" fmla="*/ 0 w 97"/>
                <a:gd name="T13" fmla="*/ 0 h 75"/>
                <a:gd name="T14" fmla="*/ 0 w 97"/>
                <a:gd name="T15" fmla="*/ 0 h 75"/>
                <a:gd name="T16" fmla="*/ 0 w 97"/>
                <a:gd name="T17" fmla="*/ 0 h 75"/>
                <a:gd name="T18" fmla="*/ 0 w 97"/>
                <a:gd name="T19" fmla="*/ 0 h 75"/>
                <a:gd name="T20" fmla="*/ 0 w 97"/>
                <a:gd name="T21" fmla="*/ 0 h 75"/>
                <a:gd name="T22" fmla="*/ 0 w 97"/>
                <a:gd name="T23" fmla="*/ 0 h 75"/>
                <a:gd name="T24" fmla="*/ 0 w 97"/>
                <a:gd name="T25" fmla="*/ 0 h 75"/>
                <a:gd name="T26" fmla="*/ 0 w 97"/>
                <a:gd name="T27" fmla="*/ 0 h 75"/>
                <a:gd name="T28" fmla="*/ 0 w 97"/>
                <a:gd name="T29" fmla="*/ 0 h 75"/>
                <a:gd name="T30" fmla="*/ 0 w 97"/>
                <a:gd name="T31" fmla="*/ 0 h 75"/>
                <a:gd name="T32" fmla="*/ 0 w 97"/>
                <a:gd name="T33" fmla="*/ 0 h 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7"/>
                <a:gd name="T52" fmla="*/ 0 h 75"/>
                <a:gd name="T53" fmla="*/ 97 w 97"/>
                <a:gd name="T54" fmla="*/ 75 h 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7" h="75">
                  <a:moveTo>
                    <a:pt x="71" y="16"/>
                  </a:moveTo>
                  <a:lnTo>
                    <a:pt x="93" y="42"/>
                  </a:lnTo>
                  <a:lnTo>
                    <a:pt x="97" y="62"/>
                  </a:lnTo>
                  <a:lnTo>
                    <a:pt x="74" y="56"/>
                  </a:lnTo>
                  <a:lnTo>
                    <a:pt x="61" y="75"/>
                  </a:lnTo>
                  <a:lnTo>
                    <a:pt x="49" y="68"/>
                  </a:lnTo>
                  <a:lnTo>
                    <a:pt x="22" y="73"/>
                  </a:lnTo>
                  <a:lnTo>
                    <a:pt x="16" y="62"/>
                  </a:lnTo>
                  <a:lnTo>
                    <a:pt x="32" y="51"/>
                  </a:lnTo>
                  <a:lnTo>
                    <a:pt x="37" y="37"/>
                  </a:lnTo>
                  <a:lnTo>
                    <a:pt x="0" y="44"/>
                  </a:lnTo>
                  <a:lnTo>
                    <a:pt x="2" y="30"/>
                  </a:lnTo>
                  <a:lnTo>
                    <a:pt x="22" y="24"/>
                  </a:lnTo>
                  <a:lnTo>
                    <a:pt x="43" y="27"/>
                  </a:lnTo>
                  <a:lnTo>
                    <a:pt x="46" y="11"/>
                  </a:lnTo>
                  <a:lnTo>
                    <a:pt x="43" y="0"/>
                  </a:lnTo>
                  <a:lnTo>
                    <a:pt x="71" y="16"/>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3" name="Freeform 80"/>
            <p:cNvSpPr>
              <a:spLocks/>
            </p:cNvSpPr>
            <p:nvPr/>
          </p:nvSpPr>
          <p:spPr bwMode="auto">
            <a:xfrm>
              <a:off x="6574643" y="1317232"/>
              <a:ext cx="56678" cy="31463"/>
            </a:xfrm>
            <a:custGeom>
              <a:avLst/>
              <a:gdLst>
                <a:gd name="T0" fmla="*/ 0 w 133"/>
                <a:gd name="T1" fmla="*/ 0 h 77"/>
                <a:gd name="T2" fmla="*/ 0 w 133"/>
                <a:gd name="T3" fmla="*/ 0 h 77"/>
                <a:gd name="T4" fmla="*/ 0 w 133"/>
                <a:gd name="T5" fmla="*/ 0 h 77"/>
                <a:gd name="T6" fmla="*/ 0 w 133"/>
                <a:gd name="T7" fmla="*/ 0 h 77"/>
                <a:gd name="T8" fmla="*/ 0 w 133"/>
                <a:gd name="T9" fmla="*/ 0 h 77"/>
                <a:gd name="T10" fmla="*/ 0 w 133"/>
                <a:gd name="T11" fmla="*/ 0 h 77"/>
                <a:gd name="T12" fmla="*/ 0 w 133"/>
                <a:gd name="T13" fmla="*/ 0 h 77"/>
                <a:gd name="T14" fmla="*/ 0 w 133"/>
                <a:gd name="T15" fmla="*/ 0 h 77"/>
                <a:gd name="T16" fmla="*/ 0 w 133"/>
                <a:gd name="T17" fmla="*/ 0 h 77"/>
                <a:gd name="T18" fmla="*/ 0 w 133"/>
                <a:gd name="T19" fmla="*/ 0 h 77"/>
                <a:gd name="T20" fmla="*/ 0 w 133"/>
                <a:gd name="T21" fmla="*/ 0 h 77"/>
                <a:gd name="T22" fmla="*/ 0 w 133"/>
                <a:gd name="T23" fmla="*/ 0 h 77"/>
                <a:gd name="T24" fmla="*/ 0 w 133"/>
                <a:gd name="T25" fmla="*/ 0 h 77"/>
                <a:gd name="T26" fmla="*/ 0 w 133"/>
                <a:gd name="T27" fmla="*/ 0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3"/>
                <a:gd name="T43" fmla="*/ 0 h 77"/>
                <a:gd name="T44" fmla="*/ 133 w 133"/>
                <a:gd name="T45" fmla="*/ 77 h 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3" h="77">
                  <a:moveTo>
                    <a:pt x="0" y="37"/>
                  </a:moveTo>
                  <a:lnTo>
                    <a:pt x="14" y="37"/>
                  </a:lnTo>
                  <a:lnTo>
                    <a:pt x="17" y="29"/>
                  </a:lnTo>
                  <a:lnTo>
                    <a:pt x="37" y="33"/>
                  </a:lnTo>
                  <a:lnTo>
                    <a:pt x="50" y="24"/>
                  </a:lnTo>
                  <a:lnTo>
                    <a:pt x="57" y="10"/>
                  </a:lnTo>
                  <a:lnTo>
                    <a:pt x="99" y="0"/>
                  </a:lnTo>
                  <a:lnTo>
                    <a:pt x="127" y="4"/>
                  </a:lnTo>
                  <a:lnTo>
                    <a:pt x="119" y="17"/>
                  </a:lnTo>
                  <a:lnTo>
                    <a:pt x="131" y="30"/>
                  </a:lnTo>
                  <a:lnTo>
                    <a:pt x="133" y="52"/>
                  </a:lnTo>
                  <a:lnTo>
                    <a:pt x="19" y="77"/>
                  </a:lnTo>
                  <a:lnTo>
                    <a:pt x="5" y="55"/>
                  </a:lnTo>
                  <a:lnTo>
                    <a:pt x="0" y="37"/>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4" name="Freeform 81"/>
            <p:cNvSpPr>
              <a:spLocks/>
            </p:cNvSpPr>
            <p:nvPr/>
          </p:nvSpPr>
          <p:spPr bwMode="auto">
            <a:xfrm>
              <a:off x="6574643" y="1317232"/>
              <a:ext cx="56678" cy="31463"/>
            </a:xfrm>
            <a:custGeom>
              <a:avLst/>
              <a:gdLst>
                <a:gd name="T0" fmla="*/ 0 w 133"/>
                <a:gd name="T1" fmla="*/ 0 h 77"/>
                <a:gd name="T2" fmla="*/ 0 w 133"/>
                <a:gd name="T3" fmla="*/ 0 h 77"/>
                <a:gd name="T4" fmla="*/ 0 w 133"/>
                <a:gd name="T5" fmla="*/ 0 h 77"/>
                <a:gd name="T6" fmla="*/ 0 w 133"/>
                <a:gd name="T7" fmla="*/ 0 h 77"/>
                <a:gd name="T8" fmla="*/ 0 w 133"/>
                <a:gd name="T9" fmla="*/ 0 h 77"/>
                <a:gd name="T10" fmla="*/ 0 w 133"/>
                <a:gd name="T11" fmla="*/ 0 h 77"/>
                <a:gd name="T12" fmla="*/ 0 w 133"/>
                <a:gd name="T13" fmla="*/ 0 h 77"/>
                <a:gd name="T14" fmla="*/ 0 w 133"/>
                <a:gd name="T15" fmla="*/ 0 h 77"/>
                <a:gd name="T16" fmla="*/ 0 w 133"/>
                <a:gd name="T17" fmla="*/ 0 h 77"/>
                <a:gd name="T18" fmla="*/ 0 w 133"/>
                <a:gd name="T19" fmla="*/ 0 h 77"/>
                <a:gd name="T20" fmla="*/ 0 w 133"/>
                <a:gd name="T21" fmla="*/ 0 h 77"/>
                <a:gd name="T22" fmla="*/ 0 w 133"/>
                <a:gd name="T23" fmla="*/ 0 h 77"/>
                <a:gd name="T24" fmla="*/ 0 w 133"/>
                <a:gd name="T25" fmla="*/ 0 h 77"/>
                <a:gd name="T26" fmla="*/ 0 w 133"/>
                <a:gd name="T27" fmla="*/ 0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3"/>
                <a:gd name="T43" fmla="*/ 0 h 77"/>
                <a:gd name="T44" fmla="*/ 133 w 133"/>
                <a:gd name="T45" fmla="*/ 77 h 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3" h="77">
                  <a:moveTo>
                    <a:pt x="0" y="37"/>
                  </a:moveTo>
                  <a:lnTo>
                    <a:pt x="14" y="37"/>
                  </a:lnTo>
                  <a:lnTo>
                    <a:pt x="17" y="29"/>
                  </a:lnTo>
                  <a:lnTo>
                    <a:pt x="37" y="33"/>
                  </a:lnTo>
                  <a:lnTo>
                    <a:pt x="50" y="24"/>
                  </a:lnTo>
                  <a:lnTo>
                    <a:pt x="57" y="10"/>
                  </a:lnTo>
                  <a:lnTo>
                    <a:pt x="99" y="0"/>
                  </a:lnTo>
                  <a:lnTo>
                    <a:pt x="127" y="4"/>
                  </a:lnTo>
                  <a:lnTo>
                    <a:pt x="119" y="17"/>
                  </a:lnTo>
                  <a:lnTo>
                    <a:pt x="131" y="30"/>
                  </a:lnTo>
                  <a:lnTo>
                    <a:pt x="133" y="52"/>
                  </a:lnTo>
                  <a:lnTo>
                    <a:pt x="19" y="77"/>
                  </a:lnTo>
                  <a:lnTo>
                    <a:pt x="5" y="55"/>
                  </a:lnTo>
                  <a:lnTo>
                    <a:pt x="0" y="37"/>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5" name="Freeform 82"/>
            <p:cNvSpPr>
              <a:spLocks/>
            </p:cNvSpPr>
            <p:nvPr/>
          </p:nvSpPr>
          <p:spPr bwMode="auto">
            <a:xfrm>
              <a:off x="6221983" y="1665422"/>
              <a:ext cx="18893" cy="20975"/>
            </a:xfrm>
            <a:custGeom>
              <a:avLst/>
              <a:gdLst>
                <a:gd name="T0" fmla="*/ 0 w 49"/>
                <a:gd name="T1" fmla="*/ 0 h 57"/>
                <a:gd name="T2" fmla="*/ 0 w 49"/>
                <a:gd name="T3" fmla="*/ 0 h 57"/>
                <a:gd name="T4" fmla="*/ 0 w 49"/>
                <a:gd name="T5" fmla="*/ 0 h 57"/>
                <a:gd name="T6" fmla="*/ 0 w 49"/>
                <a:gd name="T7" fmla="*/ 0 h 57"/>
                <a:gd name="T8" fmla="*/ 0 w 49"/>
                <a:gd name="T9" fmla="*/ 0 h 57"/>
                <a:gd name="T10" fmla="*/ 0 w 49"/>
                <a:gd name="T11" fmla="*/ 0 h 57"/>
                <a:gd name="T12" fmla="*/ 0 w 49"/>
                <a:gd name="T13" fmla="*/ 0 h 57"/>
                <a:gd name="T14" fmla="*/ 0 60000 65536"/>
                <a:gd name="T15" fmla="*/ 0 60000 65536"/>
                <a:gd name="T16" fmla="*/ 0 60000 65536"/>
                <a:gd name="T17" fmla="*/ 0 60000 65536"/>
                <a:gd name="T18" fmla="*/ 0 60000 65536"/>
                <a:gd name="T19" fmla="*/ 0 60000 65536"/>
                <a:gd name="T20" fmla="*/ 0 60000 65536"/>
                <a:gd name="T21" fmla="*/ 0 w 49"/>
                <a:gd name="T22" fmla="*/ 0 h 57"/>
                <a:gd name="T23" fmla="*/ 49 w 49"/>
                <a:gd name="T24" fmla="*/ 57 h 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57">
                  <a:moveTo>
                    <a:pt x="44" y="7"/>
                  </a:moveTo>
                  <a:lnTo>
                    <a:pt x="49" y="0"/>
                  </a:lnTo>
                  <a:lnTo>
                    <a:pt x="9" y="28"/>
                  </a:lnTo>
                  <a:lnTo>
                    <a:pt x="0" y="50"/>
                  </a:lnTo>
                  <a:lnTo>
                    <a:pt x="0" y="57"/>
                  </a:lnTo>
                  <a:lnTo>
                    <a:pt x="25" y="53"/>
                  </a:lnTo>
                  <a:lnTo>
                    <a:pt x="44" y="7"/>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6" name="Freeform 83"/>
            <p:cNvSpPr>
              <a:spLocks/>
            </p:cNvSpPr>
            <p:nvPr/>
          </p:nvSpPr>
          <p:spPr bwMode="auto">
            <a:xfrm>
              <a:off x="6221983" y="1665422"/>
              <a:ext cx="18893" cy="20975"/>
            </a:xfrm>
            <a:custGeom>
              <a:avLst/>
              <a:gdLst>
                <a:gd name="T0" fmla="*/ 0 w 49"/>
                <a:gd name="T1" fmla="*/ 0 h 57"/>
                <a:gd name="T2" fmla="*/ 0 w 49"/>
                <a:gd name="T3" fmla="*/ 0 h 57"/>
                <a:gd name="T4" fmla="*/ 0 w 49"/>
                <a:gd name="T5" fmla="*/ 0 h 57"/>
                <a:gd name="T6" fmla="*/ 0 w 49"/>
                <a:gd name="T7" fmla="*/ 0 h 57"/>
                <a:gd name="T8" fmla="*/ 0 w 49"/>
                <a:gd name="T9" fmla="*/ 0 h 57"/>
                <a:gd name="T10" fmla="*/ 0 w 49"/>
                <a:gd name="T11" fmla="*/ 0 h 57"/>
                <a:gd name="T12" fmla="*/ 0 w 49"/>
                <a:gd name="T13" fmla="*/ 0 h 57"/>
                <a:gd name="T14" fmla="*/ 0 60000 65536"/>
                <a:gd name="T15" fmla="*/ 0 60000 65536"/>
                <a:gd name="T16" fmla="*/ 0 60000 65536"/>
                <a:gd name="T17" fmla="*/ 0 60000 65536"/>
                <a:gd name="T18" fmla="*/ 0 60000 65536"/>
                <a:gd name="T19" fmla="*/ 0 60000 65536"/>
                <a:gd name="T20" fmla="*/ 0 60000 65536"/>
                <a:gd name="T21" fmla="*/ 0 w 49"/>
                <a:gd name="T22" fmla="*/ 0 h 57"/>
                <a:gd name="T23" fmla="*/ 49 w 49"/>
                <a:gd name="T24" fmla="*/ 57 h 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57">
                  <a:moveTo>
                    <a:pt x="44" y="7"/>
                  </a:moveTo>
                  <a:lnTo>
                    <a:pt x="49" y="0"/>
                  </a:lnTo>
                  <a:lnTo>
                    <a:pt x="9" y="28"/>
                  </a:lnTo>
                  <a:lnTo>
                    <a:pt x="0" y="50"/>
                  </a:lnTo>
                  <a:lnTo>
                    <a:pt x="0" y="57"/>
                  </a:lnTo>
                  <a:lnTo>
                    <a:pt x="25" y="53"/>
                  </a:lnTo>
                  <a:lnTo>
                    <a:pt x="44" y="7"/>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7" name="Freeform 84"/>
            <p:cNvSpPr>
              <a:spLocks/>
            </p:cNvSpPr>
            <p:nvPr/>
          </p:nvSpPr>
          <p:spPr bwMode="auto">
            <a:xfrm>
              <a:off x="6343735" y="1485034"/>
              <a:ext cx="18893" cy="23073"/>
            </a:xfrm>
            <a:custGeom>
              <a:avLst/>
              <a:gdLst>
                <a:gd name="T0" fmla="*/ 0 w 44"/>
                <a:gd name="T1" fmla="*/ 0 h 62"/>
                <a:gd name="T2" fmla="*/ 0 w 44"/>
                <a:gd name="T3" fmla="*/ 0 h 62"/>
                <a:gd name="T4" fmla="*/ 0 w 44"/>
                <a:gd name="T5" fmla="*/ 0 h 62"/>
                <a:gd name="T6" fmla="*/ 0 w 44"/>
                <a:gd name="T7" fmla="*/ 0 h 62"/>
                <a:gd name="T8" fmla="*/ 0 w 44"/>
                <a:gd name="T9" fmla="*/ 0 h 62"/>
                <a:gd name="T10" fmla="*/ 0 w 44"/>
                <a:gd name="T11" fmla="*/ 0 h 62"/>
                <a:gd name="T12" fmla="*/ 0 w 44"/>
                <a:gd name="T13" fmla="*/ 0 h 62"/>
                <a:gd name="T14" fmla="*/ 0 60000 65536"/>
                <a:gd name="T15" fmla="*/ 0 60000 65536"/>
                <a:gd name="T16" fmla="*/ 0 60000 65536"/>
                <a:gd name="T17" fmla="*/ 0 60000 65536"/>
                <a:gd name="T18" fmla="*/ 0 60000 65536"/>
                <a:gd name="T19" fmla="*/ 0 60000 65536"/>
                <a:gd name="T20" fmla="*/ 0 60000 65536"/>
                <a:gd name="T21" fmla="*/ 0 w 44"/>
                <a:gd name="T22" fmla="*/ 0 h 62"/>
                <a:gd name="T23" fmla="*/ 44 w 44"/>
                <a:gd name="T24" fmla="*/ 62 h 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62">
                  <a:moveTo>
                    <a:pt x="12" y="62"/>
                  </a:moveTo>
                  <a:lnTo>
                    <a:pt x="44" y="23"/>
                  </a:lnTo>
                  <a:lnTo>
                    <a:pt x="40" y="9"/>
                  </a:lnTo>
                  <a:lnTo>
                    <a:pt x="19" y="0"/>
                  </a:lnTo>
                  <a:lnTo>
                    <a:pt x="9" y="9"/>
                  </a:lnTo>
                  <a:lnTo>
                    <a:pt x="0" y="60"/>
                  </a:lnTo>
                  <a:lnTo>
                    <a:pt x="12" y="6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8" name="Freeform 85"/>
            <p:cNvSpPr>
              <a:spLocks/>
            </p:cNvSpPr>
            <p:nvPr/>
          </p:nvSpPr>
          <p:spPr bwMode="auto">
            <a:xfrm>
              <a:off x="6343735" y="1485034"/>
              <a:ext cx="18893" cy="23073"/>
            </a:xfrm>
            <a:custGeom>
              <a:avLst/>
              <a:gdLst>
                <a:gd name="T0" fmla="*/ 0 w 44"/>
                <a:gd name="T1" fmla="*/ 0 h 62"/>
                <a:gd name="T2" fmla="*/ 0 w 44"/>
                <a:gd name="T3" fmla="*/ 0 h 62"/>
                <a:gd name="T4" fmla="*/ 0 w 44"/>
                <a:gd name="T5" fmla="*/ 0 h 62"/>
                <a:gd name="T6" fmla="*/ 0 w 44"/>
                <a:gd name="T7" fmla="*/ 0 h 62"/>
                <a:gd name="T8" fmla="*/ 0 w 44"/>
                <a:gd name="T9" fmla="*/ 0 h 62"/>
                <a:gd name="T10" fmla="*/ 0 w 44"/>
                <a:gd name="T11" fmla="*/ 0 h 62"/>
                <a:gd name="T12" fmla="*/ 0 w 44"/>
                <a:gd name="T13" fmla="*/ 0 h 62"/>
                <a:gd name="T14" fmla="*/ 0 60000 65536"/>
                <a:gd name="T15" fmla="*/ 0 60000 65536"/>
                <a:gd name="T16" fmla="*/ 0 60000 65536"/>
                <a:gd name="T17" fmla="*/ 0 60000 65536"/>
                <a:gd name="T18" fmla="*/ 0 60000 65536"/>
                <a:gd name="T19" fmla="*/ 0 60000 65536"/>
                <a:gd name="T20" fmla="*/ 0 60000 65536"/>
                <a:gd name="T21" fmla="*/ 0 w 44"/>
                <a:gd name="T22" fmla="*/ 0 h 62"/>
                <a:gd name="T23" fmla="*/ 44 w 44"/>
                <a:gd name="T24" fmla="*/ 62 h 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62">
                  <a:moveTo>
                    <a:pt x="12" y="62"/>
                  </a:moveTo>
                  <a:lnTo>
                    <a:pt x="44" y="23"/>
                  </a:lnTo>
                  <a:lnTo>
                    <a:pt x="40" y="9"/>
                  </a:lnTo>
                  <a:lnTo>
                    <a:pt x="19" y="0"/>
                  </a:lnTo>
                  <a:lnTo>
                    <a:pt x="9" y="9"/>
                  </a:lnTo>
                  <a:lnTo>
                    <a:pt x="0" y="60"/>
                  </a:lnTo>
                  <a:lnTo>
                    <a:pt x="12" y="62"/>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29" name="Freeform 86"/>
            <p:cNvSpPr>
              <a:spLocks/>
            </p:cNvSpPr>
            <p:nvPr/>
          </p:nvSpPr>
          <p:spPr bwMode="auto">
            <a:xfrm>
              <a:off x="6266066" y="1550058"/>
              <a:ext cx="14694" cy="18878"/>
            </a:xfrm>
            <a:custGeom>
              <a:avLst/>
              <a:gdLst>
                <a:gd name="T0" fmla="*/ 0 w 35"/>
                <a:gd name="T1" fmla="*/ 0 h 47"/>
                <a:gd name="T2" fmla="*/ 0 w 35"/>
                <a:gd name="T3" fmla="*/ 0 h 47"/>
                <a:gd name="T4" fmla="*/ 0 w 35"/>
                <a:gd name="T5" fmla="*/ 0 h 47"/>
                <a:gd name="T6" fmla="*/ 0 w 35"/>
                <a:gd name="T7" fmla="*/ 0 h 47"/>
                <a:gd name="T8" fmla="*/ 0 w 35"/>
                <a:gd name="T9" fmla="*/ 0 h 47"/>
                <a:gd name="T10" fmla="*/ 0 w 35"/>
                <a:gd name="T11" fmla="*/ 0 h 47"/>
                <a:gd name="T12" fmla="*/ 0 60000 65536"/>
                <a:gd name="T13" fmla="*/ 0 60000 65536"/>
                <a:gd name="T14" fmla="*/ 0 60000 65536"/>
                <a:gd name="T15" fmla="*/ 0 60000 65536"/>
                <a:gd name="T16" fmla="*/ 0 60000 65536"/>
                <a:gd name="T17" fmla="*/ 0 60000 65536"/>
                <a:gd name="T18" fmla="*/ 0 w 35"/>
                <a:gd name="T19" fmla="*/ 0 h 47"/>
                <a:gd name="T20" fmla="*/ 35 w 3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5" h="47">
                  <a:moveTo>
                    <a:pt x="0" y="47"/>
                  </a:moveTo>
                  <a:lnTo>
                    <a:pt x="10" y="33"/>
                  </a:lnTo>
                  <a:lnTo>
                    <a:pt x="30" y="27"/>
                  </a:lnTo>
                  <a:lnTo>
                    <a:pt x="35" y="18"/>
                  </a:lnTo>
                  <a:lnTo>
                    <a:pt x="12" y="0"/>
                  </a:lnTo>
                  <a:lnTo>
                    <a:pt x="0" y="47"/>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0" name="Freeform 87"/>
            <p:cNvSpPr>
              <a:spLocks/>
            </p:cNvSpPr>
            <p:nvPr/>
          </p:nvSpPr>
          <p:spPr bwMode="auto">
            <a:xfrm>
              <a:off x="6266066" y="1550058"/>
              <a:ext cx="14694" cy="18878"/>
            </a:xfrm>
            <a:custGeom>
              <a:avLst/>
              <a:gdLst>
                <a:gd name="T0" fmla="*/ 0 w 35"/>
                <a:gd name="T1" fmla="*/ 0 h 47"/>
                <a:gd name="T2" fmla="*/ 0 w 35"/>
                <a:gd name="T3" fmla="*/ 0 h 47"/>
                <a:gd name="T4" fmla="*/ 0 w 35"/>
                <a:gd name="T5" fmla="*/ 0 h 47"/>
                <a:gd name="T6" fmla="*/ 0 w 35"/>
                <a:gd name="T7" fmla="*/ 0 h 47"/>
                <a:gd name="T8" fmla="*/ 0 w 35"/>
                <a:gd name="T9" fmla="*/ 0 h 47"/>
                <a:gd name="T10" fmla="*/ 0 w 35"/>
                <a:gd name="T11" fmla="*/ 0 h 47"/>
                <a:gd name="T12" fmla="*/ 0 60000 65536"/>
                <a:gd name="T13" fmla="*/ 0 60000 65536"/>
                <a:gd name="T14" fmla="*/ 0 60000 65536"/>
                <a:gd name="T15" fmla="*/ 0 60000 65536"/>
                <a:gd name="T16" fmla="*/ 0 60000 65536"/>
                <a:gd name="T17" fmla="*/ 0 60000 65536"/>
                <a:gd name="T18" fmla="*/ 0 w 35"/>
                <a:gd name="T19" fmla="*/ 0 h 47"/>
                <a:gd name="T20" fmla="*/ 35 w 3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5" h="47">
                  <a:moveTo>
                    <a:pt x="0" y="47"/>
                  </a:moveTo>
                  <a:lnTo>
                    <a:pt x="10" y="33"/>
                  </a:lnTo>
                  <a:lnTo>
                    <a:pt x="30" y="27"/>
                  </a:lnTo>
                  <a:lnTo>
                    <a:pt x="35" y="18"/>
                  </a:lnTo>
                  <a:lnTo>
                    <a:pt x="12" y="0"/>
                  </a:lnTo>
                  <a:lnTo>
                    <a:pt x="0" y="47"/>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1" name="Freeform 88"/>
            <p:cNvSpPr>
              <a:spLocks/>
            </p:cNvSpPr>
            <p:nvPr/>
          </p:nvSpPr>
          <p:spPr bwMode="auto">
            <a:xfrm>
              <a:off x="6219884" y="1860492"/>
              <a:ext cx="16793" cy="33560"/>
            </a:xfrm>
            <a:custGeom>
              <a:avLst/>
              <a:gdLst>
                <a:gd name="T0" fmla="*/ 0 w 40"/>
                <a:gd name="T1" fmla="*/ 0 h 85"/>
                <a:gd name="T2" fmla="*/ 0 w 40"/>
                <a:gd name="T3" fmla="*/ 0 h 85"/>
                <a:gd name="T4" fmla="*/ 0 w 40"/>
                <a:gd name="T5" fmla="*/ 0 h 85"/>
                <a:gd name="T6" fmla="*/ 0 w 40"/>
                <a:gd name="T7" fmla="*/ 0 h 85"/>
                <a:gd name="T8" fmla="*/ 0 w 40"/>
                <a:gd name="T9" fmla="*/ 0 h 85"/>
                <a:gd name="T10" fmla="*/ 0 w 40"/>
                <a:gd name="T11" fmla="*/ 0 h 85"/>
                <a:gd name="T12" fmla="*/ 0 60000 65536"/>
                <a:gd name="T13" fmla="*/ 0 60000 65536"/>
                <a:gd name="T14" fmla="*/ 0 60000 65536"/>
                <a:gd name="T15" fmla="*/ 0 60000 65536"/>
                <a:gd name="T16" fmla="*/ 0 60000 65536"/>
                <a:gd name="T17" fmla="*/ 0 60000 65536"/>
                <a:gd name="T18" fmla="*/ 0 w 40"/>
                <a:gd name="T19" fmla="*/ 0 h 85"/>
                <a:gd name="T20" fmla="*/ 40 w 40"/>
                <a:gd name="T21" fmla="*/ 85 h 85"/>
              </a:gdLst>
              <a:ahLst/>
              <a:cxnLst>
                <a:cxn ang="T12">
                  <a:pos x="T0" y="T1"/>
                </a:cxn>
                <a:cxn ang="T13">
                  <a:pos x="T2" y="T3"/>
                </a:cxn>
                <a:cxn ang="T14">
                  <a:pos x="T4" y="T5"/>
                </a:cxn>
                <a:cxn ang="T15">
                  <a:pos x="T6" y="T7"/>
                </a:cxn>
                <a:cxn ang="T16">
                  <a:pos x="T8" y="T9"/>
                </a:cxn>
                <a:cxn ang="T17">
                  <a:pos x="T10" y="T11"/>
                </a:cxn>
              </a:cxnLst>
              <a:rect l="T18" t="T19" r="T20" b="T21"/>
              <a:pathLst>
                <a:path w="40" h="85">
                  <a:moveTo>
                    <a:pt x="25" y="85"/>
                  </a:moveTo>
                  <a:lnTo>
                    <a:pt x="40" y="27"/>
                  </a:lnTo>
                  <a:lnTo>
                    <a:pt x="28" y="0"/>
                  </a:lnTo>
                  <a:lnTo>
                    <a:pt x="15" y="0"/>
                  </a:lnTo>
                  <a:lnTo>
                    <a:pt x="0" y="57"/>
                  </a:lnTo>
                  <a:lnTo>
                    <a:pt x="25" y="85"/>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2" name="Freeform 89"/>
            <p:cNvSpPr>
              <a:spLocks/>
            </p:cNvSpPr>
            <p:nvPr/>
          </p:nvSpPr>
          <p:spPr bwMode="auto">
            <a:xfrm>
              <a:off x="6219884" y="1860492"/>
              <a:ext cx="16793" cy="33560"/>
            </a:xfrm>
            <a:custGeom>
              <a:avLst/>
              <a:gdLst>
                <a:gd name="T0" fmla="*/ 0 w 40"/>
                <a:gd name="T1" fmla="*/ 0 h 85"/>
                <a:gd name="T2" fmla="*/ 0 w 40"/>
                <a:gd name="T3" fmla="*/ 0 h 85"/>
                <a:gd name="T4" fmla="*/ 0 w 40"/>
                <a:gd name="T5" fmla="*/ 0 h 85"/>
                <a:gd name="T6" fmla="*/ 0 w 40"/>
                <a:gd name="T7" fmla="*/ 0 h 85"/>
                <a:gd name="T8" fmla="*/ 0 w 40"/>
                <a:gd name="T9" fmla="*/ 0 h 85"/>
                <a:gd name="T10" fmla="*/ 0 w 40"/>
                <a:gd name="T11" fmla="*/ 0 h 85"/>
                <a:gd name="T12" fmla="*/ 0 60000 65536"/>
                <a:gd name="T13" fmla="*/ 0 60000 65536"/>
                <a:gd name="T14" fmla="*/ 0 60000 65536"/>
                <a:gd name="T15" fmla="*/ 0 60000 65536"/>
                <a:gd name="T16" fmla="*/ 0 60000 65536"/>
                <a:gd name="T17" fmla="*/ 0 60000 65536"/>
                <a:gd name="T18" fmla="*/ 0 w 40"/>
                <a:gd name="T19" fmla="*/ 0 h 85"/>
                <a:gd name="T20" fmla="*/ 40 w 40"/>
                <a:gd name="T21" fmla="*/ 85 h 85"/>
              </a:gdLst>
              <a:ahLst/>
              <a:cxnLst>
                <a:cxn ang="T12">
                  <a:pos x="T0" y="T1"/>
                </a:cxn>
                <a:cxn ang="T13">
                  <a:pos x="T2" y="T3"/>
                </a:cxn>
                <a:cxn ang="T14">
                  <a:pos x="T4" y="T5"/>
                </a:cxn>
                <a:cxn ang="T15">
                  <a:pos x="T6" y="T7"/>
                </a:cxn>
                <a:cxn ang="T16">
                  <a:pos x="T8" y="T9"/>
                </a:cxn>
                <a:cxn ang="T17">
                  <a:pos x="T10" y="T11"/>
                </a:cxn>
              </a:cxnLst>
              <a:rect l="T18" t="T19" r="T20" b="T21"/>
              <a:pathLst>
                <a:path w="40" h="85">
                  <a:moveTo>
                    <a:pt x="25" y="85"/>
                  </a:moveTo>
                  <a:lnTo>
                    <a:pt x="40" y="27"/>
                  </a:lnTo>
                  <a:lnTo>
                    <a:pt x="28" y="0"/>
                  </a:lnTo>
                  <a:lnTo>
                    <a:pt x="15" y="0"/>
                  </a:lnTo>
                  <a:lnTo>
                    <a:pt x="0" y="57"/>
                  </a:lnTo>
                  <a:lnTo>
                    <a:pt x="25" y="85"/>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3" name="Freeform 90"/>
            <p:cNvSpPr>
              <a:spLocks/>
            </p:cNvSpPr>
            <p:nvPr/>
          </p:nvSpPr>
          <p:spPr bwMode="auto">
            <a:xfrm>
              <a:off x="6188396" y="1952783"/>
              <a:ext cx="12595" cy="31463"/>
            </a:xfrm>
            <a:custGeom>
              <a:avLst/>
              <a:gdLst>
                <a:gd name="T0" fmla="*/ 0 w 31"/>
                <a:gd name="T1" fmla="*/ 0 h 79"/>
                <a:gd name="T2" fmla="*/ 0 w 31"/>
                <a:gd name="T3" fmla="*/ 0 h 79"/>
                <a:gd name="T4" fmla="*/ 0 w 31"/>
                <a:gd name="T5" fmla="*/ 0 h 79"/>
                <a:gd name="T6" fmla="*/ 0 w 31"/>
                <a:gd name="T7" fmla="*/ 0 h 79"/>
                <a:gd name="T8" fmla="*/ 0 w 31"/>
                <a:gd name="T9" fmla="*/ 0 h 79"/>
                <a:gd name="T10" fmla="*/ 0 w 31"/>
                <a:gd name="T11" fmla="*/ 0 h 79"/>
                <a:gd name="T12" fmla="*/ 0 60000 65536"/>
                <a:gd name="T13" fmla="*/ 0 60000 65536"/>
                <a:gd name="T14" fmla="*/ 0 60000 65536"/>
                <a:gd name="T15" fmla="*/ 0 60000 65536"/>
                <a:gd name="T16" fmla="*/ 0 60000 65536"/>
                <a:gd name="T17" fmla="*/ 0 60000 65536"/>
                <a:gd name="T18" fmla="*/ 0 w 31"/>
                <a:gd name="T19" fmla="*/ 0 h 79"/>
                <a:gd name="T20" fmla="*/ 31 w 31"/>
                <a:gd name="T21" fmla="*/ 79 h 79"/>
              </a:gdLst>
              <a:ahLst/>
              <a:cxnLst>
                <a:cxn ang="T12">
                  <a:pos x="T0" y="T1"/>
                </a:cxn>
                <a:cxn ang="T13">
                  <a:pos x="T2" y="T3"/>
                </a:cxn>
                <a:cxn ang="T14">
                  <a:pos x="T4" y="T5"/>
                </a:cxn>
                <a:cxn ang="T15">
                  <a:pos x="T6" y="T7"/>
                </a:cxn>
                <a:cxn ang="T16">
                  <a:pos x="T8" y="T9"/>
                </a:cxn>
                <a:cxn ang="T17">
                  <a:pos x="T10" y="T11"/>
                </a:cxn>
              </a:cxnLst>
              <a:rect l="T18" t="T19" r="T20" b="T21"/>
              <a:pathLst>
                <a:path w="31" h="79">
                  <a:moveTo>
                    <a:pt x="20" y="79"/>
                  </a:moveTo>
                  <a:lnTo>
                    <a:pt x="31" y="13"/>
                  </a:lnTo>
                  <a:lnTo>
                    <a:pt x="28" y="0"/>
                  </a:lnTo>
                  <a:lnTo>
                    <a:pt x="16" y="9"/>
                  </a:lnTo>
                  <a:lnTo>
                    <a:pt x="0" y="72"/>
                  </a:lnTo>
                  <a:lnTo>
                    <a:pt x="20" y="79"/>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4" name="Freeform 91"/>
            <p:cNvSpPr>
              <a:spLocks/>
            </p:cNvSpPr>
            <p:nvPr/>
          </p:nvSpPr>
          <p:spPr bwMode="auto">
            <a:xfrm>
              <a:off x="6188396" y="1952783"/>
              <a:ext cx="12595" cy="31463"/>
            </a:xfrm>
            <a:custGeom>
              <a:avLst/>
              <a:gdLst>
                <a:gd name="T0" fmla="*/ 0 w 31"/>
                <a:gd name="T1" fmla="*/ 0 h 79"/>
                <a:gd name="T2" fmla="*/ 0 w 31"/>
                <a:gd name="T3" fmla="*/ 0 h 79"/>
                <a:gd name="T4" fmla="*/ 0 w 31"/>
                <a:gd name="T5" fmla="*/ 0 h 79"/>
                <a:gd name="T6" fmla="*/ 0 w 31"/>
                <a:gd name="T7" fmla="*/ 0 h 79"/>
                <a:gd name="T8" fmla="*/ 0 w 31"/>
                <a:gd name="T9" fmla="*/ 0 h 79"/>
                <a:gd name="T10" fmla="*/ 0 w 31"/>
                <a:gd name="T11" fmla="*/ 0 h 79"/>
                <a:gd name="T12" fmla="*/ 0 60000 65536"/>
                <a:gd name="T13" fmla="*/ 0 60000 65536"/>
                <a:gd name="T14" fmla="*/ 0 60000 65536"/>
                <a:gd name="T15" fmla="*/ 0 60000 65536"/>
                <a:gd name="T16" fmla="*/ 0 60000 65536"/>
                <a:gd name="T17" fmla="*/ 0 60000 65536"/>
                <a:gd name="T18" fmla="*/ 0 w 31"/>
                <a:gd name="T19" fmla="*/ 0 h 79"/>
                <a:gd name="T20" fmla="*/ 31 w 31"/>
                <a:gd name="T21" fmla="*/ 79 h 79"/>
              </a:gdLst>
              <a:ahLst/>
              <a:cxnLst>
                <a:cxn ang="T12">
                  <a:pos x="T0" y="T1"/>
                </a:cxn>
                <a:cxn ang="T13">
                  <a:pos x="T2" y="T3"/>
                </a:cxn>
                <a:cxn ang="T14">
                  <a:pos x="T4" y="T5"/>
                </a:cxn>
                <a:cxn ang="T15">
                  <a:pos x="T6" y="T7"/>
                </a:cxn>
                <a:cxn ang="T16">
                  <a:pos x="T8" y="T9"/>
                </a:cxn>
                <a:cxn ang="T17">
                  <a:pos x="T10" y="T11"/>
                </a:cxn>
              </a:cxnLst>
              <a:rect l="T18" t="T19" r="T20" b="T21"/>
              <a:pathLst>
                <a:path w="31" h="79">
                  <a:moveTo>
                    <a:pt x="20" y="79"/>
                  </a:moveTo>
                  <a:lnTo>
                    <a:pt x="31" y="13"/>
                  </a:lnTo>
                  <a:lnTo>
                    <a:pt x="28" y="0"/>
                  </a:lnTo>
                  <a:lnTo>
                    <a:pt x="16" y="9"/>
                  </a:lnTo>
                  <a:lnTo>
                    <a:pt x="0" y="72"/>
                  </a:lnTo>
                  <a:lnTo>
                    <a:pt x="20" y="79"/>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5" name="Freeform 92"/>
            <p:cNvSpPr>
              <a:spLocks/>
            </p:cNvSpPr>
            <p:nvPr/>
          </p:nvSpPr>
          <p:spPr bwMode="auto">
            <a:xfrm>
              <a:off x="5086334" y="5048736"/>
              <a:ext cx="41983" cy="37756"/>
            </a:xfrm>
            <a:custGeom>
              <a:avLst/>
              <a:gdLst>
                <a:gd name="T0" fmla="*/ 0 w 102"/>
                <a:gd name="T1" fmla="*/ 0 h 86"/>
                <a:gd name="T2" fmla="*/ 0 w 102"/>
                <a:gd name="T3" fmla="*/ 0 h 86"/>
                <a:gd name="T4" fmla="*/ 0 w 102"/>
                <a:gd name="T5" fmla="*/ 0 h 86"/>
                <a:gd name="T6" fmla="*/ 0 w 102"/>
                <a:gd name="T7" fmla="*/ 0 h 86"/>
                <a:gd name="T8" fmla="*/ 0 w 102"/>
                <a:gd name="T9" fmla="*/ 0 h 86"/>
                <a:gd name="T10" fmla="*/ 0 w 102"/>
                <a:gd name="T11" fmla="*/ 0 h 86"/>
                <a:gd name="T12" fmla="*/ 0 w 102"/>
                <a:gd name="T13" fmla="*/ 0 h 86"/>
                <a:gd name="T14" fmla="*/ 0 w 102"/>
                <a:gd name="T15" fmla="*/ 0 h 86"/>
                <a:gd name="T16" fmla="*/ 0 60000 65536"/>
                <a:gd name="T17" fmla="*/ 0 60000 65536"/>
                <a:gd name="T18" fmla="*/ 0 60000 65536"/>
                <a:gd name="T19" fmla="*/ 0 60000 65536"/>
                <a:gd name="T20" fmla="*/ 0 60000 65536"/>
                <a:gd name="T21" fmla="*/ 0 60000 65536"/>
                <a:gd name="T22" fmla="*/ 0 60000 65536"/>
                <a:gd name="T23" fmla="*/ 0 60000 65536"/>
                <a:gd name="T24" fmla="*/ 0 w 102"/>
                <a:gd name="T25" fmla="*/ 0 h 86"/>
                <a:gd name="T26" fmla="*/ 102 w 102"/>
                <a:gd name="T27" fmla="*/ 86 h 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2" h="86">
                  <a:moveTo>
                    <a:pt x="85" y="0"/>
                  </a:moveTo>
                  <a:lnTo>
                    <a:pt x="95" y="7"/>
                  </a:lnTo>
                  <a:lnTo>
                    <a:pt x="99" y="0"/>
                  </a:lnTo>
                  <a:lnTo>
                    <a:pt x="102" y="47"/>
                  </a:lnTo>
                  <a:lnTo>
                    <a:pt x="34" y="86"/>
                  </a:lnTo>
                  <a:lnTo>
                    <a:pt x="0" y="53"/>
                  </a:lnTo>
                  <a:lnTo>
                    <a:pt x="28" y="19"/>
                  </a:lnTo>
                  <a:lnTo>
                    <a:pt x="85"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6" name="Freeform 93"/>
            <p:cNvSpPr>
              <a:spLocks/>
            </p:cNvSpPr>
            <p:nvPr/>
          </p:nvSpPr>
          <p:spPr bwMode="auto">
            <a:xfrm>
              <a:off x="5086334" y="5048736"/>
              <a:ext cx="41983" cy="37756"/>
            </a:xfrm>
            <a:custGeom>
              <a:avLst/>
              <a:gdLst>
                <a:gd name="T0" fmla="*/ 0 w 102"/>
                <a:gd name="T1" fmla="*/ 0 h 86"/>
                <a:gd name="T2" fmla="*/ 0 w 102"/>
                <a:gd name="T3" fmla="*/ 0 h 86"/>
                <a:gd name="T4" fmla="*/ 0 w 102"/>
                <a:gd name="T5" fmla="*/ 0 h 86"/>
                <a:gd name="T6" fmla="*/ 0 w 102"/>
                <a:gd name="T7" fmla="*/ 0 h 86"/>
                <a:gd name="T8" fmla="*/ 0 w 102"/>
                <a:gd name="T9" fmla="*/ 0 h 86"/>
                <a:gd name="T10" fmla="*/ 0 w 102"/>
                <a:gd name="T11" fmla="*/ 0 h 86"/>
                <a:gd name="T12" fmla="*/ 0 w 102"/>
                <a:gd name="T13" fmla="*/ 0 h 86"/>
                <a:gd name="T14" fmla="*/ 0 w 102"/>
                <a:gd name="T15" fmla="*/ 0 h 86"/>
                <a:gd name="T16" fmla="*/ 0 60000 65536"/>
                <a:gd name="T17" fmla="*/ 0 60000 65536"/>
                <a:gd name="T18" fmla="*/ 0 60000 65536"/>
                <a:gd name="T19" fmla="*/ 0 60000 65536"/>
                <a:gd name="T20" fmla="*/ 0 60000 65536"/>
                <a:gd name="T21" fmla="*/ 0 60000 65536"/>
                <a:gd name="T22" fmla="*/ 0 60000 65536"/>
                <a:gd name="T23" fmla="*/ 0 60000 65536"/>
                <a:gd name="T24" fmla="*/ 0 w 102"/>
                <a:gd name="T25" fmla="*/ 0 h 86"/>
                <a:gd name="T26" fmla="*/ 102 w 102"/>
                <a:gd name="T27" fmla="*/ 86 h 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2" h="86">
                  <a:moveTo>
                    <a:pt x="85" y="0"/>
                  </a:moveTo>
                  <a:lnTo>
                    <a:pt x="95" y="7"/>
                  </a:lnTo>
                  <a:lnTo>
                    <a:pt x="99" y="0"/>
                  </a:lnTo>
                  <a:lnTo>
                    <a:pt x="102" y="47"/>
                  </a:lnTo>
                  <a:lnTo>
                    <a:pt x="34" y="86"/>
                  </a:lnTo>
                  <a:lnTo>
                    <a:pt x="0" y="53"/>
                  </a:lnTo>
                  <a:lnTo>
                    <a:pt x="28" y="19"/>
                  </a:lnTo>
                  <a:lnTo>
                    <a:pt x="85" y="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7" name="Freeform 94"/>
            <p:cNvSpPr>
              <a:spLocks/>
            </p:cNvSpPr>
            <p:nvPr/>
          </p:nvSpPr>
          <p:spPr bwMode="auto">
            <a:xfrm>
              <a:off x="5247970" y="4958542"/>
              <a:ext cx="123851" cy="106974"/>
            </a:xfrm>
            <a:custGeom>
              <a:avLst/>
              <a:gdLst>
                <a:gd name="T0" fmla="*/ 0 w 303"/>
                <a:gd name="T1" fmla="*/ 0 h 263"/>
                <a:gd name="T2" fmla="*/ 0 w 303"/>
                <a:gd name="T3" fmla="*/ 0 h 263"/>
                <a:gd name="T4" fmla="*/ 0 w 303"/>
                <a:gd name="T5" fmla="*/ 0 h 263"/>
                <a:gd name="T6" fmla="*/ 0 w 303"/>
                <a:gd name="T7" fmla="*/ 0 h 263"/>
                <a:gd name="T8" fmla="*/ 0 w 303"/>
                <a:gd name="T9" fmla="*/ 0 h 263"/>
                <a:gd name="T10" fmla="*/ 0 w 303"/>
                <a:gd name="T11" fmla="*/ 0 h 263"/>
                <a:gd name="T12" fmla="*/ 0 w 303"/>
                <a:gd name="T13" fmla="*/ 0 h 263"/>
                <a:gd name="T14" fmla="*/ 0 w 303"/>
                <a:gd name="T15" fmla="*/ 0 h 263"/>
                <a:gd name="T16" fmla="*/ 0 w 303"/>
                <a:gd name="T17" fmla="*/ 0 h 263"/>
                <a:gd name="T18" fmla="*/ 0 w 303"/>
                <a:gd name="T19" fmla="*/ 0 h 263"/>
                <a:gd name="T20" fmla="*/ 0 w 303"/>
                <a:gd name="T21" fmla="*/ 0 h 263"/>
                <a:gd name="T22" fmla="*/ 0 w 303"/>
                <a:gd name="T23" fmla="*/ 0 h 263"/>
                <a:gd name="T24" fmla="*/ 0 w 303"/>
                <a:gd name="T25" fmla="*/ 0 h 263"/>
                <a:gd name="T26" fmla="*/ 0 w 303"/>
                <a:gd name="T27" fmla="*/ 0 h 263"/>
                <a:gd name="T28" fmla="*/ 0 w 303"/>
                <a:gd name="T29" fmla="*/ 0 h 263"/>
                <a:gd name="T30" fmla="*/ 0 w 303"/>
                <a:gd name="T31" fmla="*/ 0 h 2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3"/>
                <a:gd name="T49" fmla="*/ 0 h 263"/>
                <a:gd name="T50" fmla="*/ 303 w 303"/>
                <a:gd name="T51" fmla="*/ 263 h 2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3" h="263">
                  <a:moveTo>
                    <a:pt x="263" y="11"/>
                  </a:moveTo>
                  <a:lnTo>
                    <a:pt x="240" y="58"/>
                  </a:lnTo>
                  <a:lnTo>
                    <a:pt x="239" y="80"/>
                  </a:lnTo>
                  <a:lnTo>
                    <a:pt x="285" y="91"/>
                  </a:lnTo>
                  <a:lnTo>
                    <a:pt x="303" y="139"/>
                  </a:lnTo>
                  <a:lnTo>
                    <a:pt x="261" y="213"/>
                  </a:lnTo>
                  <a:lnTo>
                    <a:pt x="188" y="263"/>
                  </a:lnTo>
                  <a:lnTo>
                    <a:pt x="113" y="193"/>
                  </a:lnTo>
                  <a:lnTo>
                    <a:pt x="102" y="145"/>
                  </a:lnTo>
                  <a:lnTo>
                    <a:pt x="58" y="137"/>
                  </a:lnTo>
                  <a:lnTo>
                    <a:pt x="24" y="147"/>
                  </a:lnTo>
                  <a:lnTo>
                    <a:pt x="0" y="101"/>
                  </a:lnTo>
                  <a:lnTo>
                    <a:pt x="66" y="50"/>
                  </a:lnTo>
                  <a:lnTo>
                    <a:pt x="262" y="0"/>
                  </a:lnTo>
                  <a:lnTo>
                    <a:pt x="269" y="1"/>
                  </a:lnTo>
                  <a:lnTo>
                    <a:pt x="263" y="1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8" name="Freeform 95"/>
            <p:cNvSpPr>
              <a:spLocks/>
            </p:cNvSpPr>
            <p:nvPr/>
          </p:nvSpPr>
          <p:spPr bwMode="auto">
            <a:xfrm>
              <a:off x="5247970" y="4958542"/>
              <a:ext cx="123851" cy="106974"/>
            </a:xfrm>
            <a:custGeom>
              <a:avLst/>
              <a:gdLst>
                <a:gd name="T0" fmla="*/ 0 w 303"/>
                <a:gd name="T1" fmla="*/ 0 h 263"/>
                <a:gd name="T2" fmla="*/ 0 w 303"/>
                <a:gd name="T3" fmla="*/ 0 h 263"/>
                <a:gd name="T4" fmla="*/ 0 w 303"/>
                <a:gd name="T5" fmla="*/ 0 h 263"/>
                <a:gd name="T6" fmla="*/ 0 w 303"/>
                <a:gd name="T7" fmla="*/ 0 h 263"/>
                <a:gd name="T8" fmla="*/ 0 w 303"/>
                <a:gd name="T9" fmla="*/ 0 h 263"/>
                <a:gd name="T10" fmla="*/ 0 w 303"/>
                <a:gd name="T11" fmla="*/ 0 h 263"/>
                <a:gd name="T12" fmla="*/ 0 w 303"/>
                <a:gd name="T13" fmla="*/ 0 h 263"/>
                <a:gd name="T14" fmla="*/ 0 w 303"/>
                <a:gd name="T15" fmla="*/ 0 h 263"/>
                <a:gd name="T16" fmla="*/ 0 w 303"/>
                <a:gd name="T17" fmla="*/ 0 h 263"/>
                <a:gd name="T18" fmla="*/ 0 w 303"/>
                <a:gd name="T19" fmla="*/ 0 h 263"/>
                <a:gd name="T20" fmla="*/ 0 w 303"/>
                <a:gd name="T21" fmla="*/ 0 h 263"/>
                <a:gd name="T22" fmla="*/ 0 w 303"/>
                <a:gd name="T23" fmla="*/ 0 h 263"/>
                <a:gd name="T24" fmla="*/ 0 w 303"/>
                <a:gd name="T25" fmla="*/ 0 h 263"/>
                <a:gd name="T26" fmla="*/ 0 w 303"/>
                <a:gd name="T27" fmla="*/ 0 h 263"/>
                <a:gd name="T28" fmla="*/ 0 w 303"/>
                <a:gd name="T29" fmla="*/ 0 h 263"/>
                <a:gd name="T30" fmla="*/ 0 w 303"/>
                <a:gd name="T31" fmla="*/ 0 h 2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3"/>
                <a:gd name="T49" fmla="*/ 0 h 263"/>
                <a:gd name="T50" fmla="*/ 303 w 303"/>
                <a:gd name="T51" fmla="*/ 263 h 2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3" h="263">
                  <a:moveTo>
                    <a:pt x="263" y="11"/>
                  </a:moveTo>
                  <a:lnTo>
                    <a:pt x="240" y="58"/>
                  </a:lnTo>
                  <a:lnTo>
                    <a:pt x="239" y="80"/>
                  </a:lnTo>
                  <a:lnTo>
                    <a:pt x="285" y="91"/>
                  </a:lnTo>
                  <a:lnTo>
                    <a:pt x="303" y="139"/>
                  </a:lnTo>
                  <a:lnTo>
                    <a:pt x="261" y="213"/>
                  </a:lnTo>
                  <a:lnTo>
                    <a:pt x="188" y="263"/>
                  </a:lnTo>
                  <a:lnTo>
                    <a:pt x="113" y="193"/>
                  </a:lnTo>
                  <a:lnTo>
                    <a:pt x="102" y="145"/>
                  </a:lnTo>
                  <a:lnTo>
                    <a:pt x="58" y="137"/>
                  </a:lnTo>
                  <a:lnTo>
                    <a:pt x="24" y="147"/>
                  </a:lnTo>
                  <a:lnTo>
                    <a:pt x="0" y="101"/>
                  </a:lnTo>
                  <a:lnTo>
                    <a:pt x="66" y="50"/>
                  </a:lnTo>
                  <a:lnTo>
                    <a:pt x="262" y="0"/>
                  </a:lnTo>
                  <a:lnTo>
                    <a:pt x="269" y="1"/>
                  </a:lnTo>
                  <a:lnTo>
                    <a:pt x="263" y="1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39" name="Freeform 96"/>
            <p:cNvSpPr>
              <a:spLocks/>
            </p:cNvSpPr>
            <p:nvPr/>
          </p:nvSpPr>
          <p:spPr bwMode="auto">
            <a:xfrm>
              <a:off x="5436895" y="4966933"/>
              <a:ext cx="46182" cy="39853"/>
            </a:xfrm>
            <a:custGeom>
              <a:avLst/>
              <a:gdLst>
                <a:gd name="T0" fmla="*/ 0 w 112"/>
                <a:gd name="T1" fmla="*/ 0 h 102"/>
                <a:gd name="T2" fmla="*/ 0 w 112"/>
                <a:gd name="T3" fmla="*/ 0 h 102"/>
                <a:gd name="T4" fmla="*/ 0 w 112"/>
                <a:gd name="T5" fmla="*/ 0 h 102"/>
                <a:gd name="T6" fmla="*/ 0 w 112"/>
                <a:gd name="T7" fmla="*/ 0 h 102"/>
                <a:gd name="T8" fmla="*/ 0 w 112"/>
                <a:gd name="T9" fmla="*/ 0 h 102"/>
                <a:gd name="T10" fmla="*/ 0 w 112"/>
                <a:gd name="T11" fmla="*/ 0 h 102"/>
                <a:gd name="T12" fmla="*/ 0 w 112"/>
                <a:gd name="T13" fmla="*/ 0 h 102"/>
                <a:gd name="T14" fmla="*/ 0 w 112"/>
                <a:gd name="T15" fmla="*/ 0 h 102"/>
                <a:gd name="T16" fmla="*/ 0 w 112"/>
                <a:gd name="T17" fmla="*/ 0 h 102"/>
                <a:gd name="T18" fmla="*/ 0 w 112"/>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2"/>
                <a:gd name="T31" fmla="*/ 0 h 102"/>
                <a:gd name="T32" fmla="*/ 112 w 112"/>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2" h="102">
                  <a:moveTo>
                    <a:pt x="107" y="33"/>
                  </a:moveTo>
                  <a:lnTo>
                    <a:pt x="112" y="34"/>
                  </a:lnTo>
                  <a:lnTo>
                    <a:pt x="107" y="102"/>
                  </a:lnTo>
                  <a:lnTo>
                    <a:pt x="78" y="96"/>
                  </a:lnTo>
                  <a:lnTo>
                    <a:pt x="31" y="66"/>
                  </a:lnTo>
                  <a:lnTo>
                    <a:pt x="0" y="18"/>
                  </a:lnTo>
                  <a:lnTo>
                    <a:pt x="27" y="0"/>
                  </a:lnTo>
                  <a:lnTo>
                    <a:pt x="76" y="6"/>
                  </a:lnTo>
                  <a:lnTo>
                    <a:pt x="96" y="16"/>
                  </a:lnTo>
                  <a:lnTo>
                    <a:pt x="107" y="3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0" name="Freeform 97"/>
            <p:cNvSpPr>
              <a:spLocks/>
            </p:cNvSpPr>
            <p:nvPr/>
          </p:nvSpPr>
          <p:spPr bwMode="auto">
            <a:xfrm>
              <a:off x="5436895" y="4966933"/>
              <a:ext cx="46182" cy="39853"/>
            </a:xfrm>
            <a:custGeom>
              <a:avLst/>
              <a:gdLst>
                <a:gd name="T0" fmla="*/ 0 w 112"/>
                <a:gd name="T1" fmla="*/ 0 h 102"/>
                <a:gd name="T2" fmla="*/ 0 w 112"/>
                <a:gd name="T3" fmla="*/ 0 h 102"/>
                <a:gd name="T4" fmla="*/ 0 w 112"/>
                <a:gd name="T5" fmla="*/ 0 h 102"/>
                <a:gd name="T6" fmla="*/ 0 w 112"/>
                <a:gd name="T7" fmla="*/ 0 h 102"/>
                <a:gd name="T8" fmla="*/ 0 w 112"/>
                <a:gd name="T9" fmla="*/ 0 h 102"/>
                <a:gd name="T10" fmla="*/ 0 w 112"/>
                <a:gd name="T11" fmla="*/ 0 h 102"/>
                <a:gd name="T12" fmla="*/ 0 w 112"/>
                <a:gd name="T13" fmla="*/ 0 h 102"/>
                <a:gd name="T14" fmla="*/ 0 w 112"/>
                <a:gd name="T15" fmla="*/ 0 h 102"/>
                <a:gd name="T16" fmla="*/ 0 w 112"/>
                <a:gd name="T17" fmla="*/ 0 h 102"/>
                <a:gd name="T18" fmla="*/ 0 w 112"/>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2"/>
                <a:gd name="T31" fmla="*/ 0 h 102"/>
                <a:gd name="T32" fmla="*/ 112 w 112"/>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2" h="102">
                  <a:moveTo>
                    <a:pt x="107" y="33"/>
                  </a:moveTo>
                  <a:lnTo>
                    <a:pt x="112" y="34"/>
                  </a:lnTo>
                  <a:lnTo>
                    <a:pt x="107" y="102"/>
                  </a:lnTo>
                  <a:lnTo>
                    <a:pt x="78" y="96"/>
                  </a:lnTo>
                  <a:lnTo>
                    <a:pt x="31" y="66"/>
                  </a:lnTo>
                  <a:lnTo>
                    <a:pt x="0" y="18"/>
                  </a:lnTo>
                  <a:lnTo>
                    <a:pt x="27" y="0"/>
                  </a:lnTo>
                  <a:lnTo>
                    <a:pt x="76" y="6"/>
                  </a:lnTo>
                  <a:lnTo>
                    <a:pt x="96" y="16"/>
                  </a:lnTo>
                  <a:lnTo>
                    <a:pt x="107" y="33"/>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1" name="Freeform 100"/>
            <p:cNvSpPr>
              <a:spLocks/>
            </p:cNvSpPr>
            <p:nvPr/>
          </p:nvSpPr>
          <p:spPr bwMode="auto">
            <a:xfrm>
              <a:off x="6196793" y="171981"/>
              <a:ext cx="1828375" cy="2026213"/>
            </a:xfrm>
            <a:custGeom>
              <a:avLst/>
              <a:gdLst>
                <a:gd name="T0" fmla="*/ 0 w 4504"/>
                <a:gd name="T1" fmla="*/ 0 h 4993"/>
                <a:gd name="T2" fmla="*/ 0 w 4504"/>
                <a:gd name="T3" fmla="*/ 0 h 4993"/>
                <a:gd name="T4" fmla="*/ 0 w 4504"/>
                <a:gd name="T5" fmla="*/ 0 h 4993"/>
                <a:gd name="T6" fmla="*/ 0 w 4504"/>
                <a:gd name="T7" fmla="*/ 0 h 4993"/>
                <a:gd name="T8" fmla="*/ 0 w 4504"/>
                <a:gd name="T9" fmla="*/ 0 h 4993"/>
                <a:gd name="T10" fmla="*/ 0 w 4504"/>
                <a:gd name="T11" fmla="*/ 0 h 4993"/>
                <a:gd name="T12" fmla="*/ 0 w 4504"/>
                <a:gd name="T13" fmla="*/ 0 h 4993"/>
                <a:gd name="T14" fmla="*/ 0 w 4504"/>
                <a:gd name="T15" fmla="*/ 0 h 4993"/>
                <a:gd name="T16" fmla="*/ 0 w 4504"/>
                <a:gd name="T17" fmla="*/ 0 h 4993"/>
                <a:gd name="T18" fmla="*/ 0 w 4504"/>
                <a:gd name="T19" fmla="*/ 0 h 4993"/>
                <a:gd name="T20" fmla="*/ 0 w 4504"/>
                <a:gd name="T21" fmla="*/ 0 h 4993"/>
                <a:gd name="T22" fmla="*/ 0 w 4504"/>
                <a:gd name="T23" fmla="*/ 0 h 4993"/>
                <a:gd name="T24" fmla="*/ 0 w 4504"/>
                <a:gd name="T25" fmla="*/ 0 h 4993"/>
                <a:gd name="T26" fmla="*/ 0 w 4504"/>
                <a:gd name="T27" fmla="*/ 0 h 4993"/>
                <a:gd name="T28" fmla="*/ 0 w 4504"/>
                <a:gd name="T29" fmla="*/ 0 h 4993"/>
                <a:gd name="T30" fmla="*/ 0 w 4504"/>
                <a:gd name="T31" fmla="*/ 0 h 4993"/>
                <a:gd name="T32" fmla="*/ 0 w 4504"/>
                <a:gd name="T33" fmla="*/ 0 h 4993"/>
                <a:gd name="T34" fmla="*/ 0 w 4504"/>
                <a:gd name="T35" fmla="*/ 0 h 4993"/>
                <a:gd name="T36" fmla="*/ 0 w 4504"/>
                <a:gd name="T37" fmla="*/ 0 h 4993"/>
                <a:gd name="T38" fmla="*/ 0 w 4504"/>
                <a:gd name="T39" fmla="*/ 0 h 4993"/>
                <a:gd name="T40" fmla="*/ 0 w 4504"/>
                <a:gd name="T41" fmla="*/ 0 h 4993"/>
                <a:gd name="T42" fmla="*/ 0 w 4504"/>
                <a:gd name="T43" fmla="*/ 0 h 4993"/>
                <a:gd name="T44" fmla="*/ 0 w 4504"/>
                <a:gd name="T45" fmla="*/ 0 h 4993"/>
                <a:gd name="T46" fmla="*/ 0 w 4504"/>
                <a:gd name="T47" fmla="*/ 0 h 4993"/>
                <a:gd name="T48" fmla="*/ 0 w 4504"/>
                <a:gd name="T49" fmla="*/ 0 h 4993"/>
                <a:gd name="T50" fmla="*/ 0 w 4504"/>
                <a:gd name="T51" fmla="*/ 0 h 4993"/>
                <a:gd name="T52" fmla="*/ 0 w 4504"/>
                <a:gd name="T53" fmla="*/ 0 h 4993"/>
                <a:gd name="T54" fmla="*/ 0 w 4504"/>
                <a:gd name="T55" fmla="*/ 0 h 4993"/>
                <a:gd name="T56" fmla="*/ 0 w 4504"/>
                <a:gd name="T57" fmla="*/ 0 h 4993"/>
                <a:gd name="T58" fmla="*/ 0 w 4504"/>
                <a:gd name="T59" fmla="*/ 0 h 4993"/>
                <a:gd name="T60" fmla="*/ 0 w 4504"/>
                <a:gd name="T61" fmla="*/ 0 h 4993"/>
                <a:gd name="T62" fmla="*/ 0 w 4504"/>
                <a:gd name="T63" fmla="*/ 0 h 4993"/>
                <a:gd name="T64" fmla="*/ 0 w 4504"/>
                <a:gd name="T65" fmla="*/ 0 h 4993"/>
                <a:gd name="T66" fmla="*/ 0 w 4504"/>
                <a:gd name="T67" fmla="*/ 0 h 4993"/>
                <a:gd name="T68" fmla="*/ 0 w 4504"/>
                <a:gd name="T69" fmla="*/ 0 h 4993"/>
                <a:gd name="T70" fmla="*/ 0 w 4504"/>
                <a:gd name="T71" fmla="*/ 0 h 4993"/>
                <a:gd name="T72" fmla="*/ 0 w 4504"/>
                <a:gd name="T73" fmla="*/ 0 h 4993"/>
                <a:gd name="T74" fmla="*/ 0 w 4504"/>
                <a:gd name="T75" fmla="*/ 0 h 4993"/>
                <a:gd name="T76" fmla="*/ 0 w 4504"/>
                <a:gd name="T77" fmla="*/ 0 h 4993"/>
                <a:gd name="T78" fmla="*/ 0 w 4504"/>
                <a:gd name="T79" fmla="*/ 0 h 4993"/>
                <a:gd name="T80" fmla="*/ 0 w 4504"/>
                <a:gd name="T81" fmla="*/ 0 h 4993"/>
                <a:gd name="T82" fmla="*/ 0 w 4504"/>
                <a:gd name="T83" fmla="*/ 0 h 4993"/>
                <a:gd name="T84" fmla="*/ 0 w 4504"/>
                <a:gd name="T85" fmla="*/ 0 h 4993"/>
                <a:gd name="T86" fmla="*/ 0 w 4504"/>
                <a:gd name="T87" fmla="*/ 0 h 4993"/>
                <a:gd name="T88" fmla="*/ 0 w 4504"/>
                <a:gd name="T89" fmla="*/ 0 h 4993"/>
                <a:gd name="T90" fmla="*/ 0 w 4504"/>
                <a:gd name="T91" fmla="*/ 0 h 4993"/>
                <a:gd name="T92" fmla="*/ 0 w 4504"/>
                <a:gd name="T93" fmla="*/ 0 h 4993"/>
                <a:gd name="T94" fmla="*/ 0 w 4504"/>
                <a:gd name="T95" fmla="*/ 0 h 4993"/>
                <a:gd name="T96" fmla="*/ 0 w 4504"/>
                <a:gd name="T97" fmla="*/ 0 h 4993"/>
                <a:gd name="T98" fmla="*/ 0 w 4504"/>
                <a:gd name="T99" fmla="*/ 0 h 4993"/>
                <a:gd name="T100" fmla="*/ 0 w 4504"/>
                <a:gd name="T101" fmla="*/ 0 h 4993"/>
                <a:gd name="T102" fmla="*/ 0 w 4504"/>
                <a:gd name="T103" fmla="*/ 0 h 4993"/>
                <a:gd name="T104" fmla="*/ 0 w 4504"/>
                <a:gd name="T105" fmla="*/ 0 h 4993"/>
                <a:gd name="T106" fmla="*/ 0 w 4504"/>
                <a:gd name="T107" fmla="*/ 0 h 4993"/>
                <a:gd name="T108" fmla="*/ 0 w 4504"/>
                <a:gd name="T109" fmla="*/ 0 h 4993"/>
                <a:gd name="T110" fmla="*/ 0 w 4504"/>
                <a:gd name="T111" fmla="*/ 0 h 4993"/>
                <a:gd name="T112" fmla="*/ 0 w 4504"/>
                <a:gd name="T113" fmla="*/ 0 h 4993"/>
                <a:gd name="T114" fmla="*/ 0 w 4504"/>
                <a:gd name="T115" fmla="*/ 0 h 4993"/>
                <a:gd name="T116" fmla="*/ 0 w 4504"/>
                <a:gd name="T117" fmla="*/ 0 h 49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04"/>
                <a:gd name="T178" fmla="*/ 0 h 4993"/>
                <a:gd name="T179" fmla="*/ 4504 w 4504"/>
                <a:gd name="T180" fmla="*/ 4993 h 49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04" h="4993">
                  <a:moveTo>
                    <a:pt x="4494" y="459"/>
                  </a:moveTo>
                  <a:lnTo>
                    <a:pt x="4433" y="455"/>
                  </a:lnTo>
                  <a:lnTo>
                    <a:pt x="4437" y="508"/>
                  </a:lnTo>
                  <a:lnTo>
                    <a:pt x="4423" y="511"/>
                  </a:lnTo>
                  <a:lnTo>
                    <a:pt x="4422" y="502"/>
                  </a:lnTo>
                  <a:lnTo>
                    <a:pt x="4397" y="498"/>
                  </a:lnTo>
                  <a:lnTo>
                    <a:pt x="4385" y="483"/>
                  </a:lnTo>
                  <a:lnTo>
                    <a:pt x="4390" y="514"/>
                  </a:lnTo>
                  <a:lnTo>
                    <a:pt x="4387" y="521"/>
                  </a:lnTo>
                  <a:lnTo>
                    <a:pt x="4371" y="498"/>
                  </a:lnTo>
                  <a:lnTo>
                    <a:pt x="4339" y="507"/>
                  </a:lnTo>
                  <a:lnTo>
                    <a:pt x="4314" y="527"/>
                  </a:lnTo>
                  <a:lnTo>
                    <a:pt x="4320" y="495"/>
                  </a:lnTo>
                  <a:lnTo>
                    <a:pt x="4336" y="477"/>
                  </a:lnTo>
                  <a:lnTo>
                    <a:pt x="4353" y="470"/>
                  </a:lnTo>
                  <a:lnTo>
                    <a:pt x="4359" y="454"/>
                  </a:lnTo>
                  <a:lnTo>
                    <a:pt x="4352" y="441"/>
                  </a:lnTo>
                  <a:lnTo>
                    <a:pt x="4337" y="425"/>
                  </a:lnTo>
                  <a:lnTo>
                    <a:pt x="4286" y="438"/>
                  </a:lnTo>
                  <a:lnTo>
                    <a:pt x="4293" y="423"/>
                  </a:lnTo>
                  <a:lnTo>
                    <a:pt x="4211" y="374"/>
                  </a:lnTo>
                  <a:lnTo>
                    <a:pt x="4175" y="371"/>
                  </a:lnTo>
                  <a:lnTo>
                    <a:pt x="4162" y="358"/>
                  </a:lnTo>
                  <a:lnTo>
                    <a:pt x="4166" y="349"/>
                  </a:lnTo>
                  <a:lnTo>
                    <a:pt x="4164" y="338"/>
                  </a:lnTo>
                  <a:lnTo>
                    <a:pt x="4350" y="354"/>
                  </a:lnTo>
                  <a:lnTo>
                    <a:pt x="4428" y="270"/>
                  </a:lnTo>
                  <a:lnTo>
                    <a:pt x="4455" y="255"/>
                  </a:lnTo>
                  <a:lnTo>
                    <a:pt x="4470" y="234"/>
                  </a:lnTo>
                  <a:lnTo>
                    <a:pt x="4459" y="203"/>
                  </a:lnTo>
                  <a:lnTo>
                    <a:pt x="4428" y="193"/>
                  </a:lnTo>
                  <a:lnTo>
                    <a:pt x="4402" y="163"/>
                  </a:lnTo>
                  <a:lnTo>
                    <a:pt x="4364" y="168"/>
                  </a:lnTo>
                  <a:lnTo>
                    <a:pt x="4342" y="161"/>
                  </a:lnTo>
                  <a:lnTo>
                    <a:pt x="4360" y="143"/>
                  </a:lnTo>
                  <a:lnTo>
                    <a:pt x="4321" y="128"/>
                  </a:lnTo>
                  <a:lnTo>
                    <a:pt x="4305" y="107"/>
                  </a:lnTo>
                  <a:lnTo>
                    <a:pt x="4291" y="132"/>
                  </a:lnTo>
                  <a:lnTo>
                    <a:pt x="4277" y="141"/>
                  </a:lnTo>
                  <a:lnTo>
                    <a:pt x="4275" y="124"/>
                  </a:lnTo>
                  <a:lnTo>
                    <a:pt x="4266" y="113"/>
                  </a:lnTo>
                  <a:lnTo>
                    <a:pt x="4222" y="138"/>
                  </a:lnTo>
                  <a:lnTo>
                    <a:pt x="4218" y="132"/>
                  </a:lnTo>
                  <a:lnTo>
                    <a:pt x="4214" y="123"/>
                  </a:lnTo>
                  <a:lnTo>
                    <a:pt x="4215" y="111"/>
                  </a:lnTo>
                  <a:lnTo>
                    <a:pt x="4211" y="89"/>
                  </a:lnTo>
                  <a:lnTo>
                    <a:pt x="4199" y="81"/>
                  </a:lnTo>
                  <a:lnTo>
                    <a:pt x="4191" y="66"/>
                  </a:lnTo>
                  <a:lnTo>
                    <a:pt x="4170" y="77"/>
                  </a:lnTo>
                  <a:lnTo>
                    <a:pt x="4153" y="70"/>
                  </a:lnTo>
                  <a:lnTo>
                    <a:pt x="4135" y="79"/>
                  </a:lnTo>
                  <a:lnTo>
                    <a:pt x="4118" y="118"/>
                  </a:lnTo>
                  <a:lnTo>
                    <a:pt x="4134" y="229"/>
                  </a:lnTo>
                  <a:lnTo>
                    <a:pt x="4107" y="248"/>
                  </a:lnTo>
                  <a:lnTo>
                    <a:pt x="4081" y="235"/>
                  </a:lnTo>
                  <a:lnTo>
                    <a:pt x="4054" y="244"/>
                  </a:lnTo>
                  <a:lnTo>
                    <a:pt x="4046" y="234"/>
                  </a:lnTo>
                  <a:lnTo>
                    <a:pt x="4069" y="208"/>
                  </a:lnTo>
                  <a:lnTo>
                    <a:pt x="4087" y="171"/>
                  </a:lnTo>
                  <a:lnTo>
                    <a:pt x="4074" y="149"/>
                  </a:lnTo>
                  <a:lnTo>
                    <a:pt x="4039" y="180"/>
                  </a:lnTo>
                  <a:lnTo>
                    <a:pt x="4016" y="183"/>
                  </a:lnTo>
                  <a:lnTo>
                    <a:pt x="4049" y="150"/>
                  </a:lnTo>
                  <a:lnTo>
                    <a:pt x="4024" y="126"/>
                  </a:lnTo>
                  <a:lnTo>
                    <a:pt x="4037" y="105"/>
                  </a:lnTo>
                  <a:lnTo>
                    <a:pt x="4080" y="106"/>
                  </a:lnTo>
                  <a:lnTo>
                    <a:pt x="4093" y="70"/>
                  </a:lnTo>
                  <a:lnTo>
                    <a:pt x="4090" y="32"/>
                  </a:lnTo>
                  <a:lnTo>
                    <a:pt x="4061" y="36"/>
                  </a:lnTo>
                  <a:lnTo>
                    <a:pt x="4062" y="12"/>
                  </a:lnTo>
                  <a:lnTo>
                    <a:pt x="4044" y="0"/>
                  </a:lnTo>
                  <a:lnTo>
                    <a:pt x="4029" y="2"/>
                  </a:lnTo>
                  <a:lnTo>
                    <a:pt x="4002" y="29"/>
                  </a:lnTo>
                  <a:lnTo>
                    <a:pt x="3972" y="2"/>
                  </a:lnTo>
                  <a:lnTo>
                    <a:pt x="3957" y="121"/>
                  </a:lnTo>
                  <a:lnTo>
                    <a:pt x="3944" y="145"/>
                  </a:lnTo>
                  <a:lnTo>
                    <a:pt x="3941" y="165"/>
                  </a:lnTo>
                  <a:lnTo>
                    <a:pt x="3947" y="191"/>
                  </a:lnTo>
                  <a:lnTo>
                    <a:pt x="3929" y="196"/>
                  </a:lnTo>
                  <a:lnTo>
                    <a:pt x="3922" y="219"/>
                  </a:lnTo>
                  <a:lnTo>
                    <a:pt x="3928" y="255"/>
                  </a:lnTo>
                  <a:lnTo>
                    <a:pt x="3900" y="258"/>
                  </a:lnTo>
                  <a:lnTo>
                    <a:pt x="3868" y="298"/>
                  </a:lnTo>
                  <a:lnTo>
                    <a:pt x="3875" y="214"/>
                  </a:lnTo>
                  <a:lnTo>
                    <a:pt x="3847" y="183"/>
                  </a:lnTo>
                  <a:lnTo>
                    <a:pt x="3867" y="160"/>
                  </a:lnTo>
                  <a:lnTo>
                    <a:pt x="3855" y="82"/>
                  </a:lnTo>
                  <a:lnTo>
                    <a:pt x="3845" y="79"/>
                  </a:lnTo>
                  <a:lnTo>
                    <a:pt x="3829" y="89"/>
                  </a:lnTo>
                  <a:lnTo>
                    <a:pt x="3705" y="365"/>
                  </a:lnTo>
                  <a:lnTo>
                    <a:pt x="3724" y="342"/>
                  </a:lnTo>
                  <a:lnTo>
                    <a:pt x="3678" y="433"/>
                  </a:lnTo>
                  <a:lnTo>
                    <a:pt x="3658" y="446"/>
                  </a:lnTo>
                  <a:lnTo>
                    <a:pt x="3653" y="387"/>
                  </a:lnTo>
                  <a:lnTo>
                    <a:pt x="3665" y="365"/>
                  </a:lnTo>
                  <a:lnTo>
                    <a:pt x="3678" y="357"/>
                  </a:lnTo>
                  <a:lnTo>
                    <a:pt x="3679" y="296"/>
                  </a:lnTo>
                  <a:lnTo>
                    <a:pt x="3674" y="279"/>
                  </a:lnTo>
                  <a:lnTo>
                    <a:pt x="3748" y="124"/>
                  </a:lnTo>
                  <a:lnTo>
                    <a:pt x="3724" y="112"/>
                  </a:lnTo>
                  <a:lnTo>
                    <a:pt x="3690" y="142"/>
                  </a:lnTo>
                  <a:lnTo>
                    <a:pt x="3670" y="149"/>
                  </a:lnTo>
                  <a:lnTo>
                    <a:pt x="3664" y="120"/>
                  </a:lnTo>
                  <a:lnTo>
                    <a:pt x="3647" y="111"/>
                  </a:lnTo>
                  <a:lnTo>
                    <a:pt x="3637" y="97"/>
                  </a:lnTo>
                  <a:lnTo>
                    <a:pt x="3632" y="80"/>
                  </a:lnTo>
                  <a:lnTo>
                    <a:pt x="3612" y="111"/>
                  </a:lnTo>
                  <a:lnTo>
                    <a:pt x="3603" y="96"/>
                  </a:lnTo>
                  <a:lnTo>
                    <a:pt x="3586" y="97"/>
                  </a:lnTo>
                  <a:lnTo>
                    <a:pt x="3586" y="156"/>
                  </a:lnTo>
                  <a:lnTo>
                    <a:pt x="3551" y="147"/>
                  </a:lnTo>
                  <a:lnTo>
                    <a:pt x="3569" y="178"/>
                  </a:lnTo>
                  <a:lnTo>
                    <a:pt x="3588" y="196"/>
                  </a:lnTo>
                  <a:lnTo>
                    <a:pt x="3594" y="207"/>
                  </a:lnTo>
                  <a:lnTo>
                    <a:pt x="3561" y="227"/>
                  </a:lnTo>
                  <a:lnTo>
                    <a:pt x="3545" y="256"/>
                  </a:lnTo>
                  <a:lnTo>
                    <a:pt x="3556" y="287"/>
                  </a:lnTo>
                  <a:lnTo>
                    <a:pt x="3496" y="291"/>
                  </a:lnTo>
                  <a:lnTo>
                    <a:pt x="3466" y="327"/>
                  </a:lnTo>
                  <a:lnTo>
                    <a:pt x="3455" y="353"/>
                  </a:lnTo>
                  <a:lnTo>
                    <a:pt x="3426" y="391"/>
                  </a:lnTo>
                  <a:lnTo>
                    <a:pt x="3424" y="406"/>
                  </a:lnTo>
                  <a:lnTo>
                    <a:pt x="3431" y="426"/>
                  </a:lnTo>
                  <a:lnTo>
                    <a:pt x="3425" y="489"/>
                  </a:lnTo>
                  <a:lnTo>
                    <a:pt x="3405" y="492"/>
                  </a:lnTo>
                  <a:lnTo>
                    <a:pt x="3391" y="478"/>
                  </a:lnTo>
                  <a:lnTo>
                    <a:pt x="3390" y="455"/>
                  </a:lnTo>
                  <a:lnTo>
                    <a:pt x="3403" y="446"/>
                  </a:lnTo>
                  <a:lnTo>
                    <a:pt x="3369" y="438"/>
                  </a:lnTo>
                  <a:lnTo>
                    <a:pt x="3384" y="412"/>
                  </a:lnTo>
                  <a:lnTo>
                    <a:pt x="3381" y="406"/>
                  </a:lnTo>
                  <a:lnTo>
                    <a:pt x="3306" y="400"/>
                  </a:lnTo>
                  <a:lnTo>
                    <a:pt x="3314" y="431"/>
                  </a:lnTo>
                  <a:lnTo>
                    <a:pt x="3302" y="435"/>
                  </a:lnTo>
                  <a:lnTo>
                    <a:pt x="3282" y="428"/>
                  </a:lnTo>
                  <a:lnTo>
                    <a:pt x="3281" y="411"/>
                  </a:lnTo>
                  <a:lnTo>
                    <a:pt x="3273" y="387"/>
                  </a:lnTo>
                  <a:lnTo>
                    <a:pt x="3264" y="395"/>
                  </a:lnTo>
                  <a:lnTo>
                    <a:pt x="3259" y="371"/>
                  </a:lnTo>
                  <a:lnTo>
                    <a:pt x="3243" y="383"/>
                  </a:lnTo>
                  <a:lnTo>
                    <a:pt x="3237" y="371"/>
                  </a:lnTo>
                  <a:lnTo>
                    <a:pt x="3224" y="384"/>
                  </a:lnTo>
                  <a:lnTo>
                    <a:pt x="3224" y="426"/>
                  </a:lnTo>
                  <a:lnTo>
                    <a:pt x="3198" y="379"/>
                  </a:lnTo>
                  <a:lnTo>
                    <a:pt x="3188" y="369"/>
                  </a:lnTo>
                  <a:lnTo>
                    <a:pt x="3190" y="432"/>
                  </a:lnTo>
                  <a:lnTo>
                    <a:pt x="3234" y="455"/>
                  </a:lnTo>
                  <a:lnTo>
                    <a:pt x="3250" y="455"/>
                  </a:lnTo>
                  <a:lnTo>
                    <a:pt x="3246" y="535"/>
                  </a:lnTo>
                  <a:lnTo>
                    <a:pt x="3258" y="562"/>
                  </a:lnTo>
                  <a:lnTo>
                    <a:pt x="3259" y="599"/>
                  </a:lnTo>
                  <a:lnTo>
                    <a:pt x="3151" y="477"/>
                  </a:lnTo>
                  <a:lnTo>
                    <a:pt x="3162" y="526"/>
                  </a:lnTo>
                  <a:lnTo>
                    <a:pt x="3148" y="525"/>
                  </a:lnTo>
                  <a:lnTo>
                    <a:pt x="3141" y="551"/>
                  </a:lnTo>
                  <a:lnTo>
                    <a:pt x="3128" y="550"/>
                  </a:lnTo>
                  <a:lnTo>
                    <a:pt x="3119" y="568"/>
                  </a:lnTo>
                  <a:lnTo>
                    <a:pt x="3108" y="559"/>
                  </a:lnTo>
                  <a:lnTo>
                    <a:pt x="3106" y="543"/>
                  </a:lnTo>
                  <a:lnTo>
                    <a:pt x="3117" y="515"/>
                  </a:lnTo>
                  <a:lnTo>
                    <a:pt x="3097" y="527"/>
                  </a:lnTo>
                  <a:lnTo>
                    <a:pt x="3080" y="551"/>
                  </a:lnTo>
                  <a:lnTo>
                    <a:pt x="3070" y="583"/>
                  </a:lnTo>
                  <a:lnTo>
                    <a:pt x="3056" y="588"/>
                  </a:lnTo>
                  <a:lnTo>
                    <a:pt x="3067" y="643"/>
                  </a:lnTo>
                  <a:lnTo>
                    <a:pt x="3026" y="679"/>
                  </a:lnTo>
                  <a:lnTo>
                    <a:pt x="3009" y="730"/>
                  </a:lnTo>
                  <a:lnTo>
                    <a:pt x="2989" y="753"/>
                  </a:lnTo>
                  <a:lnTo>
                    <a:pt x="3016" y="701"/>
                  </a:lnTo>
                  <a:lnTo>
                    <a:pt x="3018" y="517"/>
                  </a:lnTo>
                  <a:lnTo>
                    <a:pt x="2991" y="527"/>
                  </a:lnTo>
                  <a:lnTo>
                    <a:pt x="2952" y="597"/>
                  </a:lnTo>
                  <a:lnTo>
                    <a:pt x="2929" y="705"/>
                  </a:lnTo>
                  <a:lnTo>
                    <a:pt x="2927" y="573"/>
                  </a:lnTo>
                  <a:lnTo>
                    <a:pt x="2862" y="583"/>
                  </a:lnTo>
                  <a:lnTo>
                    <a:pt x="2838" y="627"/>
                  </a:lnTo>
                  <a:lnTo>
                    <a:pt x="2841" y="692"/>
                  </a:lnTo>
                  <a:lnTo>
                    <a:pt x="2865" y="726"/>
                  </a:lnTo>
                  <a:lnTo>
                    <a:pt x="2887" y="736"/>
                  </a:lnTo>
                  <a:lnTo>
                    <a:pt x="2906" y="769"/>
                  </a:lnTo>
                  <a:lnTo>
                    <a:pt x="2902" y="796"/>
                  </a:lnTo>
                  <a:lnTo>
                    <a:pt x="2881" y="794"/>
                  </a:lnTo>
                  <a:lnTo>
                    <a:pt x="2864" y="752"/>
                  </a:lnTo>
                  <a:lnTo>
                    <a:pt x="2836" y="733"/>
                  </a:lnTo>
                  <a:lnTo>
                    <a:pt x="2793" y="670"/>
                  </a:lnTo>
                  <a:lnTo>
                    <a:pt x="2763" y="674"/>
                  </a:lnTo>
                  <a:lnTo>
                    <a:pt x="2779" y="718"/>
                  </a:lnTo>
                  <a:lnTo>
                    <a:pt x="2813" y="751"/>
                  </a:lnTo>
                  <a:lnTo>
                    <a:pt x="2787" y="774"/>
                  </a:lnTo>
                  <a:lnTo>
                    <a:pt x="2767" y="756"/>
                  </a:lnTo>
                  <a:lnTo>
                    <a:pt x="2755" y="772"/>
                  </a:lnTo>
                  <a:lnTo>
                    <a:pt x="2750" y="738"/>
                  </a:lnTo>
                  <a:lnTo>
                    <a:pt x="2729" y="752"/>
                  </a:lnTo>
                  <a:lnTo>
                    <a:pt x="2728" y="739"/>
                  </a:lnTo>
                  <a:lnTo>
                    <a:pt x="2736" y="704"/>
                  </a:lnTo>
                  <a:lnTo>
                    <a:pt x="2724" y="689"/>
                  </a:lnTo>
                  <a:lnTo>
                    <a:pt x="2696" y="763"/>
                  </a:lnTo>
                  <a:lnTo>
                    <a:pt x="2698" y="785"/>
                  </a:lnTo>
                  <a:lnTo>
                    <a:pt x="2711" y="805"/>
                  </a:lnTo>
                  <a:lnTo>
                    <a:pt x="2631" y="849"/>
                  </a:lnTo>
                  <a:lnTo>
                    <a:pt x="2618" y="898"/>
                  </a:lnTo>
                  <a:lnTo>
                    <a:pt x="2625" y="916"/>
                  </a:lnTo>
                  <a:lnTo>
                    <a:pt x="2648" y="908"/>
                  </a:lnTo>
                  <a:lnTo>
                    <a:pt x="2663" y="931"/>
                  </a:lnTo>
                  <a:lnTo>
                    <a:pt x="2633" y="929"/>
                  </a:lnTo>
                  <a:lnTo>
                    <a:pt x="2641" y="975"/>
                  </a:lnTo>
                  <a:lnTo>
                    <a:pt x="2608" y="962"/>
                  </a:lnTo>
                  <a:lnTo>
                    <a:pt x="2594" y="966"/>
                  </a:lnTo>
                  <a:lnTo>
                    <a:pt x="2612" y="988"/>
                  </a:lnTo>
                  <a:lnTo>
                    <a:pt x="2598" y="1002"/>
                  </a:lnTo>
                  <a:lnTo>
                    <a:pt x="2570" y="991"/>
                  </a:lnTo>
                  <a:lnTo>
                    <a:pt x="2561" y="1007"/>
                  </a:lnTo>
                  <a:lnTo>
                    <a:pt x="2542" y="1000"/>
                  </a:lnTo>
                  <a:lnTo>
                    <a:pt x="2499" y="1015"/>
                  </a:lnTo>
                  <a:lnTo>
                    <a:pt x="2485" y="1038"/>
                  </a:lnTo>
                  <a:lnTo>
                    <a:pt x="2467" y="1047"/>
                  </a:lnTo>
                  <a:lnTo>
                    <a:pt x="2464" y="1057"/>
                  </a:lnTo>
                  <a:lnTo>
                    <a:pt x="2491" y="1079"/>
                  </a:lnTo>
                  <a:lnTo>
                    <a:pt x="2517" y="1069"/>
                  </a:lnTo>
                  <a:lnTo>
                    <a:pt x="2532" y="1054"/>
                  </a:lnTo>
                  <a:lnTo>
                    <a:pt x="2574" y="1083"/>
                  </a:lnTo>
                  <a:lnTo>
                    <a:pt x="2605" y="1061"/>
                  </a:lnTo>
                  <a:lnTo>
                    <a:pt x="2615" y="1071"/>
                  </a:lnTo>
                  <a:lnTo>
                    <a:pt x="2622" y="1094"/>
                  </a:lnTo>
                  <a:lnTo>
                    <a:pt x="2594" y="1093"/>
                  </a:lnTo>
                  <a:lnTo>
                    <a:pt x="2580" y="1111"/>
                  </a:lnTo>
                  <a:lnTo>
                    <a:pt x="2574" y="1147"/>
                  </a:lnTo>
                  <a:lnTo>
                    <a:pt x="2534" y="1123"/>
                  </a:lnTo>
                  <a:lnTo>
                    <a:pt x="2505" y="1120"/>
                  </a:lnTo>
                  <a:lnTo>
                    <a:pt x="2499" y="1106"/>
                  </a:lnTo>
                  <a:lnTo>
                    <a:pt x="2466" y="1096"/>
                  </a:lnTo>
                  <a:lnTo>
                    <a:pt x="2429" y="1117"/>
                  </a:lnTo>
                  <a:lnTo>
                    <a:pt x="2416" y="1138"/>
                  </a:lnTo>
                  <a:lnTo>
                    <a:pt x="2440" y="1182"/>
                  </a:lnTo>
                  <a:lnTo>
                    <a:pt x="2441" y="1203"/>
                  </a:lnTo>
                  <a:lnTo>
                    <a:pt x="2423" y="1200"/>
                  </a:lnTo>
                  <a:lnTo>
                    <a:pt x="2435" y="1240"/>
                  </a:lnTo>
                  <a:lnTo>
                    <a:pt x="2435" y="1269"/>
                  </a:lnTo>
                  <a:lnTo>
                    <a:pt x="2414" y="1261"/>
                  </a:lnTo>
                  <a:lnTo>
                    <a:pt x="2413" y="1290"/>
                  </a:lnTo>
                  <a:lnTo>
                    <a:pt x="2392" y="1293"/>
                  </a:lnTo>
                  <a:lnTo>
                    <a:pt x="2382" y="1190"/>
                  </a:lnTo>
                  <a:lnTo>
                    <a:pt x="2362" y="1193"/>
                  </a:lnTo>
                  <a:lnTo>
                    <a:pt x="2349" y="1229"/>
                  </a:lnTo>
                  <a:lnTo>
                    <a:pt x="2330" y="1221"/>
                  </a:lnTo>
                  <a:lnTo>
                    <a:pt x="2321" y="1233"/>
                  </a:lnTo>
                  <a:lnTo>
                    <a:pt x="2348" y="1246"/>
                  </a:lnTo>
                  <a:lnTo>
                    <a:pt x="2341" y="1256"/>
                  </a:lnTo>
                  <a:lnTo>
                    <a:pt x="2318" y="1259"/>
                  </a:lnTo>
                  <a:lnTo>
                    <a:pt x="2298" y="1272"/>
                  </a:lnTo>
                  <a:lnTo>
                    <a:pt x="2288" y="1295"/>
                  </a:lnTo>
                  <a:lnTo>
                    <a:pt x="2290" y="1323"/>
                  </a:lnTo>
                  <a:lnTo>
                    <a:pt x="2312" y="1343"/>
                  </a:lnTo>
                  <a:lnTo>
                    <a:pt x="2291" y="1351"/>
                  </a:lnTo>
                  <a:lnTo>
                    <a:pt x="2304" y="1367"/>
                  </a:lnTo>
                  <a:lnTo>
                    <a:pt x="2288" y="1374"/>
                  </a:lnTo>
                  <a:lnTo>
                    <a:pt x="2273" y="1405"/>
                  </a:lnTo>
                  <a:lnTo>
                    <a:pt x="2261" y="1412"/>
                  </a:lnTo>
                  <a:lnTo>
                    <a:pt x="2246" y="1410"/>
                  </a:lnTo>
                  <a:lnTo>
                    <a:pt x="2248" y="1421"/>
                  </a:lnTo>
                  <a:lnTo>
                    <a:pt x="2275" y="1432"/>
                  </a:lnTo>
                  <a:lnTo>
                    <a:pt x="2331" y="1417"/>
                  </a:lnTo>
                  <a:lnTo>
                    <a:pt x="2272" y="1467"/>
                  </a:lnTo>
                  <a:lnTo>
                    <a:pt x="2221" y="1451"/>
                  </a:lnTo>
                  <a:lnTo>
                    <a:pt x="2210" y="1439"/>
                  </a:lnTo>
                  <a:lnTo>
                    <a:pt x="2208" y="1418"/>
                  </a:lnTo>
                  <a:lnTo>
                    <a:pt x="2186" y="1421"/>
                  </a:lnTo>
                  <a:lnTo>
                    <a:pt x="2153" y="1445"/>
                  </a:lnTo>
                  <a:lnTo>
                    <a:pt x="2135" y="1490"/>
                  </a:lnTo>
                  <a:lnTo>
                    <a:pt x="2105" y="1510"/>
                  </a:lnTo>
                  <a:lnTo>
                    <a:pt x="2101" y="1535"/>
                  </a:lnTo>
                  <a:lnTo>
                    <a:pt x="2120" y="1536"/>
                  </a:lnTo>
                  <a:lnTo>
                    <a:pt x="2109" y="1572"/>
                  </a:lnTo>
                  <a:lnTo>
                    <a:pt x="2085" y="1579"/>
                  </a:lnTo>
                  <a:lnTo>
                    <a:pt x="2069" y="1631"/>
                  </a:lnTo>
                  <a:lnTo>
                    <a:pt x="2048" y="1624"/>
                  </a:lnTo>
                  <a:lnTo>
                    <a:pt x="2029" y="1634"/>
                  </a:lnTo>
                  <a:lnTo>
                    <a:pt x="2011" y="1634"/>
                  </a:lnTo>
                  <a:lnTo>
                    <a:pt x="1983" y="1664"/>
                  </a:lnTo>
                  <a:lnTo>
                    <a:pt x="1998" y="1693"/>
                  </a:lnTo>
                  <a:lnTo>
                    <a:pt x="1986" y="1706"/>
                  </a:lnTo>
                  <a:lnTo>
                    <a:pt x="1954" y="1707"/>
                  </a:lnTo>
                  <a:lnTo>
                    <a:pt x="1952" y="1735"/>
                  </a:lnTo>
                  <a:lnTo>
                    <a:pt x="1918" y="1737"/>
                  </a:lnTo>
                  <a:lnTo>
                    <a:pt x="1924" y="1753"/>
                  </a:lnTo>
                  <a:lnTo>
                    <a:pt x="1909" y="1762"/>
                  </a:lnTo>
                  <a:lnTo>
                    <a:pt x="1902" y="1787"/>
                  </a:lnTo>
                  <a:lnTo>
                    <a:pt x="1938" y="1798"/>
                  </a:lnTo>
                  <a:lnTo>
                    <a:pt x="1927" y="1815"/>
                  </a:lnTo>
                  <a:lnTo>
                    <a:pt x="1902" y="1826"/>
                  </a:lnTo>
                  <a:lnTo>
                    <a:pt x="1886" y="1812"/>
                  </a:lnTo>
                  <a:lnTo>
                    <a:pt x="1883" y="1817"/>
                  </a:lnTo>
                  <a:lnTo>
                    <a:pt x="1882" y="1860"/>
                  </a:lnTo>
                  <a:lnTo>
                    <a:pt x="1897" y="1885"/>
                  </a:lnTo>
                  <a:lnTo>
                    <a:pt x="1913" y="1864"/>
                  </a:lnTo>
                  <a:lnTo>
                    <a:pt x="1925" y="1879"/>
                  </a:lnTo>
                  <a:lnTo>
                    <a:pt x="1915" y="1905"/>
                  </a:lnTo>
                  <a:lnTo>
                    <a:pt x="1854" y="1908"/>
                  </a:lnTo>
                  <a:lnTo>
                    <a:pt x="1839" y="1919"/>
                  </a:lnTo>
                  <a:lnTo>
                    <a:pt x="1831" y="1962"/>
                  </a:lnTo>
                  <a:lnTo>
                    <a:pt x="1804" y="1978"/>
                  </a:lnTo>
                  <a:lnTo>
                    <a:pt x="1779" y="1984"/>
                  </a:lnTo>
                  <a:lnTo>
                    <a:pt x="1758" y="2023"/>
                  </a:lnTo>
                  <a:lnTo>
                    <a:pt x="1784" y="2022"/>
                  </a:lnTo>
                  <a:lnTo>
                    <a:pt x="1809" y="2000"/>
                  </a:lnTo>
                  <a:lnTo>
                    <a:pt x="1843" y="1990"/>
                  </a:lnTo>
                  <a:lnTo>
                    <a:pt x="1840" y="2016"/>
                  </a:lnTo>
                  <a:lnTo>
                    <a:pt x="1855" y="2057"/>
                  </a:lnTo>
                  <a:lnTo>
                    <a:pt x="1799" y="2030"/>
                  </a:lnTo>
                  <a:lnTo>
                    <a:pt x="1792" y="2057"/>
                  </a:lnTo>
                  <a:lnTo>
                    <a:pt x="1802" y="2068"/>
                  </a:lnTo>
                  <a:lnTo>
                    <a:pt x="1782" y="2082"/>
                  </a:lnTo>
                  <a:lnTo>
                    <a:pt x="1773" y="2100"/>
                  </a:lnTo>
                  <a:lnTo>
                    <a:pt x="1777" y="2127"/>
                  </a:lnTo>
                  <a:lnTo>
                    <a:pt x="1765" y="2132"/>
                  </a:lnTo>
                  <a:lnTo>
                    <a:pt x="1749" y="2120"/>
                  </a:lnTo>
                  <a:lnTo>
                    <a:pt x="1734" y="2137"/>
                  </a:lnTo>
                  <a:lnTo>
                    <a:pt x="1740" y="2168"/>
                  </a:lnTo>
                  <a:lnTo>
                    <a:pt x="1756" y="2184"/>
                  </a:lnTo>
                  <a:lnTo>
                    <a:pt x="1757" y="2243"/>
                  </a:lnTo>
                  <a:lnTo>
                    <a:pt x="1737" y="2216"/>
                  </a:lnTo>
                  <a:lnTo>
                    <a:pt x="1716" y="2206"/>
                  </a:lnTo>
                  <a:lnTo>
                    <a:pt x="1702" y="2166"/>
                  </a:lnTo>
                  <a:lnTo>
                    <a:pt x="1700" y="2217"/>
                  </a:lnTo>
                  <a:lnTo>
                    <a:pt x="1687" y="2232"/>
                  </a:lnTo>
                  <a:lnTo>
                    <a:pt x="1667" y="2238"/>
                  </a:lnTo>
                  <a:lnTo>
                    <a:pt x="1654" y="2265"/>
                  </a:lnTo>
                  <a:lnTo>
                    <a:pt x="1667" y="2277"/>
                  </a:lnTo>
                  <a:lnTo>
                    <a:pt x="1686" y="2269"/>
                  </a:lnTo>
                  <a:lnTo>
                    <a:pt x="1702" y="2246"/>
                  </a:lnTo>
                  <a:lnTo>
                    <a:pt x="1707" y="2258"/>
                  </a:lnTo>
                  <a:lnTo>
                    <a:pt x="1701" y="2271"/>
                  </a:lnTo>
                  <a:lnTo>
                    <a:pt x="1701" y="2315"/>
                  </a:lnTo>
                  <a:lnTo>
                    <a:pt x="1679" y="2333"/>
                  </a:lnTo>
                  <a:lnTo>
                    <a:pt x="1648" y="2313"/>
                  </a:lnTo>
                  <a:lnTo>
                    <a:pt x="1628" y="2335"/>
                  </a:lnTo>
                  <a:lnTo>
                    <a:pt x="1610" y="2321"/>
                  </a:lnTo>
                  <a:lnTo>
                    <a:pt x="1583" y="2350"/>
                  </a:lnTo>
                  <a:lnTo>
                    <a:pt x="1576" y="2377"/>
                  </a:lnTo>
                  <a:lnTo>
                    <a:pt x="1552" y="2393"/>
                  </a:lnTo>
                  <a:lnTo>
                    <a:pt x="1525" y="2399"/>
                  </a:lnTo>
                  <a:lnTo>
                    <a:pt x="1503" y="2459"/>
                  </a:lnTo>
                  <a:lnTo>
                    <a:pt x="1534" y="2454"/>
                  </a:lnTo>
                  <a:lnTo>
                    <a:pt x="1565" y="2438"/>
                  </a:lnTo>
                  <a:lnTo>
                    <a:pt x="1574" y="2451"/>
                  </a:lnTo>
                  <a:lnTo>
                    <a:pt x="1520" y="2467"/>
                  </a:lnTo>
                  <a:lnTo>
                    <a:pt x="1515" y="2498"/>
                  </a:lnTo>
                  <a:lnTo>
                    <a:pt x="1520" y="2533"/>
                  </a:lnTo>
                  <a:lnTo>
                    <a:pt x="1504" y="2553"/>
                  </a:lnTo>
                  <a:lnTo>
                    <a:pt x="1468" y="2560"/>
                  </a:lnTo>
                  <a:lnTo>
                    <a:pt x="1432" y="2518"/>
                  </a:lnTo>
                  <a:lnTo>
                    <a:pt x="1423" y="2517"/>
                  </a:lnTo>
                  <a:lnTo>
                    <a:pt x="1388" y="2560"/>
                  </a:lnTo>
                  <a:lnTo>
                    <a:pt x="1354" y="2577"/>
                  </a:lnTo>
                  <a:lnTo>
                    <a:pt x="1347" y="2596"/>
                  </a:lnTo>
                  <a:lnTo>
                    <a:pt x="1246" y="2700"/>
                  </a:lnTo>
                  <a:lnTo>
                    <a:pt x="1253" y="2734"/>
                  </a:lnTo>
                  <a:lnTo>
                    <a:pt x="1252" y="2745"/>
                  </a:lnTo>
                  <a:lnTo>
                    <a:pt x="1174" y="2773"/>
                  </a:lnTo>
                  <a:lnTo>
                    <a:pt x="1167" y="2805"/>
                  </a:lnTo>
                  <a:lnTo>
                    <a:pt x="1182" y="2823"/>
                  </a:lnTo>
                  <a:lnTo>
                    <a:pt x="1221" y="2812"/>
                  </a:lnTo>
                  <a:lnTo>
                    <a:pt x="1198" y="2858"/>
                  </a:lnTo>
                  <a:lnTo>
                    <a:pt x="1214" y="2899"/>
                  </a:lnTo>
                  <a:lnTo>
                    <a:pt x="1233" y="2912"/>
                  </a:lnTo>
                  <a:lnTo>
                    <a:pt x="1437" y="2822"/>
                  </a:lnTo>
                  <a:lnTo>
                    <a:pt x="1458" y="2802"/>
                  </a:lnTo>
                  <a:lnTo>
                    <a:pt x="1469" y="2814"/>
                  </a:lnTo>
                  <a:lnTo>
                    <a:pt x="1456" y="2831"/>
                  </a:lnTo>
                  <a:lnTo>
                    <a:pt x="1409" y="2849"/>
                  </a:lnTo>
                  <a:lnTo>
                    <a:pt x="1387" y="2848"/>
                  </a:lnTo>
                  <a:lnTo>
                    <a:pt x="1318" y="2890"/>
                  </a:lnTo>
                  <a:lnTo>
                    <a:pt x="1332" y="2915"/>
                  </a:lnTo>
                  <a:lnTo>
                    <a:pt x="1329" y="2927"/>
                  </a:lnTo>
                  <a:lnTo>
                    <a:pt x="1269" y="2940"/>
                  </a:lnTo>
                  <a:lnTo>
                    <a:pt x="1237" y="2935"/>
                  </a:lnTo>
                  <a:lnTo>
                    <a:pt x="1225" y="2946"/>
                  </a:lnTo>
                  <a:lnTo>
                    <a:pt x="1230" y="2968"/>
                  </a:lnTo>
                  <a:lnTo>
                    <a:pt x="1214" y="2972"/>
                  </a:lnTo>
                  <a:lnTo>
                    <a:pt x="1187" y="2962"/>
                  </a:lnTo>
                  <a:lnTo>
                    <a:pt x="1191" y="2932"/>
                  </a:lnTo>
                  <a:lnTo>
                    <a:pt x="1160" y="2862"/>
                  </a:lnTo>
                  <a:lnTo>
                    <a:pt x="1143" y="2861"/>
                  </a:lnTo>
                  <a:lnTo>
                    <a:pt x="1131" y="2876"/>
                  </a:lnTo>
                  <a:lnTo>
                    <a:pt x="1107" y="2876"/>
                  </a:lnTo>
                  <a:lnTo>
                    <a:pt x="1082" y="2893"/>
                  </a:lnTo>
                  <a:lnTo>
                    <a:pt x="1077" y="2915"/>
                  </a:lnTo>
                  <a:lnTo>
                    <a:pt x="1092" y="2935"/>
                  </a:lnTo>
                  <a:lnTo>
                    <a:pt x="1095" y="2950"/>
                  </a:lnTo>
                  <a:lnTo>
                    <a:pt x="1055" y="2965"/>
                  </a:lnTo>
                  <a:lnTo>
                    <a:pt x="1044" y="2942"/>
                  </a:lnTo>
                  <a:lnTo>
                    <a:pt x="1049" y="2915"/>
                  </a:lnTo>
                  <a:lnTo>
                    <a:pt x="1045" y="2896"/>
                  </a:lnTo>
                  <a:lnTo>
                    <a:pt x="953" y="2918"/>
                  </a:lnTo>
                  <a:lnTo>
                    <a:pt x="918" y="2964"/>
                  </a:lnTo>
                  <a:lnTo>
                    <a:pt x="897" y="2958"/>
                  </a:lnTo>
                  <a:lnTo>
                    <a:pt x="899" y="2983"/>
                  </a:lnTo>
                  <a:lnTo>
                    <a:pt x="891" y="2993"/>
                  </a:lnTo>
                  <a:lnTo>
                    <a:pt x="861" y="2991"/>
                  </a:lnTo>
                  <a:lnTo>
                    <a:pt x="866" y="2978"/>
                  </a:lnTo>
                  <a:lnTo>
                    <a:pt x="862" y="2963"/>
                  </a:lnTo>
                  <a:lnTo>
                    <a:pt x="848" y="2964"/>
                  </a:lnTo>
                  <a:lnTo>
                    <a:pt x="838" y="2977"/>
                  </a:lnTo>
                  <a:lnTo>
                    <a:pt x="837" y="2992"/>
                  </a:lnTo>
                  <a:lnTo>
                    <a:pt x="831" y="2999"/>
                  </a:lnTo>
                  <a:lnTo>
                    <a:pt x="802" y="2994"/>
                  </a:lnTo>
                  <a:lnTo>
                    <a:pt x="751" y="3007"/>
                  </a:lnTo>
                  <a:lnTo>
                    <a:pt x="714" y="3084"/>
                  </a:lnTo>
                  <a:lnTo>
                    <a:pt x="692" y="3063"/>
                  </a:lnTo>
                  <a:lnTo>
                    <a:pt x="660" y="3053"/>
                  </a:lnTo>
                  <a:lnTo>
                    <a:pt x="627" y="3072"/>
                  </a:lnTo>
                  <a:lnTo>
                    <a:pt x="616" y="3093"/>
                  </a:lnTo>
                  <a:lnTo>
                    <a:pt x="644" y="3119"/>
                  </a:lnTo>
                  <a:lnTo>
                    <a:pt x="622" y="3136"/>
                  </a:lnTo>
                  <a:lnTo>
                    <a:pt x="652" y="3150"/>
                  </a:lnTo>
                  <a:lnTo>
                    <a:pt x="691" y="3145"/>
                  </a:lnTo>
                  <a:lnTo>
                    <a:pt x="700" y="3168"/>
                  </a:lnTo>
                  <a:lnTo>
                    <a:pt x="716" y="3181"/>
                  </a:lnTo>
                  <a:lnTo>
                    <a:pt x="689" y="3203"/>
                  </a:lnTo>
                  <a:lnTo>
                    <a:pt x="695" y="3227"/>
                  </a:lnTo>
                  <a:lnTo>
                    <a:pt x="671" y="3209"/>
                  </a:lnTo>
                  <a:lnTo>
                    <a:pt x="546" y="3176"/>
                  </a:lnTo>
                  <a:lnTo>
                    <a:pt x="527" y="3187"/>
                  </a:lnTo>
                  <a:lnTo>
                    <a:pt x="506" y="3179"/>
                  </a:lnTo>
                  <a:lnTo>
                    <a:pt x="483" y="3191"/>
                  </a:lnTo>
                  <a:lnTo>
                    <a:pt x="485" y="3199"/>
                  </a:lnTo>
                  <a:lnTo>
                    <a:pt x="504" y="3212"/>
                  </a:lnTo>
                  <a:lnTo>
                    <a:pt x="482" y="3216"/>
                  </a:lnTo>
                  <a:lnTo>
                    <a:pt x="480" y="3234"/>
                  </a:lnTo>
                  <a:lnTo>
                    <a:pt x="505" y="3237"/>
                  </a:lnTo>
                  <a:lnTo>
                    <a:pt x="525" y="3230"/>
                  </a:lnTo>
                  <a:lnTo>
                    <a:pt x="494" y="3259"/>
                  </a:lnTo>
                  <a:lnTo>
                    <a:pt x="494" y="3338"/>
                  </a:lnTo>
                  <a:lnTo>
                    <a:pt x="482" y="3340"/>
                  </a:lnTo>
                  <a:lnTo>
                    <a:pt x="476" y="3291"/>
                  </a:lnTo>
                  <a:lnTo>
                    <a:pt x="465" y="3269"/>
                  </a:lnTo>
                  <a:lnTo>
                    <a:pt x="431" y="3282"/>
                  </a:lnTo>
                  <a:lnTo>
                    <a:pt x="388" y="3334"/>
                  </a:lnTo>
                  <a:lnTo>
                    <a:pt x="403" y="3355"/>
                  </a:lnTo>
                  <a:lnTo>
                    <a:pt x="402" y="3378"/>
                  </a:lnTo>
                  <a:lnTo>
                    <a:pt x="375" y="3352"/>
                  </a:lnTo>
                  <a:lnTo>
                    <a:pt x="369" y="3323"/>
                  </a:lnTo>
                  <a:lnTo>
                    <a:pt x="341" y="3328"/>
                  </a:lnTo>
                  <a:lnTo>
                    <a:pt x="298" y="3316"/>
                  </a:lnTo>
                  <a:lnTo>
                    <a:pt x="291" y="3337"/>
                  </a:lnTo>
                  <a:lnTo>
                    <a:pt x="291" y="3356"/>
                  </a:lnTo>
                  <a:lnTo>
                    <a:pt x="248" y="3303"/>
                  </a:lnTo>
                  <a:lnTo>
                    <a:pt x="232" y="3312"/>
                  </a:lnTo>
                  <a:lnTo>
                    <a:pt x="242" y="3367"/>
                  </a:lnTo>
                  <a:lnTo>
                    <a:pt x="225" y="3381"/>
                  </a:lnTo>
                  <a:lnTo>
                    <a:pt x="228" y="3392"/>
                  </a:lnTo>
                  <a:lnTo>
                    <a:pt x="411" y="3407"/>
                  </a:lnTo>
                  <a:lnTo>
                    <a:pt x="352" y="3424"/>
                  </a:lnTo>
                  <a:lnTo>
                    <a:pt x="360" y="3438"/>
                  </a:lnTo>
                  <a:lnTo>
                    <a:pt x="432" y="3439"/>
                  </a:lnTo>
                  <a:lnTo>
                    <a:pt x="438" y="3447"/>
                  </a:lnTo>
                  <a:lnTo>
                    <a:pt x="401" y="3462"/>
                  </a:lnTo>
                  <a:lnTo>
                    <a:pt x="296" y="3447"/>
                  </a:lnTo>
                  <a:lnTo>
                    <a:pt x="279" y="3429"/>
                  </a:lnTo>
                  <a:lnTo>
                    <a:pt x="259" y="3424"/>
                  </a:lnTo>
                  <a:lnTo>
                    <a:pt x="214" y="3447"/>
                  </a:lnTo>
                  <a:lnTo>
                    <a:pt x="207" y="3465"/>
                  </a:lnTo>
                  <a:lnTo>
                    <a:pt x="184" y="3458"/>
                  </a:lnTo>
                  <a:lnTo>
                    <a:pt x="174" y="3461"/>
                  </a:lnTo>
                  <a:lnTo>
                    <a:pt x="164" y="3486"/>
                  </a:lnTo>
                  <a:lnTo>
                    <a:pt x="212" y="3512"/>
                  </a:lnTo>
                  <a:lnTo>
                    <a:pt x="203" y="3533"/>
                  </a:lnTo>
                  <a:lnTo>
                    <a:pt x="200" y="3556"/>
                  </a:lnTo>
                  <a:lnTo>
                    <a:pt x="148" y="3593"/>
                  </a:lnTo>
                  <a:lnTo>
                    <a:pt x="152" y="3617"/>
                  </a:lnTo>
                  <a:lnTo>
                    <a:pt x="140" y="3629"/>
                  </a:lnTo>
                  <a:lnTo>
                    <a:pt x="133" y="3654"/>
                  </a:lnTo>
                  <a:lnTo>
                    <a:pt x="145" y="3669"/>
                  </a:lnTo>
                  <a:lnTo>
                    <a:pt x="139" y="3694"/>
                  </a:lnTo>
                  <a:lnTo>
                    <a:pt x="191" y="3715"/>
                  </a:lnTo>
                  <a:lnTo>
                    <a:pt x="303" y="3695"/>
                  </a:lnTo>
                  <a:lnTo>
                    <a:pt x="323" y="3716"/>
                  </a:lnTo>
                  <a:lnTo>
                    <a:pt x="363" y="3724"/>
                  </a:lnTo>
                  <a:lnTo>
                    <a:pt x="423" y="3640"/>
                  </a:lnTo>
                  <a:lnTo>
                    <a:pt x="422" y="3675"/>
                  </a:lnTo>
                  <a:lnTo>
                    <a:pt x="402" y="3717"/>
                  </a:lnTo>
                  <a:lnTo>
                    <a:pt x="419" y="3731"/>
                  </a:lnTo>
                  <a:lnTo>
                    <a:pt x="459" y="3738"/>
                  </a:lnTo>
                  <a:lnTo>
                    <a:pt x="483" y="3734"/>
                  </a:lnTo>
                  <a:lnTo>
                    <a:pt x="499" y="3749"/>
                  </a:lnTo>
                  <a:lnTo>
                    <a:pt x="546" y="3714"/>
                  </a:lnTo>
                  <a:lnTo>
                    <a:pt x="572" y="3639"/>
                  </a:lnTo>
                  <a:lnTo>
                    <a:pt x="620" y="3621"/>
                  </a:lnTo>
                  <a:lnTo>
                    <a:pt x="622" y="3637"/>
                  </a:lnTo>
                  <a:lnTo>
                    <a:pt x="583" y="3685"/>
                  </a:lnTo>
                  <a:lnTo>
                    <a:pt x="560" y="3738"/>
                  </a:lnTo>
                  <a:lnTo>
                    <a:pt x="582" y="3738"/>
                  </a:lnTo>
                  <a:lnTo>
                    <a:pt x="607" y="3728"/>
                  </a:lnTo>
                  <a:lnTo>
                    <a:pt x="623" y="3741"/>
                  </a:lnTo>
                  <a:lnTo>
                    <a:pt x="567" y="3772"/>
                  </a:lnTo>
                  <a:lnTo>
                    <a:pt x="503" y="3779"/>
                  </a:lnTo>
                  <a:lnTo>
                    <a:pt x="490" y="3811"/>
                  </a:lnTo>
                  <a:lnTo>
                    <a:pt x="509" y="3840"/>
                  </a:lnTo>
                  <a:lnTo>
                    <a:pt x="454" y="3861"/>
                  </a:lnTo>
                  <a:lnTo>
                    <a:pt x="461" y="3824"/>
                  </a:lnTo>
                  <a:lnTo>
                    <a:pt x="455" y="3796"/>
                  </a:lnTo>
                  <a:lnTo>
                    <a:pt x="427" y="3765"/>
                  </a:lnTo>
                  <a:lnTo>
                    <a:pt x="344" y="3761"/>
                  </a:lnTo>
                  <a:lnTo>
                    <a:pt x="308" y="3745"/>
                  </a:lnTo>
                  <a:lnTo>
                    <a:pt x="273" y="3746"/>
                  </a:lnTo>
                  <a:lnTo>
                    <a:pt x="241" y="3735"/>
                  </a:lnTo>
                  <a:lnTo>
                    <a:pt x="206" y="3756"/>
                  </a:lnTo>
                  <a:lnTo>
                    <a:pt x="145" y="3728"/>
                  </a:lnTo>
                  <a:lnTo>
                    <a:pt x="117" y="3765"/>
                  </a:lnTo>
                  <a:lnTo>
                    <a:pt x="104" y="3800"/>
                  </a:lnTo>
                  <a:lnTo>
                    <a:pt x="136" y="3810"/>
                  </a:lnTo>
                  <a:lnTo>
                    <a:pt x="150" y="3807"/>
                  </a:lnTo>
                  <a:lnTo>
                    <a:pt x="142" y="3858"/>
                  </a:lnTo>
                  <a:lnTo>
                    <a:pt x="116" y="3839"/>
                  </a:lnTo>
                  <a:lnTo>
                    <a:pt x="98" y="3815"/>
                  </a:lnTo>
                  <a:lnTo>
                    <a:pt x="92" y="3823"/>
                  </a:lnTo>
                  <a:lnTo>
                    <a:pt x="87" y="3822"/>
                  </a:lnTo>
                  <a:lnTo>
                    <a:pt x="84" y="3833"/>
                  </a:lnTo>
                  <a:lnTo>
                    <a:pt x="104" y="3904"/>
                  </a:lnTo>
                  <a:lnTo>
                    <a:pt x="125" y="3913"/>
                  </a:lnTo>
                  <a:lnTo>
                    <a:pt x="178" y="3891"/>
                  </a:lnTo>
                  <a:lnTo>
                    <a:pt x="210" y="3891"/>
                  </a:lnTo>
                  <a:lnTo>
                    <a:pt x="133" y="3950"/>
                  </a:lnTo>
                  <a:lnTo>
                    <a:pt x="142" y="3968"/>
                  </a:lnTo>
                  <a:lnTo>
                    <a:pt x="99" y="3981"/>
                  </a:lnTo>
                  <a:lnTo>
                    <a:pt x="79" y="3998"/>
                  </a:lnTo>
                  <a:lnTo>
                    <a:pt x="79" y="4027"/>
                  </a:lnTo>
                  <a:lnTo>
                    <a:pt x="91" y="4050"/>
                  </a:lnTo>
                  <a:lnTo>
                    <a:pt x="95" y="4074"/>
                  </a:lnTo>
                  <a:lnTo>
                    <a:pt x="148" y="4042"/>
                  </a:lnTo>
                  <a:lnTo>
                    <a:pt x="141" y="4074"/>
                  </a:lnTo>
                  <a:lnTo>
                    <a:pt x="161" y="4127"/>
                  </a:lnTo>
                  <a:lnTo>
                    <a:pt x="133" y="4125"/>
                  </a:lnTo>
                  <a:lnTo>
                    <a:pt x="98" y="4143"/>
                  </a:lnTo>
                  <a:lnTo>
                    <a:pt x="95" y="4159"/>
                  </a:lnTo>
                  <a:lnTo>
                    <a:pt x="108" y="4178"/>
                  </a:lnTo>
                  <a:lnTo>
                    <a:pt x="149" y="4161"/>
                  </a:lnTo>
                  <a:lnTo>
                    <a:pt x="179" y="4125"/>
                  </a:lnTo>
                  <a:lnTo>
                    <a:pt x="191" y="4084"/>
                  </a:lnTo>
                  <a:lnTo>
                    <a:pt x="225" y="4067"/>
                  </a:lnTo>
                  <a:lnTo>
                    <a:pt x="318" y="3969"/>
                  </a:lnTo>
                  <a:lnTo>
                    <a:pt x="359" y="3947"/>
                  </a:lnTo>
                  <a:lnTo>
                    <a:pt x="372" y="3967"/>
                  </a:lnTo>
                  <a:lnTo>
                    <a:pt x="371" y="3982"/>
                  </a:lnTo>
                  <a:lnTo>
                    <a:pt x="416" y="3978"/>
                  </a:lnTo>
                  <a:lnTo>
                    <a:pt x="447" y="3990"/>
                  </a:lnTo>
                  <a:lnTo>
                    <a:pt x="386" y="4007"/>
                  </a:lnTo>
                  <a:lnTo>
                    <a:pt x="359" y="4063"/>
                  </a:lnTo>
                  <a:lnTo>
                    <a:pt x="360" y="4022"/>
                  </a:lnTo>
                  <a:lnTo>
                    <a:pt x="345" y="4014"/>
                  </a:lnTo>
                  <a:lnTo>
                    <a:pt x="261" y="4091"/>
                  </a:lnTo>
                  <a:lnTo>
                    <a:pt x="279" y="4111"/>
                  </a:lnTo>
                  <a:lnTo>
                    <a:pt x="278" y="4123"/>
                  </a:lnTo>
                  <a:lnTo>
                    <a:pt x="235" y="4137"/>
                  </a:lnTo>
                  <a:lnTo>
                    <a:pt x="146" y="4212"/>
                  </a:lnTo>
                  <a:lnTo>
                    <a:pt x="168" y="4235"/>
                  </a:lnTo>
                  <a:lnTo>
                    <a:pt x="237" y="4247"/>
                  </a:lnTo>
                  <a:lnTo>
                    <a:pt x="261" y="4234"/>
                  </a:lnTo>
                  <a:lnTo>
                    <a:pt x="264" y="4247"/>
                  </a:lnTo>
                  <a:lnTo>
                    <a:pt x="186" y="4264"/>
                  </a:lnTo>
                  <a:lnTo>
                    <a:pt x="163" y="4282"/>
                  </a:lnTo>
                  <a:lnTo>
                    <a:pt x="155" y="4296"/>
                  </a:lnTo>
                  <a:lnTo>
                    <a:pt x="120" y="4286"/>
                  </a:lnTo>
                  <a:lnTo>
                    <a:pt x="101" y="4293"/>
                  </a:lnTo>
                  <a:lnTo>
                    <a:pt x="84" y="4280"/>
                  </a:lnTo>
                  <a:lnTo>
                    <a:pt x="17" y="4344"/>
                  </a:lnTo>
                  <a:lnTo>
                    <a:pt x="11" y="4375"/>
                  </a:lnTo>
                  <a:lnTo>
                    <a:pt x="22" y="4388"/>
                  </a:lnTo>
                  <a:lnTo>
                    <a:pt x="23" y="4405"/>
                  </a:lnTo>
                  <a:lnTo>
                    <a:pt x="57" y="4405"/>
                  </a:lnTo>
                  <a:lnTo>
                    <a:pt x="77" y="4375"/>
                  </a:lnTo>
                  <a:lnTo>
                    <a:pt x="79" y="4409"/>
                  </a:lnTo>
                  <a:lnTo>
                    <a:pt x="105" y="4412"/>
                  </a:lnTo>
                  <a:lnTo>
                    <a:pt x="117" y="4394"/>
                  </a:lnTo>
                  <a:lnTo>
                    <a:pt x="117" y="4372"/>
                  </a:lnTo>
                  <a:lnTo>
                    <a:pt x="140" y="4392"/>
                  </a:lnTo>
                  <a:lnTo>
                    <a:pt x="198" y="4375"/>
                  </a:lnTo>
                  <a:lnTo>
                    <a:pt x="222" y="4355"/>
                  </a:lnTo>
                  <a:lnTo>
                    <a:pt x="235" y="4370"/>
                  </a:lnTo>
                  <a:lnTo>
                    <a:pt x="172" y="4423"/>
                  </a:lnTo>
                  <a:lnTo>
                    <a:pt x="193" y="4426"/>
                  </a:lnTo>
                  <a:lnTo>
                    <a:pt x="186" y="4463"/>
                  </a:lnTo>
                  <a:lnTo>
                    <a:pt x="143" y="4514"/>
                  </a:lnTo>
                  <a:lnTo>
                    <a:pt x="117" y="4531"/>
                  </a:lnTo>
                  <a:lnTo>
                    <a:pt x="117" y="4559"/>
                  </a:lnTo>
                  <a:lnTo>
                    <a:pt x="111" y="4574"/>
                  </a:lnTo>
                  <a:lnTo>
                    <a:pt x="91" y="4567"/>
                  </a:lnTo>
                  <a:lnTo>
                    <a:pt x="72" y="4572"/>
                  </a:lnTo>
                  <a:lnTo>
                    <a:pt x="65" y="4541"/>
                  </a:lnTo>
                  <a:lnTo>
                    <a:pt x="52" y="4539"/>
                  </a:lnTo>
                  <a:lnTo>
                    <a:pt x="0" y="4650"/>
                  </a:lnTo>
                  <a:lnTo>
                    <a:pt x="142" y="4852"/>
                  </a:lnTo>
                  <a:lnTo>
                    <a:pt x="186" y="4867"/>
                  </a:lnTo>
                  <a:lnTo>
                    <a:pt x="223" y="4825"/>
                  </a:lnTo>
                  <a:lnTo>
                    <a:pt x="192" y="4937"/>
                  </a:lnTo>
                  <a:lnTo>
                    <a:pt x="219" y="4923"/>
                  </a:lnTo>
                  <a:lnTo>
                    <a:pt x="250" y="4949"/>
                  </a:lnTo>
                  <a:lnTo>
                    <a:pt x="271" y="4918"/>
                  </a:lnTo>
                  <a:lnTo>
                    <a:pt x="327" y="4932"/>
                  </a:lnTo>
                  <a:lnTo>
                    <a:pt x="293" y="4960"/>
                  </a:lnTo>
                  <a:lnTo>
                    <a:pt x="351" y="4993"/>
                  </a:lnTo>
                  <a:lnTo>
                    <a:pt x="400" y="4983"/>
                  </a:lnTo>
                  <a:lnTo>
                    <a:pt x="452" y="4953"/>
                  </a:lnTo>
                  <a:lnTo>
                    <a:pt x="480" y="4905"/>
                  </a:lnTo>
                  <a:lnTo>
                    <a:pt x="499" y="4951"/>
                  </a:lnTo>
                  <a:lnTo>
                    <a:pt x="583" y="4913"/>
                  </a:lnTo>
                  <a:lnTo>
                    <a:pt x="674" y="4824"/>
                  </a:lnTo>
                  <a:lnTo>
                    <a:pt x="723" y="4808"/>
                  </a:lnTo>
                  <a:lnTo>
                    <a:pt x="740" y="4771"/>
                  </a:lnTo>
                  <a:lnTo>
                    <a:pt x="768" y="4754"/>
                  </a:lnTo>
                  <a:lnTo>
                    <a:pt x="781" y="4733"/>
                  </a:lnTo>
                  <a:lnTo>
                    <a:pt x="852" y="4677"/>
                  </a:lnTo>
                  <a:lnTo>
                    <a:pt x="847" y="4645"/>
                  </a:lnTo>
                  <a:lnTo>
                    <a:pt x="890" y="4678"/>
                  </a:lnTo>
                  <a:lnTo>
                    <a:pt x="941" y="4685"/>
                  </a:lnTo>
                  <a:lnTo>
                    <a:pt x="970" y="4676"/>
                  </a:lnTo>
                  <a:lnTo>
                    <a:pt x="995" y="4607"/>
                  </a:lnTo>
                  <a:lnTo>
                    <a:pt x="1028" y="4585"/>
                  </a:lnTo>
                  <a:lnTo>
                    <a:pt x="1031" y="4546"/>
                  </a:lnTo>
                  <a:lnTo>
                    <a:pt x="1010" y="4516"/>
                  </a:lnTo>
                  <a:lnTo>
                    <a:pt x="1000" y="4485"/>
                  </a:lnTo>
                  <a:lnTo>
                    <a:pt x="1012" y="4479"/>
                  </a:lnTo>
                  <a:lnTo>
                    <a:pt x="1019" y="4461"/>
                  </a:lnTo>
                  <a:lnTo>
                    <a:pt x="1016" y="4417"/>
                  </a:lnTo>
                  <a:lnTo>
                    <a:pt x="1030" y="4432"/>
                  </a:lnTo>
                  <a:lnTo>
                    <a:pt x="1041" y="4463"/>
                  </a:lnTo>
                  <a:lnTo>
                    <a:pt x="1036" y="4490"/>
                  </a:lnTo>
                  <a:lnTo>
                    <a:pt x="1060" y="4488"/>
                  </a:lnTo>
                  <a:lnTo>
                    <a:pt x="1070" y="4465"/>
                  </a:lnTo>
                  <a:lnTo>
                    <a:pt x="1057" y="4431"/>
                  </a:lnTo>
                  <a:lnTo>
                    <a:pt x="1060" y="4375"/>
                  </a:lnTo>
                  <a:lnTo>
                    <a:pt x="1068" y="4364"/>
                  </a:lnTo>
                  <a:lnTo>
                    <a:pt x="1077" y="4369"/>
                  </a:lnTo>
                  <a:lnTo>
                    <a:pt x="1101" y="4357"/>
                  </a:lnTo>
                  <a:lnTo>
                    <a:pt x="1118" y="4371"/>
                  </a:lnTo>
                  <a:lnTo>
                    <a:pt x="1115" y="4398"/>
                  </a:lnTo>
                  <a:lnTo>
                    <a:pt x="1087" y="4406"/>
                  </a:lnTo>
                  <a:lnTo>
                    <a:pt x="1084" y="4621"/>
                  </a:lnTo>
                  <a:lnTo>
                    <a:pt x="1112" y="4618"/>
                  </a:lnTo>
                  <a:lnTo>
                    <a:pt x="1143" y="4653"/>
                  </a:lnTo>
                  <a:lnTo>
                    <a:pt x="1168" y="4654"/>
                  </a:lnTo>
                  <a:lnTo>
                    <a:pt x="1184" y="4699"/>
                  </a:lnTo>
                  <a:lnTo>
                    <a:pt x="1174" y="4782"/>
                  </a:lnTo>
                  <a:lnTo>
                    <a:pt x="1191" y="4734"/>
                  </a:lnTo>
                  <a:lnTo>
                    <a:pt x="1203" y="4766"/>
                  </a:lnTo>
                  <a:lnTo>
                    <a:pt x="1235" y="4750"/>
                  </a:lnTo>
                  <a:lnTo>
                    <a:pt x="1281" y="4614"/>
                  </a:lnTo>
                  <a:lnTo>
                    <a:pt x="1274" y="4509"/>
                  </a:lnTo>
                  <a:lnTo>
                    <a:pt x="1330" y="4436"/>
                  </a:lnTo>
                  <a:lnTo>
                    <a:pt x="1336" y="4386"/>
                  </a:lnTo>
                  <a:lnTo>
                    <a:pt x="1438" y="4359"/>
                  </a:lnTo>
                  <a:lnTo>
                    <a:pt x="1465" y="4322"/>
                  </a:lnTo>
                  <a:lnTo>
                    <a:pt x="1478" y="4269"/>
                  </a:lnTo>
                  <a:lnTo>
                    <a:pt x="1464" y="4237"/>
                  </a:lnTo>
                  <a:lnTo>
                    <a:pt x="1503" y="4135"/>
                  </a:lnTo>
                  <a:lnTo>
                    <a:pt x="1487" y="4016"/>
                  </a:lnTo>
                  <a:lnTo>
                    <a:pt x="1456" y="3967"/>
                  </a:lnTo>
                  <a:lnTo>
                    <a:pt x="1468" y="3946"/>
                  </a:lnTo>
                  <a:lnTo>
                    <a:pt x="1522" y="3931"/>
                  </a:lnTo>
                  <a:lnTo>
                    <a:pt x="1562" y="3894"/>
                  </a:lnTo>
                  <a:lnTo>
                    <a:pt x="1590" y="3833"/>
                  </a:lnTo>
                  <a:lnTo>
                    <a:pt x="1588" y="3760"/>
                  </a:lnTo>
                  <a:lnTo>
                    <a:pt x="1523" y="3700"/>
                  </a:lnTo>
                  <a:lnTo>
                    <a:pt x="1497" y="3646"/>
                  </a:lnTo>
                  <a:lnTo>
                    <a:pt x="1523" y="3432"/>
                  </a:lnTo>
                  <a:lnTo>
                    <a:pt x="1515" y="3381"/>
                  </a:lnTo>
                  <a:lnTo>
                    <a:pt x="1505" y="3370"/>
                  </a:lnTo>
                  <a:lnTo>
                    <a:pt x="1556" y="3167"/>
                  </a:lnTo>
                  <a:lnTo>
                    <a:pt x="1580" y="3138"/>
                  </a:lnTo>
                  <a:lnTo>
                    <a:pt x="1566" y="3119"/>
                  </a:lnTo>
                  <a:lnTo>
                    <a:pt x="1549" y="3072"/>
                  </a:lnTo>
                  <a:lnTo>
                    <a:pt x="1547" y="3013"/>
                  </a:lnTo>
                  <a:lnTo>
                    <a:pt x="1594" y="2905"/>
                  </a:lnTo>
                  <a:lnTo>
                    <a:pt x="1684" y="2816"/>
                  </a:lnTo>
                  <a:lnTo>
                    <a:pt x="1742" y="2787"/>
                  </a:lnTo>
                  <a:lnTo>
                    <a:pt x="1811" y="2774"/>
                  </a:lnTo>
                  <a:lnTo>
                    <a:pt x="1911" y="2798"/>
                  </a:lnTo>
                  <a:lnTo>
                    <a:pt x="1946" y="2763"/>
                  </a:lnTo>
                  <a:lnTo>
                    <a:pt x="1964" y="2665"/>
                  </a:lnTo>
                  <a:lnTo>
                    <a:pt x="1906" y="2576"/>
                  </a:lnTo>
                  <a:lnTo>
                    <a:pt x="1905" y="2545"/>
                  </a:lnTo>
                  <a:lnTo>
                    <a:pt x="2035" y="2345"/>
                  </a:lnTo>
                  <a:lnTo>
                    <a:pt x="2092" y="2003"/>
                  </a:lnTo>
                  <a:lnTo>
                    <a:pt x="2114" y="1992"/>
                  </a:lnTo>
                  <a:lnTo>
                    <a:pt x="2148" y="1994"/>
                  </a:lnTo>
                  <a:lnTo>
                    <a:pt x="2202" y="1959"/>
                  </a:lnTo>
                  <a:lnTo>
                    <a:pt x="2251" y="1821"/>
                  </a:lnTo>
                  <a:lnTo>
                    <a:pt x="2415" y="1607"/>
                  </a:lnTo>
                  <a:lnTo>
                    <a:pt x="2412" y="1571"/>
                  </a:lnTo>
                  <a:lnTo>
                    <a:pt x="2379" y="1506"/>
                  </a:lnTo>
                  <a:lnTo>
                    <a:pt x="2390" y="1469"/>
                  </a:lnTo>
                  <a:lnTo>
                    <a:pt x="2450" y="1396"/>
                  </a:lnTo>
                  <a:lnTo>
                    <a:pt x="2471" y="1315"/>
                  </a:lnTo>
                  <a:lnTo>
                    <a:pt x="2550" y="1235"/>
                  </a:lnTo>
                  <a:lnTo>
                    <a:pt x="2583" y="1229"/>
                  </a:lnTo>
                  <a:lnTo>
                    <a:pt x="2616" y="1248"/>
                  </a:lnTo>
                  <a:lnTo>
                    <a:pt x="2641" y="1283"/>
                  </a:lnTo>
                  <a:lnTo>
                    <a:pt x="2653" y="1288"/>
                  </a:lnTo>
                  <a:lnTo>
                    <a:pt x="2680" y="1246"/>
                  </a:lnTo>
                  <a:lnTo>
                    <a:pt x="2702" y="1163"/>
                  </a:lnTo>
                  <a:lnTo>
                    <a:pt x="2698" y="1099"/>
                  </a:lnTo>
                  <a:lnTo>
                    <a:pt x="2712" y="1074"/>
                  </a:lnTo>
                  <a:lnTo>
                    <a:pt x="2727" y="1064"/>
                  </a:lnTo>
                  <a:lnTo>
                    <a:pt x="2751" y="1060"/>
                  </a:lnTo>
                  <a:lnTo>
                    <a:pt x="2952" y="1112"/>
                  </a:lnTo>
                  <a:lnTo>
                    <a:pt x="2975" y="1106"/>
                  </a:lnTo>
                  <a:lnTo>
                    <a:pt x="2993" y="1084"/>
                  </a:lnTo>
                  <a:lnTo>
                    <a:pt x="2966" y="1060"/>
                  </a:lnTo>
                  <a:lnTo>
                    <a:pt x="2962" y="1032"/>
                  </a:lnTo>
                  <a:lnTo>
                    <a:pt x="2980" y="1004"/>
                  </a:lnTo>
                  <a:lnTo>
                    <a:pt x="2989" y="964"/>
                  </a:lnTo>
                  <a:lnTo>
                    <a:pt x="3001" y="950"/>
                  </a:lnTo>
                  <a:lnTo>
                    <a:pt x="3005" y="927"/>
                  </a:lnTo>
                  <a:lnTo>
                    <a:pt x="3002" y="899"/>
                  </a:lnTo>
                  <a:lnTo>
                    <a:pt x="2989" y="885"/>
                  </a:lnTo>
                  <a:lnTo>
                    <a:pt x="2986" y="861"/>
                  </a:lnTo>
                  <a:lnTo>
                    <a:pt x="3000" y="853"/>
                  </a:lnTo>
                  <a:lnTo>
                    <a:pt x="3060" y="854"/>
                  </a:lnTo>
                  <a:lnTo>
                    <a:pt x="3068" y="833"/>
                  </a:lnTo>
                  <a:lnTo>
                    <a:pt x="3090" y="826"/>
                  </a:lnTo>
                  <a:lnTo>
                    <a:pt x="3111" y="835"/>
                  </a:lnTo>
                  <a:lnTo>
                    <a:pt x="3136" y="826"/>
                  </a:lnTo>
                  <a:lnTo>
                    <a:pt x="3125" y="765"/>
                  </a:lnTo>
                  <a:lnTo>
                    <a:pt x="3157" y="747"/>
                  </a:lnTo>
                  <a:lnTo>
                    <a:pt x="3193" y="761"/>
                  </a:lnTo>
                  <a:lnTo>
                    <a:pt x="3307" y="901"/>
                  </a:lnTo>
                  <a:lnTo>
                    <a:pt x="3322" y="950"/>
                  </a:lnTo>
                  <a:lnTo>
                    <a:pt x="3337" y="971"/>
                  </a:lnTo>
                  <a:lnTo>
                    <a:pt x="3405" y="978"/>
                  </a:lnTo>
                  <a:lnTo>
                    <a:pt x="3447" y="998"/>
                  </a:lnTo>
                  <a:lnTo>
                    <a:pt x="3478" y="992"/>
                  </a:lnTo>
                  <a:lnTo>
                    <a:pt x="3517" y="967"/>
                  </a:lnTo>
                  <a:lnTo>
                    <a:pt x="3561" y="913"/>
                  </a:lnTo>
                  <a:lnTo>
                    <a:pt x="3586" y="929"/>
                  </a:lnTo>
                  <a:lnTo>
                    <a:pt x="3622" y="984"/>
                  </a:lnTo>
                  <a:lnTo>
                    <a:pt x="3652" y="989"/>
                  </a:lnTo>
                  <a:lnTo>
                    <a:pt x="3723" y="941"/>
                  </a:lnTo>
                  <a:lnTo>
                    <a:pt x="3741" y="902"/>
                  </a:lnTo>
                  <a:lnTo>
                    <a:pt x="3805" y="848"/>
                  </a:lnTo>
                  <a:lnTo>
                    <a:pt x="3794" y="615"/>
                  </a:lnTo>
                  <a:lnTo>
                    <a:pt x="3819" y="533"/>
                  </a:lnTo>
                  <a:lnTo>
                    <a:pt x="3843" y="499"/>
                  </a:lnTo>
                  <a:lnTo>
                    <a:pt x="3874" y="477"/>
                  </a:lnTo>
                  <a:lnTo>
                    <a:pt x="3935" y="466"/>
                  </a:lnTo>
                  <a:lnTo>
                    <a:pt x="4083" y="394"/>
                  </a:lnTo>
                  <a:lnTo>
                    <a:pt x="4098" y="404"/>
                  </a:lnTo>
                  <a:lnTo>
                    <a:pt x="4130" y="452"/>
                  </a:lnTo>
                  <a:lnTo>
                    <a:pt x="4160" y="469"/>
                  </a:lnTo>
                  <a:lnTo>
                    <a:pt x="4206" y="481"/>
                  </a:lnTo>
                  <a:lnTo>
                    <a:pt x="4258" y="518"/>
                  </a:lnTo>
                  <a:lnTo>
                    <a:pt x="4295" y="624"/>
                  </a:lnTo>
                  <a:lnTo>
                    <a:pt x="4254" y="692"/>
                  </a:lnTo>
                  <a:lnTo>
                    <a:pt x="4248" y="724"/>
                  </a:lnTo>
                  <a:lnTo>
                    <a:pt x="4255" y="753"/>
                  </a:lnTo>
                  <a:lnTo>
                    <a:pt x="4283" y="768"/>
                  </a:lnTo>
                  <a:lnTo>
                    <a:pt x="4290" y="765"/>
                  </a:lnTo>
                  <a:lnTo>
                    <a:pt x="4308" y="739"/>
                  </a:lnTo>
                  <a:lnTo>
                    <a:pt x="4311" y="730"/>
                  </a:lnTo>
                  <a:lnTo>
                    <a:pt x="4309" y="701"/>
                  </a:lnTo>
                  <a:lnTo>
                    <a:pt x="4313" y="688"/>
                  </a:lnTo>
                  <a:lnTo>
                    <a:pt x="4388" y="628"/>
                  </a:lnTo>
                  <a:lnTo>
                    <a:pt x="4402" y="608"/>
                  </a:lnTo>
                  <a:lnTo>
                    <a:pt x="4406" y="528"/>
                  </a:lnTo>
                  <a:lnTo>
                    <a:pt x="4467" y="556"/>
                  </a:lnTo>
                  <a:lnTo>
                    <a:pt x="4496" y="542"/>
                  </a:lnTo>
                  <a:lnTo>
                    <a:pt x="4504" y="495"/>
                  </a:lnTo>
                  <a:lnTo>
                    <a:pt x="4501" y="468"/>
                  </a:lnTo>
                  <a:lnTo>
                    <a:pt x="4494" y="459"/>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2" name="Freeform 102"/>
            <p:cNvSpPr>
              <a:spLocks/>
            </p:cNvSpPr>
            <p:nvPr/>
          </p:nvSpPr>
          <p:spPr bwMode="auto">
            <a:xfrm>
              <a:off x="7626326" y="3064474"/>
              <a:ext cx="1885052" cy="1256420"/>
            </a:xfrm>
            <a:custGeom>
              <a:avLst/>
              <a:gdLst>
                <a:gd name="T0" fmla="*/ 0 w 4645"/>
                <a:gd name="T1" fmla="*/ 0 h 3096"/>
                <a:gd name="T2" fmla="*/ 0 w 4645"/>
                <a:gd name="T3" fmla="*/ 0 h 3096"/>
                <a:gd name="T4" fmla="*/ 0 w 4645"/>
                <a:gd name="T5" fmla="*/ 0 h 3096"/>
                <a:gd name="T6" fmla="*/ 0 w 4645"/>
                <a:gd name="T7" fmla="*/ 0 h 3096"/>
                <a:gd name="T8" fmla="*/ 0 w 4645"/>
                <a:gd name="T9" fmla="*/ 0 h 3096"/>
                <a:gd name="T10" fmla="*/ 0 w 4645"/>
                <a:gd name="T11" fmla="*/ 0 h 3096"/>
                <a:gd name="T12" fmla="*/ 0 w 4645"/>
                <a:gd name="T13" fmla="*/ 0 h 3096"/>
                <a:gd name="T14" fmla="*/ 0 w 4645"/>
                <a:gd name="T15" fmla="*/ 0 h 3096"/>
                <a:gd name="T16" fmla="*/ 0 w 4645"/>
                <a:gd name="T17" fmla="*/ 0 h 3096"/>
                <a:gd name="T18" fmla="*/ 0 w 4645"/>
                <a:gd name="T19" fmla="*/ 0 h 3096"/>
                <a:gd name="T20" fmla="*/ 0 w 4645"/>
                <a:gd name="T21" fmla="*/ 0 h 3096"/>
                <a:gd name="T22" fmla="*/ 0 w 4645"/>
                <a:gd name="T23" fmla="*/ 0 h 3096"/>
                <a:gd name="T24" fmla="*/ 0 w 4645"/>
                <a:gd name="T25" fmla="*/ 0 h 3096"/>
                <a:gd name="T26" fmla="*/ 0 w 4645"/>
                <a:gd name="T27" fmla="*/ 0 h 3096"/>
                <a:gd name="T28" fmla="*/ 0 w 4645"/>
                <a:gd name="T29" fmla="*/ 0 h 3096"/>
                <a:gd name="T30" fmla="*/ 0 w 4645"/>
                <a:gd name="T31" fmla="*/ 0 h 3096"/>
                <a:gd name="T32" fmla="*/ 0 w 4645"/>
                <a:gd name="T33" fmla="*/ 0 h 3096"/>
                <a:gd name="T34" fmla="*/ 0 w 4645"/>
                <a:gd name="T35" fmla="*/ 0 h 3096"/>
                <a:gd name="T36" fmla="*/ 0 w 4645"/>
                <a:gd name="T37" fmla="*/ 0 h 3096"/>
                <a:gd name="T38" fmla="*/ 0 w 4645"/>
                <a:gd name="T39" fmla="*/ 0 h 3096"/>
                <a:gd name="T40" fmla="*/ 0 w 4645"/>
                <a:gd name="T41" fmla="*/ 0 h 3096"/>
                <a:gd name="T42" fmla="*/ 0 w 4645"/>
                <a:gd name="T43" fmla="*/ 0 h 3096"/>
                <a:gd name="T44" fmla="*/ 0 w 4645"/>
                <a:gd name="T45" fmla="*/ 0 h 3096"/>
                <a:gd name="T46" fmla="*/ 0 w 4645"/>
                <a:gd name="T47" fmla="*/ 0 h 3096"/>
                <a:gd name="T48" fmla="*/ 0 w 4645"/>
                <a:gd name="T49" fmla="*/ 0 h 3096"/>
                <a:gd name="T50" fmla="*/ 0 w 4645"/>
                <a:gd name="T51" fmla="*/ 0 h 3096"/>
                <a:gd name="T52" fmla="*/ 0 w 4645"/>
                <a:gd name="T53" fmla="*/ 0 h 3096"/>
                <a:gd name="T54" fmla="*/ 0 w 4645"/>
                <a:gd name="T55" fmla="*/ 0 h 3096"/>
                <a:gd name="T56" fmla="*/ 0 w 4645"/>
                <a:gd name="T57" fmla="*/ 0 h 3096"/>
                <a:gd name="T58" fmla="*/ 0 w 4645"/>
                <a:gd name="T59" fmla="*/ 0 h 3096"/>
                <a:gd name="T60" fmla="*/ 0 w 4645"/>
                <a:gd name="T61" fmla="*/ 0 h 3096"/>
                <a:gd name="T62" fmla="*/ 0 w 4645"/>
                <a:gd name="T63" fmla="*/ 0 h 3096"/>
                <a:gd name="T64" fmla="*/ 0 w 4645"/>
                <a:gd name="T65" fmla="*/ 0 h 3096"/>
                <a:gd name="T66" fmla="*/ 0 w 4645"/>
                <a:gd name="T67" fmla="*/ 0 h 3096"/>
                <a:gd name="T68" fmla="*/ 0 w 4645"/>
                <a:gd name="T69" fmla="*/ 0 h 3096"/>
                <a:gd name="T70" fmla="*/ 0 w 4645"/>
                <a:gd name="T71" fmla="*/ 0 h 3096"/>
                <a:gd name="T72" fmla="*/ 0 w 4645"/>
                <a:gd name="T73" fmla="*/ 0 h 3096"/>
                <a:gd name="T74" fmla="*/ 0 w 4645"/>
                <a:gd name="T75" fmla="*/ 0 h 3096"/>
                <a:gd name="T76" fmla="*/ 0 w 4645"/>
                <a:gd name="T77" fmla="*/ 0 h 3096"/>
                <a:gd name="T78" fmla="*/ 0 w 4645"/>
                <a:gd name="T79" fmla="*/ 0 h 3096"/>
                <a:gd name="T80" fmla="*/ 0 w 4645"/>
                <a:gd name="T81" fmla="*/ 0 h 3096"/>
                <a:gd name="T82" fmla="*/ 0 w 4645"/>
                <a:gd name="T83" fmla="*/ 0 h 3096"/>
                <a:gd name="T84" fmla="*/ 0 w 4645"/>
                <a:gd name="T85" fmla="*/ 0 h 3096"/>
                <a:gd name="T86" fmla="*/ 0 w 4645"/>
                <a:gd name="T87" fmla="*/ 0 h 3096"/>
                <a:gd name="T88" fmla="*/ 0 w 4645"/>
                <a:gd name="T89" fmla="*/ 0 h 3096"/>
                <a:gd name="T90" fmla="*/ 0 w 4645"/>
                <a:gd name="T91" fmla="*/ 0 h 3096"/>
                <a:gd name="T92" fmla="*/ 0 w 4645"/>
                <a:gd name="T93" fmla="*/ 0 h 3096"/>
                <a:gd name="T94" fmla="*/ 0 w 4645"/>
                <a:gd name="T95" fmla="*/ 0 h 3096"/>
                <a:gd name="T96" fmla="*/ 0 w 4645"/>
                <a:gd name="T97" fmla="*/ 0 h 3096"/>
                <a:gd name="T98" fmla="*/ 0 w 4645"/>
                <a:gd name="T99" fmla="*/ 0 h 3096"/>
                <a:gd name="T100" fmla="*/ 0 w 4645"/>
                <a:gd name="T101" fmla="*/ 0 h 3096"/>
                <a:gd name="T102" fmla="*/ 0 w 4645"/>
                <a:gd name="T103" fmla="*/ 0 h 3096"/>
                <a:gd name="T104" fmla="*/ 0 w 4645"/>
                <a:gd name="T105" fmla="*/ 0 h 3096"/>
                <a:gd name="T106" fmla="*/ 0 w 4645"/>
                <a:gd name="T107" fmla="*/ 0 h 3096"/>
                <a:gd name="T108" fmla="*/ 0 w 4645"/>
                <a:gd name="T109" fmla="*/ 0 h 3096"/>
                <a:gd name="T110" fmla="*/ 0 w 4645"/>
                <a:gd name="T111" fmla="*/ 0 h 309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645"/>
                <a:gd name="T169" fmla="*/ 0 h 3096"/>
                <a:gd name="T170" fmla="*/ 4645 w 4645"/>
                <a:gd name="T171" fmla="*/ 3096 h 309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645" h="3096">
                  <a:moveTo>
                    <a:pt x="1193" y="1864"/>
                  </a:moveTo>
                  <a:lnTo>
                    <a:pt x="1158" y="1863"/>
                  </a:lnTo>
                  <a:lnTo>
                    <a:pt x="1000" y="1976"/>
                  </a:lnTo>
                  <a:lnTo>
                    <a:pt x="843" y="2010"/>
                  </a:lnTo>
                  <a:lnTo>
                    <a:pt x="767" y="2071"/>
                  </a:lnTo>
                  <a:lnTo>
                    <a:pt x="661" y="2005"/>
                  </a:lnTo>
                  <a:lnTo>
                    <a:pt x="229" y="2027"/>
                  </a:lnTo>
                  <a:lnTo>
                    <a:pt x="195" y="2042"/>
                  </a:lnTo>
                  <a:lnTo>
                    <a:pt x="173" y="1990"/>
                  </a:lnTo>
                  <a:lnTo>
                    <a:pt x="0" y="1874"/>
                  </a:lnTo>
                  <a:lnTo>
                    <a:pt x="78" y="1590"/>
                  </a:lnTo>
                  <a:lnTo>
                    <a:pt x="101" y="1596"/>
                  </a:lnTo>
                  <a:lnTo>
                    <a:pt x="150" y="1585"/>
                  </a:lnTo>
                  <a:lnTo>
                    <a:pt x="136" y="1525"/>
                  </a:lnTo>
                  <a:lnTo>
                    <a:pt x="141" y="1458"/>
                  </a:lnTo>
                  <a:lnTo>
                    <a:pt x="284" y="1185"/>
                  </a:lnTo>
                  <a:lnTo>
                    <a:pt x="450" y="1049"/>
                  </a:lnTo>
                  <a:lnTo>
                    <a:pt x="468" y="983"/>
                  </a:lnTo>
                  <a:lnTo>
                    <a:pt x="437" y="915"/>
                  </a:lnTo>
                  <a:lnTo>
                    <a:pt x="439" y="864"/>
                  </a:lnTo>
                  <a:lnTo>
                    <a:pt x="381" y="798"/>
                  </a:lnTo>
                  <a:lnTo>
                    <a:pt x="306" y="606"/>
                  </a:lnTo>
                  <a:lnTo>
                    <a:pt x="333" y="579"/>
                  </a:lnTo>
                  <a:lnTo>
                    <a:pt x="370" y="571"/>
                  </a:lnTo>
                  <a:lnTo>
                    <a:pt x="406" y="575"/>
                  </a:lnTo>
                  <a:lnTo>
                    <a:pt x="474" y="539"/>
                  </a:lnTo>
                  <a:lnTo>
                    <a:pt x="500" y="512"/>
                  </a:lnTo>
                  <a:lnTo>
                    <a:pt x="509" y="476"/>
                  </a:lnTo>
                  <a:lnTo>
                    <a:pt x="721" y="420"/>
                  </a:lnTo>
                  <a:lnTo>
                    <a:pt x="756" y="432"/>
                  </a:lnTo>
                  <a:lnTo>
                    <a:pt x="869" y="417"/>
                  </a:lnTo>
                  <a:lnTo>
                    <a:pt x="1007" y="466"/>
                  </a:lnTo>
                  <a:lnTo>
                    <a:pt x="1080" y="458"/>
                  </a:lnTo>
                  <a:lnTo>
                    <a:pt x="1113" y="473"/>
                  </a:lnTo>
                  <a:lnTo>
                    <a:pt x="1150" y="478"/>
                  </a:lnTo>
                  <a:lnTo>
                    <a:pt x="1183" y="492"/>
                  </a:lnTo>
                  <a:lnTo>
                    <a:pt x="1195" y="529"/>
                  </a:lnTo>
                  <a:lnTo>
                    <a:pt x="1225" y="551"/>
                  </a:lnTo>
                  <a:lnTo>
                    <a:pt x="1297" y="538"/>
                  </a:lnTo>
                  <a:lnTo>
                    <a:pt x="1306" y="575"/>
                  </a:lnTo>
                  <a:lnTo>
                    <a:pt x="1336" y="595"/>
                  </a:lnTo>
                  <a:lnTo>
                    <a:pt x="1363" y="569"/>
                  </a:lnTo>
                  <a:lnTo>
                    <a:pt x="1397" y="553"/>
                  </a:lnTo>
                  <a:lnTo>
                    <a:pt x="1434" y="548"/>
                  </a:lnTo>
                  <a:lnTo>
                    <a:pt x="1459" y="515"/>
                  </a:lnTo>
                  <a:lnTo>
                    <a:pt x="1491" y="536"/>
                  </a:lnTo>
                  <a:lnTo>
                    <a:pt x="1527" y="544"/>
                  </a:lnTo>
                  <a:lnTo>
                    <a:pt x="1562" y="531"/>
                  </a:lnTo>
                  <a:lnTo>
                    <a:pt x="1586" y="558"/>
                  </a:lnTo>
                  <a:lnTo>
                    <a:pt x="1620" y="576"/>
                  </a:lnTo>
                  <a:lnTo>
                    <a:pt x="1684" y="484"/>
                  </a:lnTo>
                  <a:lnTo>
                    <a:pt x="1749" y="521"/>
                  </a:lnTo>
                  <a:lnTo>
                    <a:pt x="1768" y="556"/>
                  </a:lnTo>
                  <a:lnTo>
                    <a:pt x="1799" y="576"/>
                  </a:lnTo>
                  <a:lnTo>
                    <a:pt x="1828" y="549"/>
                  </a:lnTo>
                  <a:lnTo>
                    <a:pt x="1974" y="520"/>
                  </a:lnTo>
                  <a:lnTo>
                    <a:pt x="2011" y="531"/>
                  </a:lnTo>
                  <a:lnTo>
                    <a:pt x="2037" y="557"/>
                  </a:lnTo>
                  <a:lnTo>
                    <a:pt x="2071" y="543"/>
                  </a:lnTo>
                  <a:lnTo>
                    <a:pt x="2084" y="506"/>
                  </a:lnTo>
                  <a:lnTo>
                    <a:pt x="2063" y="433"/>
                  </a:lnTo>
                  <a:lnTo>
                    <a:pt x="2068" y="396"/>
                  </a:lnTo>
                  <a:lnTo>
                    <a:pt x="2062" y="357"/>
                  </a:lnTo>
                  <a:lnTo>
                    <a:pt x="2071" y="321"/>
                  </a:lnTo>
                  <a:lnTo>
                    <a:pt x="2136" y="228"/>
                  </a:lnTo>
                  <a:lnTo>
                    <a:pt x="2168" y="207"/>
                  </a:lnTo>
                  <a:lnTo>
                    <a:pt x="2205" y="201"/>
                  </a:lnTo>
                  <a:lnTo>
                    <a:pt x="2235" y="177"/>
                  </a:lnTo>
                  <a:lnTo>
                    <a:pt x="2323" y="161"/>
                  </a:lnTo>
                  <a:lnTo>
                    <a:pt x="2321" y="161"/>
                  </a:lnTo>
                  <a:lnTo>
                    <a:pt x="2352" y="181"/>
                  </a:lnTo>
                  <a:lnTo>
                    <a:pt x="2385" y="185"/>
                  </a:lnTo>
                  <a:lnTo>
                    <a:pt x="2416" y="164"/>
                  </a:lnTo>
                  <a:lnTo>
                    <a:pt x="2434" y="133"/>
                  </a:lnTo>
                  <a:lnTo>
                    <a:pt x="2436" y="96"/>
                  </a:lnTo>
                  <a:lnTo>
                    <a:pt x="2463" y="69"/>
                  </a:lnTo>
                  <a:lnTo>
                    <a:pt x="2576" y="65"/>
                  </a:lnTo>
                  <a:lnTo>
                    <a:pt x="2640" y="31"/>
                  </a:lnTo>
                  <a:lnTo>
                    <a:pt x="2711" y="29"/>
                  </a:lnTo>
                  <a:lnTo>
                    <a:pt x="2777" y="0"/>
                  </a:lnTo>
                  <a:lnTo>
                    <a:pt x="2840" y="33"/>
                  </a:lnTo>
                  <a:lnTo>
                    <a:pt x="2863" y="61"/>
                  </a:lnTo>
                  <a:lnTo>
                    <a:pt x="2871" y="98"/>
                  </a:lnTo>
                  <a:lnTo>
                    <a:pt x="2962" y="161"/>
                  </a:lnTo>
                  <a:lnTo>
                    <a:pt x="2970" y="200"/>
                  </a:lnTo>
                  <a:lnTo>
                    <a:pt x="2938" y="227"/>
                  </a:lnTo>
                  <a:lnTo>
                    <a:pt x="2905" y="236"/>
                  </a:lnTo>
                  <a:lnTo>
                    <a:pt x="2966" y="365"/>
                  </a:lnTo>
                  <a:lnTo>
                    <a:pt x="3037" y="389"/>
                  </a:lnTo>
                  <a:lnTo>
                    <a:pt x="3111" y="394"/>
                  </a:lnTo>
                  <a:lnTo>
                    <a:pt x="3141" y="373"/>
                  </a:lnTo>
                  <a:lnTo>
                    <a:pt x="3176" y="366"/>
                  </a:lnTo>
                  <a:lnTo>
                    <a:pt x="3198" y="396"/>
                  </a:lnTo>
                  <a:lnTo>
                    <a:pt x="3255" y="441"/>
                  </a:lnTo>
                  <a:lnTo>
                    <a:pt x="3314" y="556"/>
                  </a:lnTo>
                  <a:lnTo>
                    <a:pt x="3309" y="594"/>
                  </a:lnTo>
                  <a:lnTo>
                    <a:pt x="3329" y="626"/>
                  </a:lnTo>
                  <a:lnTo>
                    <a:pt x="3400" y="657"/>
                  </a:lnTo>
                  <a:lnTo>
                    <a:pt x="3429" y="633"/>
                  </a:lnTo>
                  <a:lnTo>
                    <a:pt x="3462" y="617"/>
                  </a:lnTo>
                  <a:lnTo>
                    <a:pt x="3499" y="617"/>
                  </a:lnTo>
                  <a:lnTo>
                    <a:pt x="3562" y="655"/>
                  </a:lnTo>
                  <a:lnTo>
                    <a:pt x="3596" y="636"/>
                  </a:lnTo>
                  <a:lnTo>
                    <a:pt x="3633" y="644"/>
                  </a:lnTo>
                  <a:lnTo>
                    <a:pt x="3793" y="535"/>
                  </a:lnTo>
                  <a:lnTo>
                    <a:pt x="3829" y="539"/>
                  </a:lnTo>
                  <a:lnTo>
                    <a:pt x="3994" y="695"/>
                  </a:lnTo>
                  <a:lnTo>
                    <a:pt x="4031" y="685"/>
                  </a:lnTo>
                  <a:lnTo>
                    <a:pt x="4036" y="644"/>
                  </a:lnTo>
                  <a:lnTo>
                    <a:pt x="4074" y="638"/>
                  </a:lnTo>
                  <a:lnTo>
                    <a:pt x="4103" y="663"/>
                  </a:lnTo>
                  <a:lnTo>
                    <a:pt x="4140" y="658"/>
                  </a:lnTo>
                  <a:lnTo>
                    <a:pt x="4179" y="665"/>
                  </a:lnTo>
                  <a:lnTo>
                    <a:pt x="4211" y="685"/>
                  </a:lnTo>
                  <a:lnTo>
                    <a:pt x="4283" y="662"/>
                  </a:lnTo>
                  <a:lnTo>
                    <a:pt x="4352" y="688"/>
                  </a:lnTo>
                  <a:lnTo>
                    <a:pt x="4388" y="677"/>
                  </a:lnTo>
                  <a:lnTo>
                    <a:pt x="4457" y="710"/>
                  </a:lnTo>
                  <a:lnTo>
                    <a:pt x="4533" y="695"/>
                  </a:lnTo>
                  <a:lnTo>
                    <a:pt x="4568" y="707"/>
                  </a:lnTo>
                  <a:lnTo>
                    <a:pt x="4540" y="735"/>
                  </a:lnTo>
                  <a:lnTo>
                    <a:pt x="4605" y="832"/>
                  </a:lnTo>
                  <a:lnTo>
                    <a:pt x="4587" y="910"/>
                  </a:lnTo>
                  <a:lnTo>
                    <a:pt x="4519" y="945"/>
                  </a:lnTo>
                  <a:lnTo>
                    <a:pt x="4550" y="970"/>
                  </a:lnTo>
                  <a:lnTo>
                    <a:pt x="4589" y="967"/>
                  </a:lnTo>
                  <a:lnTo>
                    <a:pt x="4618" y="992"/>
                  </a:lnTo>
                  <a:lnTo>
                    <a:pt x="4551" y="1032"/>
                  </a:lnTo>
                  <a:lnTo>
                    <a:pt x="4544" y="1069"/>
                  </a:lnTo>
                  <a:lnTo>
                    <a:pt x="4550" y="1108"/>
                  </a:lnTo>
                  <a:lnTo>
                    <a:pt x="4580" y="1131"/>
                  </a:lnTo>
                  <a:lnTo>
                    <a:pt x="4604" y="1163"/>
                  </a:lnTo>
                  <a:lnTo>
                    <a:pt x="4605" y="1203"/>
                  </a:lnTo>
                  <a:lnTo>
                    <a:pt x="4641" y="1212"/>
                  </a:lnTo>
                  <a:lnTo>
                    <a:pt x="4645" y="1411"/>
                  </a:lnTo>
                  <a:lnTo>
                    <a:pt x="4612" y="1436"/>
                  </a:lnTo>
                  <a:lnTo>
                    <a:pt x="4536" y="1438"/>
                  </a:lnTo>
                  <a:lnTo>
                    <a:pt x="4500" y="1454"/>
                  </a:lnTo>
                  <a:lnTo>
                    <a:pt x="4423" y="1434"/>
                  </a:lnTo>
                  <a:lnTo>
                    <a:pt x="4377" y="1543"/>
                  </a:lnTo>
                  <a:lnTo>
                    <a:pt x="4311" y="1590"/>
                  </a:lnTo>
                  <a:lnTo>
                    <a:pt x="4295" y="1667"/>
                  </a:lnTo>
                  <a:lnTo>
                    <a:pt x="4327" y="1778"/>
                  </a:lnTo>
                  <a:lnTo>
                    <a:pt x="4159" y="1852"/>
                  </a:lnTo>
                  <a:lnTo>
                    <a:pt x="4124" y="1910"/>
                  </a:lnTo>
                  <a:lnTo>
                    <a:pt x="4088" y="1915"/>
                  </a:lnTo>
                  <a:lnTo>
                    <a:pt x="4006" y="1973"/>
                  </a:lnTo>
                  <a:lnTo>
                    <a:pt x="4005" y="2034"/>
                  </a:lnTo>
                  <a:lnTo>
                    <a:pt x="3939" y="2012"/>
                  </a:lnTo>
                  <a:lnTo>
                    <a:pt x="3842" y="2090"/>
                  </a:lnTo>
                  <a:lnTo>
                    <a:pt x="3832" y="2116"/>
                  </a:lnTo>
                  <a:lnTo>
                    <a:pt x="3820" y="2093"/>
                  </a:lnTo>
                  <a:lnTo>
                    <a:pt x="3773" y="2122"/>
                  </a:lnTo>
                  <a:lnTo>
                    <a:pt x="3735" y="2132"/>
                  </a:lnTo>
                  <a:lnTo>
                    <a:pt x="3673" y="2220"/>
                  </a:lnTo>
                  <a:lnTo>
                    <a:pt x="3657" y="2226"/>
                  </a:lnTo>
                  <a:lnTo>
                    <a:pt x="3613" y="2347"/>
                  </a:lnTo>
                  <a:lnTo>
                    <a:pt x="3581" y="2371"/>
                  </a:lnTo>
                  <a:lnTo>
                    <a:pt x="3587" y="2342"/>
                  </a:lnTo>
                  <a:lnTo>
                    <a:pt x="3615" y="2318"/>
                  </a:lnTo>
                  <a:lnTo>
                    <a:pt x="3633" y="2290"/>
                  </a:lnTo>
                  <a:lnTo>
                    <a:pt x="3597" y="2221"/>
                  </a:lnTo>
                  <a:lnTo>
                    <a:pt x="3574" y="2227"/>
                  </a:lnTo>
                  <a:lnTo>
                    <a:pt x="3564" y="2304"/>
                  </a:lnTo>
                  <a:lnTo>
                    <a:pt x="3527" y="2364"/>
                  </a:lnTo>
                  <a:lnTo>
                    <a:pt x="3561" y="2478"/>
                  </a:lnTo>
                  <a:lnTo>
                    <a:pt x="3538" y="2482"/>
                  </a:lnTo>
                  <a:lnTo>
                    <a:pt x="3533" y="2464"/>
                  </a:lnTo>
                  <a:lnTo>
                    <a:pt x="3496" y="2413"/>
                  </a:lnTo>
                  <a:lnTo>
                    <a:pt x="3498" y="2394"/>
                  </a:lnTo>
                  <a:lnTo>
                    <a:pt x="3483" y="2376"/>
                  </a:lnTo>
                  <a:lnTo>
                    <a:pt x="3454" y="2406"/>
                  </a:lnTo>
                  <a:lnTo>
                    <a:pt x="3440" y="2443"/>
                  </a:lnTo>
                  <a:lnTo>
                    <a:pt x="3430" y="2436"/>
                  </a:lnTo>
                  <a:lnTo>
                    <a:pt x="3436" y="2402"/>
                  </a:lnTo>
                  <a:lnTo>
                    <a:pt x="3421" y="2388"/>
                  </a:lnTo>
                  <a:lnTo>
                    <a:pt x="3356" y="2400"/>
                  </a:lnTo>
                  <a:lnTo>
                    <a:pt x="3348" y="2389"/>
                  </a:lnTo>
                  <a:lnTo>
                    <a:pt x="3336" y="2349"/>
                  </a:lnTo>
                  <a:lnTo>
                    <a:pt x="3314" y="2328"/>
                  </a:lnTo>
                  <a:lnTo>
                    <a:pt x="3319" y="2399"/>
                  </a:lnTo>
                  <a:lnTo>
                    <a:pt x="3307" y="2407"/>
                  </a:lnTo>
                  <a:lnTo>
                    <a:pt x="3213" y="2396"/>
                  </a:lnTo>
                  <a:lnTo>
                    <a:pt x="3240" y="2409"/>
                  </a:lnTo>
                  <a:lnTo>
                    <a:pt x="3269" y="2435"/>
                  </a:lnTo>
                  <a:lnTo>
                    <a:pt x="3290" y="2425"/>
                  </a:lnTo>
                  <a:lnTo>
                    <a:pt x="3306" y="2431"/>
                  </a:lnTo>
                  <a:lnTo>
                    <a:pt x="3322" y="2457"/>
                  </a:lnTo>
                  <a:lnTo>
                    <a:pt x="3331" y="2486"/>
                  </a:lnTo>
                  <a:lnTo>
                    <a:pt x="3352" y="2503"/>
                  </a:lnTo>
                  <a:lnTo>
                    <a:pt x="3363" y="2489"/>
                  </a:lnTo>
                  <a:lnTo>
                    <a:pt x="3359" y="2454"/>
                  </a:lnTo>
                  <a:lnTo>
                    <a:pt x="3408" y="2455"/>
                  </a:lnTo>
                  <a:lnTo>
                    <a:pt x="3436" y="2468"/>
                  </a:lnTo>
                  <a:lnTo>
                    <a:pt x="3462" y="2462"/>
                  </a:lnTo>
                  <a:lnTo>
                    <a:pt x="3451" y="2527"/>
                  </a:lnTo>
                  <a:lnTo>
                    <a:pt x="3465" y="2534"/>
                  </a:lnTo>
                  <a:lnTo>
                    <a:pt x="3494" y="2512"/>
                  </a:lnTo>
                  <a:lnTo>
                    <a:pt x="3507" y="2519"/>
                  </a:lnTo>
                  <a:lnTo>
                    <a:pt x="3506" y="2563"/>
                  </a:lnTo>
                  <a:lnTo>
                    <a:pt x="3568" y="2545"/>
                  </a:lnTo>
                  <a:lnTo>
                    <a:pt x="3606" y="2578"/>
                  </a:lnTo>
                  <a:lnTo>
                    <a:pt x="3641" y="2679"/>
                  </a:lnTo>
                  <a:lnTo>
                    <a:pt x="3652" y="2656"/>
                  </a:lnTo>
                  <a:lnTo>
                    <a:pt x="3747" y="2662"/>
                  </a:lnTo>
                  <a:lnTo>
                    <a:pt x="3747" y="2629"/>
                  </a:lnTo>
                  <a:lnTo>
                    <a:pt x="3810" y="2662"/>
                  </a:lnTo>
                  <a:lnTo>
                    <a:pt x="3854" y="2583"/>
                  </a:lnTo>
                  <a:lnTo>
                    <a:pt x="3874" y="2575"/>
                  </a:lnTo>
                  <a:lnTo>
                    <a:pt x="3891" y="2599"/>
                  </a:lnTo>
                  <a:lnTo>
                    <a:pt x="3926" y="2570"/>
                  </a:lnTo>
                  <a:lnTo>
                    <a:pt x="3989" y="2541"/>
                  </a:lnTo>
                  <a:lnTo>
                    <a:pt x="4046" y="2534"/>
                  </a:lnTo>
                  <a:lnTo>
                    <a:pt x="4046" y="2578"/>
                  </a:lnTo>
                  <a:lnTo>
                    <a:pt x="4030" y="2602"/>
                  </a:lnTo>
                  <a:lnTo>
                    <a:pt x="4044" y="2697"/>
                  </a:lnTo>
                  <a:lnTo>
                    <a:pt x="3953" y="2719"/>
                  </a:lnTo>
                  <a:lnTo>
                    <a:pt x="3940" y="2741"/>
                  </a:lnTo>
                  <a:lnTo>
                    <a:pt x="3773" y="2726"/>
                  </a:lnTo>
                  <a:lnTo>
                    <a:pt x="3666" y="2887"/>
                  </a:lnTo>
                  <a:lnTo>
                    <a:pt x="3603" y="2885"/>
                  </a:lnTo>
                  <a:lnTo>
                    <a:pt x="3533" y="2921"/>
                  </a:lnTo>
                  <a:lnTo>
                    <a:pt x="3563" y="2932"/>
                  </a:lnTo>
                  <a:lnTo>
                    <a:pt x="3532" y="2945"/>
                  </a:lnTo>
                  <a:lnTo>
                    <a:pt x="3513" y="2985"/>
                  </a:lnTo>
                  <a:lnTo>
                    <a:pt x="3512" y="3011"/>
                  </a:lnTo>
                  <a:lnTo>
                    <a:pt x="3501" y="3030"/>
                  </a:lnTo>
                  <a:lnTo>
                    <a:pt x="3468" y="3042"/>
                  </a:lnTo>
                  <a:lnTo>
                    <a:pt x="3416" y="3089"/>
                  </a:lnTo>
                  <a:lnTo>
                    <a:pt x="3316" y="3096"/>
                  </a:lnTo>
                  <a:lnTo>
                    <a:pt x="3248" y="3057"/>
                  </a:lnTo>
                  <a:lnTo>
                    <a:pt x="3264" y="3016"/>
                  </a:lnTo>
                  <a:lnTo>
                    <a:pt x="3242" y="2876"/>
                  </a:lnTo>
                  <a:lnTo>
                    <a:pt x="3208" y="2824"/>
                  </a:lnTo>
                  <a:lnTo>
                    <a:pt x="3173" y="2819"/>
                  </a:lnTo>
                  <a:lnTo>
                    <a:pt x="3138" y="2831"/>
                  </a:lnTo>
                  <a:lnTo>
                    <a:pt x="3031" y="2772"/>
                  </a:lnTo>
                  <a:lnTo>
                    <a:pt x="2950" y="2786"/>
                  </a:lnTo>
                  <a:lnTo>
                    <a:pt x="2944" y="2773"/>
                  </a:lnTo>
                  <a:lnTo>
                    <a:pt x="2957" y="2738"/>
                  </a:lnTo>
                  <a:lnTo>
                    <a:pt x="3001" y="2705"/>
                  </a:lnTo>
                  <a:lnTo>
                    <a:pt x="3093" y="2588"/>
                  </a:lnTo>
                  <a:lnTo>
                    <a:pt x="3224" y="2523"/>
                  </a:lnTo>
                  <a:lnTo>
                    <a:pt x="3242" y="2504"/>
                  </a:lnTo>
                  <a:lnTo>
                    <a:pt x="3219" y="2497"/>
                  </a:lnTo>
                  <a:lnTo>
                    <a:pt x="3208" y="2459"/>
                  </a:lnTo>
                  <a:lnTo>
                    <a:pt x="3170" y="2435"/>
                  </a:lnTo>
                  <a:lnTo>
                    <a:pt x="3150" y="2473"/>
                  </a:lnTo>
                  <a:lnTo>
                    <a:pt x="3097" y="2454"/>
                  </a:lnTo>
                  <a:lnTo>
                    <a:pt x="3091" y="2433"/>
                  </a:lnTo>
                  <a:lnTo>
                    <a:pt x="3048" y="2454"/>
                  </a:lnTo>
                  <a:lnTo>
                    <a:pt x="3045" y="2469"/>
                  </a:lnTo>
                  <a:lnTo>
                    <a:pt x="2906" y="2520"/>
                  </a:lnTo>
                  <a:lnTo>
                    <a:pt x="2820" y="2504"/>
                  </a:lnTo>
                  <a:lnTo>
                    <a:pt x="2785" y="2476"/>
                  </a:lnTo>
                  <a:lnTo>
                    <a:pt x="2755" y="2473"/>
                  </a:lnTo>
                  <a:lnTo>
                    <a:pt x="2698" y="2487"/>
                  </a:lnTo>
                  <a:lnTo>
                    <a:pt x="2690" y="2468"/>
                  </a:lnTo>
                  <a:lnTo>
                    <a:pt x="2747" y="2409"/>
                  </a:lnTo>
                  <a:lnTo>
                    <a:pt x="2737" y="2395"/>
                  </a:lnTo>
                  <a:lnTo>
                    <a:pt x="2658" y="2399"/>
                  </a:lnTo>
                  <a:lnTo>
                    <a:pt x="2629" y="2391"/>
                  </a:lnTo>
                  <a:lnTo>
                    <a:pt x="2665" y="2367"/>
                  </a:lnTo>
                  <a:lnTo>
                    <a:pt x="2790" y="2365"/>
                  </a:lnTo>
                  <a:lnTo>
                    <a:pt x="2799" y="2355"/>
                  </a:lnTo>
                  <a:lnTo>
                    <a:pt x="2785" y="2342"/>
                  </a:lnTo>
                  <a:lnTo>
                    <a:pt x="2755" y="2340"/>
                  </a:lnTo>
                  <a:lnTo>
                    <a:pt x="2685" y="2257"/>
                  </a:lnTo>
                  <a:lnTo>
                    <a:pt x="2679" y="2296"/>
                  </a:lnTo>
                  <a:lnTo>
                    <a:pt x="2601" y="2341"/>
                  </a:lnTo>
                  <a:lnTo>
                    <a:pt x="2601" y="2290"/>
                  </a:lnTo>
                  <a:lnTo>
                    <a:pt x="2523" y="2356"/>
                  </a:lnTo>
                  <a:lnTo>
                    <a:pt x="2382" y="2418"/>
                  </a:lnTo>
                  <a:lnTo>
                    <a:pt x="2382" y="2462"/>
                  </a:lnTo>
                  <a:lnTo>
                    <a:pt x="2338" y="2555"/>
                  </a:lnTo>
                  <a:lnTo>
                    <a:pt x="2318" y="2553"/>
                  </a:lnTo>
                  <a:lnTo>
                    <a:pt x="2295" y="2516"/>
                  </a:lnTo>
                  <a:lnTo>
                    <a:pt x="2251" y="2513"/>
                  </a:lnTo>
                  <a:lnTo>
                    <a:pt x="2230" y="2495"/>
                  </a:lnTo>
                  <a:lnTo>
                    <a:pt x="2248" y="2526"/>
                  </a:lnTo>
                  <a:lnTo>
                    <a:pt x="2297" y="2559"/>
                  </a:lnTo>
                  <a:lnTo>
                    <a:pt x="2314" y="2611"/>
                  </a:lnTo>
                  <a:lnTo>
                    <a:pt x="2270" y="2700"/>
                  </a:lnTo>
                  <a:lnTo>
                    <a:pt x="2201" y="2712"/>
                  </a:lnTo>
                  <a:lnTo>
                    <a:pt x="2193" y="2738"/>
                  </a:lnTo>
                  <a:lnTo>
                    <a:pt x="2165" y="2757"/>
                  </a:lnTo>
                  <a:lnTo>
                    <a:pt x="2166" y="2794"/>
                  </a:lnTo>
                  <a:lnTo>
                    <a:pt x="2141" y="2785"/>
                  </a:lnTo>
                  <a:lnTo>
                    <a:pt x="2129" y="2737"/>
                  </a:lnTo>
                  <a:lnTo>
                    <a:pt x="2117" y="2716"/>
                  </a:lnTo>
                  <a:lnTo>
                    <a:pt x="2148" y="2888"/>
                  </a:lnTo>
                  <a:lnTo>
                    <a:pt x="2133" y="2896"/>
                  </a:lnTo>
                  <a:lnTo>
                    <a:pt x="2104" y="2885"/>
                  </a:lnTo>
                  <a:lnTo>
                    <a:pt x="2061" y="2887"/>
                  </a:lnTo>
                  <a:lnTo>
                    <a:pt x="1943" y="2932"/>
                  </a:lnTo>
                  <a:lnTo>
                    <a:pt x="1895" y="2977"/>
                  </a:lnTo>
                  <a:lnTo>
                    <a:pt x="1842" y="2987"/>
                  </a:lnTo>
                  <a:lnTo>
                    <a:pt x="1768" y="2909"/>
                  </a:lnTo>
                  <a:lnTo>
                    <a:pt x="1726" y="2919"/>
                  </a:lnTo>
                  <a:lnTo>
                    <a:pt x="1725" y="2902"/>
                  </a:lnTo>
                  <a:lnTo>
                    <a:pt x="1772" y="2896"/>
                  </a:lnTo>
                  <a:lnTo>
                    <a:pt x="1797" y="2865"/>
                  </a:lnTo>
                  <a:lnTo>
                    <a:pt x="1795" y="2823"/>
                  </a:lnTo>
                  <a:lnTo>
                    <a:pt x="1807" y="2785"/>
                  </a:lnTo>
                  <a:lnTo>
                    <a:pt x="1843" y="2758"/>
                  </a:lnTo>
                  <a:lnTo>
                    <a:pt x="1843" y="2717"/>
                  </a:lnTo>
                  <a:lnTo>
                    <a:pt x="1866" y="2684"/>
                  </a:lnTo>
                  <a:lnTo>
                    <a:pt x="1902" y="2662"/>
                  </a:lnTo>
                  <a:lnTo>
                    <a:pt x="1902" y="2540"/>
                  </a:lnTo>
                  <a:lnTo>
                    <a:pt x="1916" y="2500"/>
                  </a:lnTo>
                  <a:lnTo>
                    <a:pt x="1951" y="2478"/>
                  </a:lnTo>
                  <a:lnTo>
                    <a:pt x="1976" y="2510"/>
                  </a:lnTo>
                  <a:lnTo>
                    <a:pt x="2008" y="2486"/>
                  </a:lnTo>
                  <a:lnTo>
                    <a:pt x="2127" y="2500"/>
                  </a:lnTo>
                  <a:lnTo>
                    <a:pt x="2158" y="2474"/>
                  </a:lnTo>
                  <a:lnTo>
                    <a:pt x="2170" y="2435"/>
                  </a:lnTo>
                  <a:lnTo>
                    <a:pt x="2148" y="2398"/>
                  </a:lnTo>
                  <a:lnTo>
                    <a:pt x="2151" y="2358"/>
                  </a:lnTo>
                  <a:lnTo>
                    <a:pt x="2140" y="2321"/>
                  </a:lnTo>
                  <a:lnTo>
                    <a:pt x="2115" y="2289"/>
                  </a:lnTo>
                  <a:lnTo>
                    <a:pt x="2040" y="2262"/>
                  </a:lnTo>
                  <a:lnTo>
                    <a:pt x="1998" y="2195"/>
                  </a:lnTo>
                  <a:lnTo>
                    <a:pt x="2002" y="2154"/>
                  </a:lnTo>
                  <a:lnTo>
                    <a:pt x="1986" y="2118"/>
                  </a:lnTo>
                  <a:lnTo>
                    <a:pt x="1945" y="2117"/>
                  </a:lnTo>
                  <a:lnTo>
                    <a:pt x="1922" y="2085"/>
                  </a:lnTo>
                  <a:lnTo>
                    <a:pt x="1888" y="2061"/>
                  </a:lnTo>
                  <a:lnTo>
                    <a:pt x="1885" y="1905"/>
                  </a:lnTo>
                  <a:lnTo>
                    <a:pt x="1862" y="1873"/>
                  </a:lnTo>
                  <a:lnTo>
                    <a:pt x="1824" y="1885"/>
                  </a:lnTo>
                  <a:lnTo>
                    <a:pt x="1763" y="1838"/>
                  </a:lnTo>
                  <a:lnTo>
                    <a:pt x="1724" y="1832"/>
                  </a:lnTo>
                  <a:lnTo>
                    <a:pt x="1648" y="1854"/>
                  </a:lnTo>
                  <a:lnTo>
                    <a:pt x="1611" y="1847"/>
                  </a:lnTo>
                  <a:lnTo>
                    <a:pt x="1477" y="1765"/>
                  </a:lnTo>
                  <a:lnTo>
                    <a:pt x="1397" y="1749"/>
                  </a:lnTo>
                  <a:lnTo>
                    <a:pt x="1284" y="1790"/>
                  </a:lnTo>
                  <a:lnTo>
                    <a:pt x="1246" y="1786"/>
                  </a:lnTo>
                  <a:lnTo>
                    <a:pt x="1215" y="1809"/>
                  </a:lnTo>
                  <a:lnTo>
                    <a:pt x="1193" y="1864"/>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3" name="Freeform 104"/>
            <p:cNvSpPr>
              <a:spLocks/>
            </p:cNvSpPr>
            <p:nvPr/>
          </p:nvSpPr>
          <p:spPr bwMode="auto">
            <a:xfrm>
              <a:off x="6576742" y="3368615"/>
              <a:ext cx="705320" cy="436286"/>
            </a:xfrm>
            <a:custGeom>
              <a:avLst/>
              <a:gdLst>
                <a:gd name="T0" fmla="*/ 0 w 1740"/>
                <a:gd name="T1" fmla="*/ 0 h 1071"/>
                <a:gd name="T2" fmla="*/ 0 w 1740"/>
                <a:gd name="T3" fmla="*/ 0 h 1071"/>
                <a:gd name="T4" fmla="*/ 0 w 1740"/>
                <a:gd name="T5" fmla="*/ 0 h 1071"/>
                <a:gd name="T6" fmla="*/ 0 w 1740"/>
                <a:gd name="T7" fmla="*/ 0 h 1071"/>
                <a:gd name="T8" fmla="*/ 0 w 1740"/>
                <a:gd name="T9" fmla="*/ 0 h 1071"/>
                <a:gd name="T10" fmla="*/ 0 w 1740"/>
                <a:gd name="T11" fmla="*/ 0 h 1071"/>
                <a:gd name="T12" fmla="*/ 0 w 1740"/>
                <a:gd name="T13" fmla="*/ 0 h 1071"/>
                <a:gd name="T14" fmla="*/ 0 w 1740"/>
                <a:gd name="T15" fmla="*/ 0 h 1071"/>
                <a:gd name="T16" fmla="*/ 0 w 1740"/>
                <a:gd name="T17" fmla="*/ 0 h 1071"/>
                <a:gd name="T18" fmla="*/ 0 w 1740"/>
                <a:gd name="T19" fmla="*/ 0 h 1071"/>
                <a:gd name="T20" fmla="*/ 0 w 1740"/>
                <a:gd name="T21" fmla="*/ 0 h 1071"/>
                <a:gd name="T22" fmla="*/ 0 w 1740"/>
                <a:gd name="T23" fmla="*/ 0 h 1071"/>
                <a:gd name="T24" fmla="*/ 0 w 1740"/>
                <a:gd name="T25" fmla="*/ 0 h 1071"/>
                <a:gd name="T26" fmla="*/ 0 w 1740"/>
                <a:gd name="T27" fmla="*/ 0 h 1071"/>
                <a:gd name="T28" fmla="*/ 0 w 1740"/>
                <a:gd name="T29" fmla="*/ 0 h 1071"/>
                <a:gd name="T30" fmla="*/ 0 w 1740"/>
                <a:gd name="T31" fmla="*/ 0 h 1071"/>
                <a:gd name="T32" fmla="*/ 0 w 1740"/>
                <a:gd name="T33" fmla="*/ 0 h 1071"/>
                <a:gd name="T34" fmla="*/ 0 w 1740"/>
                <a:gd name="T35" fmla="*/ 0 h 1071"/>
                <a:gd name="T36" fmla="*/ 0 w 1740"/>
                <a:gd name="T37" fmla="*/ 0 h 1071"/>
                <a:gd name="T38" fmla="*/ 0 w 1740"/>
                <a:gd name="T39" fmla="*/ 0 h 1071"/>
                <a:gd name="T40" fmla="*/ 0 w 1740"/>
                <a:gd name="T41" fmla="*/ 0 h 1071"/>
                <a:gd name="T42" fmla="*/ 0 w 1740"/>
                <a:gd name="T43" fmla="*/ 0 h 1071"/>
                <a:gd name="T44" fmla="*/ 0 w 1740"/>
                <a:gd name="T45" fmla="*/ 0 h 1071"/>
                <a:gd name="T46" fmla="*/ 0 w 1740"/>
                <a:gd name="T47" fmla="*/ 0 h 1071"/>
                <a:gd name="T48" fmla="*/ 0 w 1740"/>
                <a:gd name="T49" fmla="*/ 0 h 1071"/>
                <a:gd name="T50" fmla="*/ 0 w 1740"/>
                <a:gd name="T51" fmla="*/ 0 h 1071"/>
                <a:gd name="T52" fmla="*/ 0 w 1740"/>
                <a:gd name="T53" fmla="*/ 0 h 1071"/>
                <a:gd name="T54" fmla="*/ 0 w 1740"/>
                <a:gd name="T55" fmla="*/ 0 h 1071"/>
                <a:gd name="T56" fmla="*/ 0 w 1740"/>
                <a:gd name="T57" fmla="*/ 0 h 1071"/>
                <a:gd name="T58" fmla="*/ 0 w 1740"/>
                <a:gd name="T59" fmla="*/ 0 h 1071"/>
                <a:gd name="T60" fmla="*/ 0 w 1740"/>
                <a:gd name="T61" fmla="*/ 0 h 1071"/>
                <a:gd name="T62" fmla="*/ 0 w 1740"/>
                <a:gd name="T63" fmla="*/ 0 h 1071"/>
                <a:gd name="T64" fmla="*/ 0 w 1740"/>
                <a:gd name="T65" fmla="*/ 0 h 1071"/>
                <a:gd name="T66" fmla="*/ 0 w 1740"/>
                <a:gd name="T67" fmla="*/ 0 h 1071"/>
                <a:gd name="T68" fmla="*/ 0 w 1740"/>
                <a:gd name="T69" fmla="*/ 0 h 107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40"/>
                <a:gd name="T106" fmla="*/ 0 h 1071"/>
                <a:gd name="T107" fmla="*/ 1740 w 1740"/>
                <a:gd name="T108" fmla="*/ 1071 h 107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40" h="1071">
                  <a:moveTo>
                    <a:pt x="1740" y="680"/>
                  </a:moveTo>
                  <a:lnTo>
                    <a:pt x="1705" y="710"/>
                  </a:lnTo>
                  <a:lnTo>
                    <a:pt x="1653" y="706"/>
                  </a:lnTo>
                  <a:lnTo>
                    <a:pt x="1602" y="775"/>
                  </a:lnTo>
                  <a:lnTo>
                    <a:pt x="1561" y="786"/>
                  </a:lnTo>
                  <a:lnTo>
                    <a:pt x="1551" y="807"/>
                  </a:lnTo>
                  <a:lnTo>
                    <a:pt x="1546" y="866"/>
                  </a:lnTo>
                  <a:lnTo>
                    <a:pt x="1520" y="906"/>
                  </a:lnTo>
                  <a:lnTo>
                    <a:pt x="1478" y="912"/>
                  </a:lnTo>
                  <a:lnTo>
                    <a:pt x="1477" y="947"/>
                  </a:lnTo>
                  <a:lnTo>
                    <a:pt x="1414" y="992"/>
                  </a:lnTo>
                  <a:lnTo>
                    <a:pt x="1342" y="997"/>
                  </a:lnTo>
                  <a:lnTo>
                    <a:pt x="1317" y="976"/>
                  </a:lnTo>
                  <a:lnTo>
                    <a:pt x="1283" y="972"/>
                  </a:lnTo>
                  <a:lnTo>
                    <a:pt x="1221" y="1071"/>
                  </a:lnTo>
                  <a:lnTo>
                    <a:pt x="1223" y="1005"/>
                  </a:lnTo>
                  <a:lnTo>
                    <a:pt x="1188" y="955"/>
                  </a:lnTo>
                  <a:lnTo>
                    <a:pt x="1018" y="961"/>
                  </a:lnTo>
                  <a:lnTo>
                    <a:pt x="955" y="897"/>
                  </a:lnTo>
                  <a:lnTo>
                    <a:pt x="916" y="875"/>
                  </a:lnTo>
                  <a:lnTo>
                    <a:pt x="757" y="856"/>
                  </a:lnTo>
                  <a:lnTo>
                    <a:pt x="708" y="942"/>
                  </a:lnTo>
                  <a:lnTo>
                    <a:pt x="660" y="978"/>
                  </a:lnTo>
                  <a:lnTo>
                    <a:pt x="618" y="993"/>
                  </a:lnTo>
                  <a:lnTo>
                    <a:pt x="509" y="985"/>
                  </a:lnTo>
                  <a:lnTo>
                    <a:pt x="504" y="983"/>
                  </a:lnTo>
                  <a:lnTo>
                    <a:pt x="495" y="976"/>
                  </a:lnTo>
                  <a:lnTo>
                    <a:pt x="480" y="967"/>
                  </a:lnTo>
                  <a:lnTo>
                    <a:pt x="464" y="955"/>
                  </a:lnTo>
                  <a:lnTo>
                    <a:pt x="448" y="945"/>
                  </a:lnTo>
                  <a:lnTo>
                    <a:pt x="432" y="935"/>
                  </a:lnTo>
                  <a:lnTo>
                    <a:pt x="422" y="928"/>
                  </a:lnTo>
                  <a:lnTo>
                    <a:pt x="419" y="926"/>
                  </a:lnTo>
                  <a:lnTo>
                    <a:pt x="85" y="544"/>
                  </a:lnTo>
                  <a:lnTo>
                    <a:pt x="87" y="402"/>
                  </a:lnTo>
                  <a:lnTo>
                    <a:pt x="35" y="371"/>
                  </a:lnTo>
                  <a:lnTo>
                    <a:pt x="0" y="320"/>
                  </a:lnTo>
                  <a:lnTo>
                    <a:pt x="5" y="279"/>
                  </a:lnTo>
                  <a:lnTo>
                    <a:pt x="13" y="260"/>
                  </a:lnTo>
                  <a:lnTo>
                    <a:pt x="78" y="333"/>
                  </a:lnTo>
                  <a:lnTo>
                    <a:pt x="89" y="332"/>
                  </a:lnTo>
                  <a:lnTo>
                    <a:pt x="117" y="274"/>
                  </a:lnTo>
                  <a:lnTo>
                    <a:pt x="356" y="199"/>
                  </a:lnTo>
                  <a:lnTo>
                    <a:pt x="392" y="150"/>
                  </a:lnTo>
                  <a:lnTo>
                    <a:pt x="570" y="101"/>
                  </a:lnTo>
                  <a:lnTo>
                    <a:pt x="594" y="0"/>
                  </a:lnTo>
                  <a:lnTo>
                    <a:pt x="636" y="15"/>
                  </a:lnTo>
                  <a:lnTo>
                    <a:pt x="693" y="116"/>
                  </a:lnTo>
                  <a:lnTo>
                    <a:pt x="723" y="118"/>
                  </a:lnTo>
                  <a:lnTo>
                    <a:pt x="751" y="139"/>
                  </a:lnTo>
                  <a:lnTo>
                    <a:pt x="823" y="72"/>
                  </a:lnTo>
                  <a:lnTo>
                    <a:pt x="867" y="100"/>
                  </a:lnTo>
                  <a:lnTo>
                    <a:pt x="889" y="146"/>
                  </a:lnTo>
                  <a:lnTo>
                    <a:pt x="1021" y="169"/>
                  </a:lnTo>
                  <a:lnTo>
                    <a:pt x="1060" y="227"/>
                  </a:lnTo>
                  <a:lnTo>
                    <a:pt x="1111" y="238"/>
                  </a:lnTo>
                  <a:lnTo>
                    <a:pt x="1116" y="246"/>
                  </a:lnTo>
                  <a:lnTo>
                    <a:pt x="1115" y="260"/>
                  </a:lnTo>
                  <a:lnTo>
                    <a:pt x="1091" y="308"/>
                  </a:lnTo>
                  <a:lnTo>
                    <a:pt x="1177" y="396"/>
                  </a:lnTo>
                  <a:lnTo>
                    <a:pt x="1209" y="411"/>
                  </a:lnTo>
                  <a:lnTo>
                    <a:pt x="1264" y="378"/>
                  </a:lnTo>
                  <a:lnTo>
                    <a:pt x="1251" y="350"/>
                  </a:lnTo>
                  <a:lnTo>
                    <a:pt x="1258" y="322"/>
                  </a:lnTo>
                  <a:lnTo>
                    <a:pt x="1458" y="382"/>
                  </a:lnTo>
                  <a:lnTo>
                    <a:pt x="1459" y="456"/>
                  </a:lnTo>
                  <a:lnTo>
                    <a:pt x="1500" y="489"/>
                  </a:lnTo>
                  <a:lnTo>
                    <a:pt x="1522" y="482"/>
                  </a:lnTo>
                  <a:lnTo>
                    <a:pt x="1564" y="505"/>
                  </a:lnTo>
                  <a:lnTo>
                    <a:pt x="1651" y="639"/>
                  </a:lnTo>
                  <a:lnTo>
                    <a:pt x="1740" y="68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4" name="Freeform 106"/>
            <p:cNvSpPr>
              <a:spLocks/>
            </p:cNvSpPr>
            <p:nvPr/>
          </p:nvSpPr>
          <p:spPr bwMode="auto">
            <a:xfrm>
              <a:off x="6746775" y="3746171"/>
              <a:ext cx="35686" cy="23073"/>
            </a:xfrm>
            <a:custGeom>
              <a:avLst/>
              <a:gdLst>
                <a:gd name="T0" fmla="*/ 0 w 90"/>
                <a:gd name="T1" fmla="*/ 0 h 59"/>
                <a:gd name="T2" fmla="*/ 0 w 90"/>
                <a:gd name="T3" fmla="*/ 0 h 59"/>
                <a:gd name="T4" fmla="*/ 0 w 90"/>
                <a:gd name="T5" fmla="*/ 0 h 59"/>
                <a:gd name="T6" fmla="*/ 0 w 90"/>
                <a:gd name="T7" fmla="*/ 0 h 59"/>
                <a:gd name="T8" fmla="*/ 0 w 90"/>
                <a:gd name="T9" fmla="*/ 0 h 59"/>
                <a:gd name="T10" fmla="*/ 0 w 90"/>
                <a:gd name="T11" fmla="*/ 0 h 59"/>
                <a:gd name="T12" fmla="*/ 0 w 90"/>
                <a:gd name="T13" fmla="*/ 0 h 59"/>
                <a:gd name="T14" fmla="*/ 0 w 90"/>
                <a:gd name="T15" fmla="*/ 0 h 59"/>
                <a:gd name="T16" fmla="*/ 0 w 90"/>
                <a:gd name="T17" fmla="*/ 0 h 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59"/>
                <a:gd name="T29" fmla="*/ 90 w 90"/>
                <a:gd name="T30" fmla="*/ 59 h 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59">
                  <a:moveTo>
                    <a:pt x="90" y="59"/>
                  </a:moveTo>
                  <a:lnTo>
                    <a:pt x="85" y="57"/>
                  </a:lnTo>
                  <a:lnTo>
                    <a:pt x="76" y="50"/>
                  </a:lnTo>
                  <a:lnTo>
                    <a:pt x="61" y="41"/>
                  </a:lnTo>
                  <a:lnTo>
                    <a:pt x="45" y="29"/>
                  </a:lnTo>
                  <a:lnTo>
                    <a:pt x="29" y="19"/>
                  </a:lnTo>
                  <a:lnTo>
                    <a:pt x="13" y="9"/>
                  </a:lnTo>
                  <a:lnTo>
                    <a:pt x="3" y="2"/>
                  </a:lnTo>
                  <a:lnTo>
                    <a:pt x="0" y="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5" name="Freeform 107"/>
            <p:cNvSpPr>
              <a:spLocks/>
            </p:cNvSpPr>
            <p:nvPr/>
          </p:nvSpPr>
          <p:spPr bwMode="auto">
            <a:xfrm>
              <a:off x="6576742" y="3368615"/>
              <a:ext cx="705320" cy="377555"/>
            </a:xfrm>
            <a:custGeom>
              <a:avLst/>
              <a:gdLst>
                <a:gd name="T0" fmla="*/ 0 w 1740"/>
                <a:gd name="T1" fmla="*/ 0 h 926"/>
                <a:gd name="T2" fmla="*/ 0 w 1740"/>
                <a:gd name="T3" fmla="*/ 0 h 926"/>
                <a:gd name="T4" fmla="*/ 0 w 1740"/>
                <a:gd name="T5" fmla="*/ 0 h 926"/>
                <a:gd name="T6" fmla="*/ 0 w 1740"/>
                <a:gd name="T7" fmla="*/ 0 h 926"/>
                <a:gd name="T8" fmla="*/ 0 w 1740"/>
                <a:gd name="T9" fmla="*/ 0 h 926"/>
                <a:gd name="T10" fmla="*/ 0 w 1740"/>
                <a:gd name="T11" fmla="*/ 0 h 926"/>
                <a:gd name="T12" fmla="*/ 0 w 1740"/>
                <a:gd name="T13" fmla="*/ 0 h 926"/>
                <a:gd name="T14" fmla="*/ 0 w 1740"/>
                <a:gd name="T15" fmla="*/ 0 h 926"/>
                <a:gd name="T16" fmla="*/ 0 w 1740"/>
                <a:gd name="T17" fmla="*/ 0 h 926"/>
                <a:gd name="T18" fmla="*/ 0 w 1740"/>
                <a:gd name="T19" fmla="*/ 0 h 926"/>
                <a:gd name="T20" fmla="*/ 0 w 1740"/>
                <a:gd name="T21" fmla="*/ 0 h 926"/>
                <a:gd name="T22" fmla="*/ 0 w 1740"/>
                <a:gd name="T23" fmla="*/ 0 h 926"/>
                <a:gd name="T24" fmla="*/ 0 w 1740"/>
                <a:gd name="T25" fmla="*/ 0 h 926"/>
                <a:gd name="T26" fmla="*/ 0 w 1740"/>
                <a:gd name="T27" fmla="*/ 0 h 926"/>
                <a:gd name="T28" fmla="*/ 0 w 1740"/>
                <a:gd name="T29" fmla="*/ 0 h 926"/>
                <a:gd name="T30" fmla="*/ 0 w 1740"/>
                <a:gd name="T31" fmla="*/ 0 h 926"/>
                <a:gd name="T32" fmla="*/ 0 w 1740"/>
                <a:gd name="T33" fmla="*/ 0 h 926"/>
                <a:gd name="T34" fmla="*/ 0 w 1740"/>
                <a:gd name="T35" fmla="*/ 0 h 926"/>
                <a:gd name="T36" fmla="*/ 0 w 1740"/>
                <a:gd name="T37" fmla="*/ 0 h 926"/>
                <a:gd name="T38" fmla="*/ 0 w 1740"/>
                <a:gd name="T39" fmla="*/ 0 h 926"/>
                <a:gd name="T40" fmla="*/ 0 w 1740"/>
                <a:gd name="T41" fmla="*/ 0 h 926"/>
                <a:gd name="T42" fmla="*/ 0 w 1740"/>
                <a:gd name="T43" fmla="*/ 0 h 926"/>
                <a:gd name="T44" fmla="*/ 0 w 1740"/>
                <a:gd name="T45" fmla="*/ 0 h 926"/>
                <a:gd name="T46" fmla="*/ 0 w 1740"/>
                <a:gd name="T47" fmla="*/ 0 h 926"/>
                <a:gd name="T48" fmla="*/ 0 w 1740"/>
                <a:gd name="T49" fmla="*/ 0 h 926"/>
                <a:gd name="T50" fmla="*/ 0 w 1740"/>
                <a:gd name="T51" fmla="*/ 0 h 926"/>
                <a:gd name="T52" fmla="*/ 0 w 1740"/>
                <a:gd name="T53" fmla="*/ 0 h 926"/>
                <a:gd name="T54" fmla="*/ 0 w 1740"/>
                <a:gd name="T55" fmla="*/ 0 h 926"/>
                <a:gd name="T56" fmla="*/ 0 w 1740"/>
                <a:gd name="T57" fmla="*/ 0 h 926"/>
                <a:gd name="T58" fmla="*/ 0 w 1740"/>
                <a:gd name="T59" fmla="*/ 0 h 926"/>
                <a:gd name="T60" fmla="*/ 0 w 1740"/>
                <a:gd name="T61" fmla="*/ 0 h 926"/>
                <a:gd name="T62" fmla="*/ 0 w 1740"/>
                <a:gd name="T63" fmla="*/ 0 h 926"/>
                <a:gd name="T64" fmla="*/ 0 w 1740"/>
                <a:gd name="T65" fmla="*/ 0 h 926"/>
                <a:gd name="T66" fmla="*/ 0 w 1740"/>
                <a:gd name="T67" fmla="*/ 0 h 926"/>
                <a:gd name="T68" fmla="*/ 0 w 1740"/>
                <a:gd name="T69" fmla="*/ 0 h 926"/>
                <a:gd name="T70" fmla="*/ 0 w 1740"/>
                <a:gd name="T71" fmla="*/ 0 h 926"/>
                <a:gd name="T72" fmla="*/ 0 w 1740"/>
                <a:gd name="T73" fmla="*/ 0 h 926"/>
                <a:gd name="T74" fmla="*/ 0 w 1740"/>
                <a:gd name="T75" fmla="*/ 0 h 926"/>
                <a:gd name="T76" fmla="*/ 0 w 1740"/>
                <a:gd name="T77" fmla="*/ 0 h 9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0"/>
                <a:gd name="T118" fmla="*/ 0 h 926"/>
                <a:gd name="T119" fmla="*/ 1740 w 1740"/>
                <a:gd name="T120" fmla="*/ 926 h 9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0" h="926">
                  <a:moveTo>
                    <a:pt x="419" y="926"/>
                  </a:moveTo>
                  <a:lnTo>
                    <a:pt x="85" y="544"/>
                  </a:lnTo>
                  <a:lnTo>
                    <a:pt x="87" y="402"/>
                  </a:lnTo>
                  <a:lnTo>
                    <a:pt x="35" y="371"/>
                  </a:lnTo>
                  <a:lnTo>
                    <a:pt x="0" y="320"/>
                  </a:lnTo>
                  <a:lnTo>
                    <a:pt x="5" y="279"/>
                  </a:lnTo>
                  <a:lnTo>
                    <a:pt x="13" y="260"/>
                  </a:lnTo>
                  <a:lnTo>
                    <a:pt x="78" y="333"/>
                  </a:lnTo>
                  <a:lnTo>
                    <a:pt x="89" y="332"/>
                  </a:lnTo>
                  <a:lnTo>
                    <a:pt x="117" y="274"/>
                  </a:lnTo>
                  <a:lnTo>
                    <a:pt x="356" y="199"/>
                  </a:lnTo>
                  <a:lnTo>
                    <a:pt x="392" y="150"/>
                  </a:lnTo>
                  <a:lnTo>
                    <a:pt x="570" y="101"/>
                  </a:lnTo>
                  <a:lnTo>
                    <a:pt x="594" y="0"/>
                  </a:lnTo>
                  <a:lnTo>
                    <a:pt x="636" y="15"/>
                  </a:lnTo>
                  <a:lnTo>
                    <a:pt x="693" y="116"/>
                  </a:lnTo>
                  <a:lnTo>
                    <a:pt x="723" y="118"/>
                  </a:lnTo>
                  <a:lnTo>
                    <a:pt x="751" y="139"/>
                  </a:lnTo>
                  <a:lnTo>
                    <a:pt x="823" y="72"/>
                  </a:lnTo>
                  <a:lnTo>
                    <a:pt x="867" y="100"/>
                  </a:lnTo>
                  <a:lnTo>
                    <a:pt x="889" y="146"/>
                  </a:lnTo>
                  <a:lnTo>
                    <a:pt x="1021" y="169"/>
                  </a:lnTo>
                  <a:lnTo>
                    <a:pt x="1060" y="227"/>
                  </a:lnTo>
                  <a:lnTo>
                    <a:pt x="1111" y="238"/>
                  </a:lnTo>
                  <a:lnTo>
                    <a:pt x="1116" y="246"/>
                  </a:lnTo>
                  <a:lnTo>
                    <a:pt x="1115" y="260"/>
                  </a:lnTo>
                  <a:lnTo>
                    <a:pt x="1091" y="308"/>
                  </a:lnTo>
                  <a:lnTo>
                    <a:pt x="1177" y="396"/>
                  </a:lnTo>
                  <a:lnTo>
                    <a:pt x="1209" y="411"/>
                  </a:lnTo>
                  <a:lnTo>
                    <a:pt x="1264" y="378"/>
                  </a:lnTo>
                  <a:lnTo>
                    <a:pt x="1251" y="350"/>
                  </a:lnTo>
                  <a:lnTo>
                    <a:pt x="1258" y="322"/>
                  </a:lnTo>
                  <a:lnTo>
                    <a:pt x="1458" y="382"/>
                  </a:lnTo>
                  <a:lnTo>
                    <a:pt x="1459" y="456"/>
                  </a:lnTo>
                  <a:lnTo>
                    <a:pt x="1500" y="489"/>
                  </a:lnTo>
                  <a:lnTo>
                    <a:pt x="1522" y="482"/>
                  </a:lnTo>
                  <a:lnTo>
                    <a:pt x="1564" y="505"/>
                  </a:lnTo>
                  <a:lnTo>
                    <a:pt x="1651" y="639"/>
                  </a:lnTo>
                  <a:lnTo>
                    <a:pt x="1740" y="68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6" name="Freeform 108"/>
            <p:cNvSpPr>
              <a:spLocks/>
            </p:cNvSpPr>
            <p:nvPr/>
          </p:nvSpPr>
          <p:spPr bwMode="auto">
            <a:xfrm>
              <a:off x="5856728" y="3844754"/>
              <a:ext cx="497503" cy="293654"/>
            </a:xfrm>
            <a:custGeom>
              <a:avLst/>
              <a:gdLst>
                <a:gd name="T0" fmla="*/ 0 w 1229"/>
                <a:gd name="T1" fmla="*/ 0 h 727"/>
                <a:gd name="T2" fmla="*/ 0 w 1229"/>
                <a:gd name="T3" fmla="*/ 0 h 727"/>
                <a:gd name="T4" fmla="*/ 0 w 1229"/>
                <a:gd name="T5" fmla="*/ 0 h 727"/>
                <a:gd name="T6" fmla="*/ 0 w 1229"/>
                <a:gd name="T7" fmla="*/ 0 h 727"/>
                <a:gd name="T8" fmla="*/ 0 w 1229"/>
                <a:gd name="T9" fmla="*/ 0 h 727"/>
                <a:gd name="T10" fmla="*/ 0 w 1229"/>
                <a:gd name="T11" fmla="*/ 0 h 727"/>
                <a:gd name="T12" fmla="*/ 0 w 1229"/>
                <a:gd name="T13" fmla="*/ 0 h 727"/>
                <a:gd name="T14" fmla="*/ 0 w 1229"/>
                <a:gd name="T15" fmla="*/ 0 h 727"/>
                <a:gd name="T16" fmla="*/ 0 w 1229"/>
                <a:gd name="T17" fmla="*/ 0 h 727"/>
                <a:gd name="T18" fmla="*/ 0 w 1229"/>
                <a:gd name="T19" fmla="*/ 0 h 727"/>
                <a:gd name="T20" fmla="*/ 0 w 1229"/>
                <a:gd name="T21" fmla="*/ 0 h 727"/>
                <a:gd name="T22" fmla="*/ 0 w 1229"/>
                <a:gd name="T23" fmla="*/ 0 h 727"/>
                <a:gd name="T24" fmla="*/ 0 w 1229"/>
                <a:gd name="T25" fmla="*/ 0 h 727"/>
                <a:gd name="T26" fmla="*/ 0 w 1229"/>
                <a:gd name="T27" fmla="*/ 0 h 727"/>
                <a:gd name="T28" fmla="*/ 0 w 1229"/>
                <a:gd name="T29" fmla="*/ 0 h 727"/>
                <a:gd name="T30" fmla="*/ 0 w 1229"/>
                <a:gd name="T31" fmla="*/ 0 h 727"/>
                <a:gd name="T32" fmla="*/ 0 w 1229"/>
                <a:gd name="T33" fmla="*/ 0 h 727"/>
                <a:gd name="T34" fmla="*/ 0 w 1229"/>
                <a:gd name="T35" fmla="*/ 0 h 727"/>
                <a:gd name="T36" fmla="*/ 0 w 1229"/>
                <a:gd name="T37" fmla="*/ 0 h 727"/>
                <a:gd name="T38" fmla="*/ 0 w 1229"/>
                <a:gd name="T39" fmla="*/ 0 h 727"/>
                <a:gd name="T40" fmla="*/ 0 w 1229"/>
                <a:gd name="T41" fmla="*/ 0 h 727"/>
                <a:gd name="T42" fmla="*/ 0 w 1229"/>
                <a:gd name="T43" fmla="*/ 0 h 727"/>
                <a:gd name="T44" fmla="*/ 0 w 1229"/>
                <a:gd name="T45" fmla="*/ 0 h 727"/>
                <a:gd name="T46" fmla="*/ 0 w 1229"/>
                <a:gd name="T47" fmla="*/ 0 h 727"/>
                <a:gd name="T48" fmla="*/ 0 w 1229"/>
                <a:gd name="T49" fmla="*/ 0 h 727"/>
                <a:gd name="T50" fmla="*/ 0 w 1229"/>
                <a:gd name="T51" fmla="*/ 0 h 727"/>
                <a:gd name="T52" fmla="*/ 0 w 1229"/>
                <a:gd name="T53" fmla="*/ 0 h 727"/>
                <a:gd name="T54" fmla="*/ 0 w 1229"/>
                <a:gd name="T55" fmla="*/ 0 h 727"/>
                <a:gd name="T56" fmla="*/ 0 w 1229"/>
                <a:gd name="T57" fmla="*/ 0 h 727"/>
                <a:gd name="T58" fmla="*/ 0 w 1229"/>
                <a:gd name="T59" fmla="*/ 0 h 727"/>
                <a:gd name="T60" fmla="*/ 0 w 1229"/>
                <a:gd name="T61" fmla="*/ 0 h 727"/>
                <a:gd name="T62" fmla="*/ 0 w 1229"/>
                <a:gd name="T63" fmla="*/ 0 h 727"/>
                <a:gd name="T64" fmla="*/ 0 w 1229"/>
                <a:gd name="T65" fmla="*/ 0 h 727"/>
                <a:gd name="T66" fmla="*/ 0 w 1229"/>
                <a:gd name="T67" fmla="*/ 0 h 727"/>
                <a:gd name="T68" fmla="*/ 0 w 1229"/>
                <a:gd name="T69" fmla="*/ 0 h 727"/>
                <a:gd name="T70" fmla="*/ 0 w 1229"/>
                <a:gd name="T71" fmla="*/ 0 h 727"/>
                <a:gd name="T72" fmla="*/ 0 w 1229"/>
                <a:gd name="T73" fmla="*/ 0 h 727"/>
                <a:gd name="T74" fmla="*/ 0 w 1229"/>
                <a:gd name="T75" fmla="*/ 0 h 727"/>
                <a:gd name="T76" fmla="*/ 0 w 1229"/>
                <a:gd name="T77" fmla="*/ 0 h 727"/>
                <a:gd name="T78" fmla="*/ 0 w 1229"/>
                <a:gd name="T79" fmla="*/ 0 h 727"/>
                <a:gd name="T80" fmla="*/ 0 w 1229"/>
                <a:gd name="T81" fmla="*/ 0 h 727"/>
                <a:gd name="T82" fmla="*/ 0 w 1229"/>
                <a:gd name="T83" fmla="*/ 0 h 727"/>
                <a:gd name="T84" fmla="*/ 0 w 1229"/>
                <a:gd name="T85" fmla="*/ 0 h 727"/>
                <a:gd name="T86" fmla="*/ 0 w 1229"/>
                <a:gd name="T87" fmla="*/ 0 h 727"/>
                <a:gd name="T88" fmla="*/ 0 w 1229"/>
                <a:gd name="T89" fmla="*/ 0 h 727"/>
                <a:gd name="T90" fmla="*/ 0 w 1229"/>
                <a:gd name="T91" fmla="*/ 0 h 727"/>
                <a:gd name="T92" fmla="*/ 0 w 1229"/>
                <a:gd name="T93" fmla="*/ 0 h 727"/>
                <a:gd name="T94" fmla="*/ 0 w 1229"/>
                <a:gd name="T95" fmla="*/ 0 h 727"/>
                <a:gd name="T96" fmla="*/ 0 w 1229"/>
                <a:gd name="T97" fmla="*/ 0 h 727"/>
                <a:gd name="T98" fmla="*/ 0 w 1229"/>
                <a:gd name="T99" fmla="*/ 0 h 727"/>
                <a:gd name="T100" fmla="*/ 0 w 1229"/>
                <a:gd name="T101" fmla="*/ 0 h 727"/>
                <a:gd name="T102" fmla="*/ 0 w 1229"/>
                <a:gd name="T103" fmla="*/ 0 h 727"/>
                <a:gd name="T104" fmla="*/ 0 w 1229"/>
                <a:gd name="T105" fmla="*/ 0 h 727"/>
                <a:gd name="T106" fmla="*/ 0 w 1229"/>
                <a:gd name="T107" fmla="*/ 0 h 727"/>
                <a:gd name="T108" fmla="*/ 0 w 1229"/>
                <a:gd name="T109" fmla="*/ 0 h 7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29"/>
                <a:gd name="T166" fmla="*/ 0 h 727"/>
                <a:gd name="T167" fmla="*/ 1229 w 1229"/>
                <a:gd name="T168" fmla="*/ 727 h 7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29" h="727">
                  <a:moveTo>
                    <a:pt x="250" y="656"/>
                  </a:moveTo>
                  <a:lnTo>
                    <a:pt x="244" y="600"/>
                  </a:lnTo>
                  <a:lnTo>
                    <a:pt x="209" y="584"/>
                  </a:lnTo>
                  <a:lnTo>
                    <a:pt x="221" y="444"/>
                  </a:lnTo>
                  <a:lnTo>
                    <a:pt x="208" y="434"/>
                  </a:lnTo>
                  <a:lnTo>
                    <a:pt x="122" y="418"/>
                  </a:lnTo>
                  <a:lnTo>
                    <a:pt x="54" y="491"/>
                  </a:lnTo>
                  <a:lnTo>
                    <a:pt x="17" y="506"/>
                  </a:lnTo>
                  <a:lnTo>
                    <a:pt x="0" y="492"/>
                  </a:lnTo>
                  <a:lnTo>
                    <a:pt x="56" y="327"/>
                  </a:lnTo>
                  <a:lnTo>
                    <a:pt x="79" y="312"/>
                  </a:lnTo>
                  <a:lnTo>
                    <a:pt x="102" y="283"/>
                  </a:lnTo>
                  <a:lnTo>
                    <a:pt x="139" y="268"/>
                  </a:lnTo>
                  <a:lnTo>
                    <a:pt x="151" y="257"/>
                  </a:lnTo>
                  <a:lnTo>
                    <a:pt x="171" y="210"/>
                  </a:lnTo>
                  <a:lnTo>
                    <a:pt x="340" y="71"/>
                  </a:lnTo>
                  <a:lnTo>
                    <a:pt x="327" y="42"/>
                  </a:lnTo>
                  <a:lnTo>
                    <a:pt x="353" y="13"/>
                  </a:lnTo>
                  <a:lnTo>
                    <a:pt x="436" y="34"/>
                  </a:lnTo>
                  <a:lnTo>
                    <a:pt x="470" y="25"/>
                  </a:lnTo>
                  <a:lnTo>
                    <a:pt x="510" y="0"/>
                  </a:lnTo>
                  <a:lnTo>
                    <a:pt x="541" y="36"/>
                  </a:lnTo>
                  <a:lnTo>
                    <a:pt x="837" y="34"/>
                  </a:lnTo>
                  <a:lnTo>
                    <a:pt x="1009" y="128"/>
                  </a:lnTo>
                  <a:lnTo>
                    <a:pt x="1040" y="171"/>
                  </a:lnTo>
                  <a:lnTo>
                    <a:pt x="1005" y="259"/>
                  </a:lnTo>
                  <a:lnTo>
                    <a:pt x="1034" y="324"/>
                  </a:lnTo>
                  <a:lnTo>
                    <a:pt x="1111" y="379"/>
                  </a:lnTo>
                  <a:lnTo>
                    <a:pt x="1155" y="391"/>
                  </a:lnTo>
                  <a:lnTo>
                    <a:pt x="1194" y="375"/>
                  </a:lnTo>
                  <a:lnTo>
                    <a:pt x="1229" y="407"/>
                  </a:lnTo>
                  <a:lnTo>
                    <a:pt x="1207" y="459"/>
                  </a:lnTo>
                  <a:lnTo>
                    <a:pt x="1206" y="492"/>
                  </a:lnTo>
                  <a:lnTo>
                    <a:pt x="1184" y="505"/>
                  </a:lnTo>
                  <a:lnTo>
                    <a:pt x="1131" y="500"/>
                  </a:lnTo>
                  <a:lnTo>
                    <a:pt x="1117" y="531"/>
                  </a:lnTo>
                  <a:lnTo>
                    <a:pt x="1118" y="567"/>
                  </a:lnTo>
                  <a:lnTo>
                    <a:pt x="1131" y="598"/>
                  </a:lnTo>
                  <a:lnTo>
                    <a:pt x="1118" y="619"/>
                  </a:lnTo>
                  <a:lnTo>
                    <a:pt x="962" y="574"/>
                  </a:lnTo>
                  <a:lnTo>
                    <a:pt x="937" y="543"/>
                  </a:lnTo>
                  <a:lnTo>
                    <a:pt x="903" y="521"/>
                  </a:lnTo>
                  <a:lnTo>
                    <a:pt x="884" y="572"/>
                  </a:lnTo>
                  <a:lnTo>
                    <a:pt x="819" y="661"/>
                  </a:lnTo>
                  <a:lnTo>
                    <a:pt x="801" y="707"/>
                  </a:lnTo>
                  <a:lnTo>
                    <a:pt x="786" y="727"/>
                  </a:lnTo>
                  <a:lnTo>
                    <a:pt x="755" y="700"/>
                  </a:lnTo>
                  <a:lnTo>
                    <a:pt x="732" y="656"/>
                  </a:lnTo>
                  <a:lnTo>
                    <a:pt x="681" y="606"/>
                  </a:lnTo>
                  <a:lnTo>
                    <a:pt x="666" y="507"/>
                  </a:lnTo>
                  <a:lnTo>
                    <a:pt x="607" y="528"/>
                  </a:lnTo>
                  <a:lnTo>
                    <a:pt x="572" y="562"/>
                  </a:lnTo>
                  <a:lnTo>
                    <a:pt x="565" y="606"/>
                  </a:lnTo>
                  <a:lnTo>
                    <a:pt x="481" y="664"/>
                  </a:lnTo>
                  <a:lnTo>
                    <a:pt x="250" y="65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7" name="Freeform 110"/>
            <p:cNvSpPr>
              <a:spLocks/>
            </p:cNvSpPr>
            <p:nvPr/>
          </p:nvSpPr>
          <p:spPr bwMode="auto">
            <a:xfrm>
              <a:off x="5680398" y="3177740"/>
              <a:ext cx="325371" cy="320922"/>
            </a:xfrm>
            <a:custGeom>
              <a:avLst/>
              <a:gdLst>
                <a:gd name="T0" fmla="*/ 0 w 802"/>
                <a:gd name="T1" fmla="*/ 0 h 792"/>
                <a:gd name="T2" fmla="*/ 0 w 802"/>
                <a:gd name="T3" fmla="*/ 0 h 792"/>
                <a:gd name="T4" fmla="*/ 0 w 802"/>
                <a:gd name="T5" fmla="*/ 0 h 792"/>
                <a:gd name="T6" fmla="*/ 0 w 802"/>
                <a:gd name="T7" fmla="*/ 0 h 792"/>
                <a:gd name="T8" fmla="*/ 0 w 802"/>
                <a:gd name="T9" fmla="*/ 0 h 792"/>
                <a:gd name="T10" fmla="*/ 0 w 802"/>
                <a:gd name="T11" fmla="*/ 0 h 792"/>
                <a:gd name="T12" fmla="*/ 0 w 802"/>
                <a:gd name="T13" fmla="*/ 0 h 792"/>
                <a:gd name="T14" fmla="*/ 0 w 802"/>
                <a:gd name="T15" fmla="*/ 0 h 792"/>
                <a:gd name="T16" fmla="*/ 0 w 802"/>
                <a:gd name="T17" fmla="*/ 0 h 792"/>
                <a:gd name="T18" fmla="*/ 0 w 802"/>
                <a:gd name="T19" fmla="*/ 0 h 792"/>
                <a:gd name="T20" fmla="*/ 0 w 802"/>
                <a:gd name="T21" fmla="*/ 0 h 792"/>
                <a:gd name="T22" fmla="*/ 0 w 802"/>
                <a:gd name="T23" fmla="*/ 0 h 792"/>
                <a:gd name="T24" fmla="*/ 0 w 802"/>
                <a:gd name="T25" fmla="*/ 0 h 792"/>
                <a:gd name="T26" fmla="*/ 0 w 802"/>
                <a:gd name="T27" fmla="*/ 0 h 792"/>
                <a:gd name="T28" fmla="*/ 0 w 802"/>
                <a:gd name="T29" fmla="*/ 0 h 792"/>
                <a:gd name="T30" fmla="*/ 0 w 802"/>
                <a:gd name="T31" fmla="*/ 0 h 792"/>
                <a:gd name="T32" fmla="*/ 0 w 802"/>
                <a:gd name="T33" fmla="*/ 0 h 792"/>
                <a:gd name="T34" fmla="*/ 0 w 802"/>
                <a:gd name="T35" fmla="*/ 0 h 792"/>
                <a:gd name="T36" fmla="*/ 0 w 802"/>
                <a:gd name="T37" fmla="*/ 0 h 792"/>
                <a:gd name="T38" fmla="*/ 0 w 802"/>
                <a:gd name="T39" fmla="*/ 0 h 792"/>
                <a:gd name="T40" fmla="*/ 0 w 802"/>
                <a:gd name="T41" fmla="*/ 0 h 792"/>
                <a:gd name="T42" fmla="*/ 0 w 802"/>
                <a:gd name="T43" fmla="*/ 0 h 792"/>
                <a:gd name="T44" fmla="*/ 0 w 802"/>
                <a:gd name="T45" fmla="*/ 0 h 792"/>
                <a:gd name="T46" fmla="*/ 0 w 802"/>
                <a:gd name="T47" fmla="*/ 0 h 792"/>
                <a:gd name="T48" fmla="*/ 0 w 802"/>
                <a:gd name="T49" fmla="*/ 0 h 792"/>
                <a:gd name="T50" fmla="*/ 0 w 802"/>
                <a:gd name="T51" fmla="*/ 0 h 792"/>
                <a:gd name="T52" fmla="*/ 0 w 802"/>
                <a:gd name="T53" fmla="*/ 0 h 792"/>
                <a:gd name="T54" fmla="*/ 0 w 802"/>
                <a:gd name="T55" fmla="*/ 0 h 792"/>
                <a:gd name="T56" fmla="*/ 0 w 802"/>
                <a:gd name="T57" fmla="*/ 0 h 792"/>
                <a:gd name="T58" fmla="*/ 0 w 802"/>
                <a:gd name="T59" fmla="*/ 0 h 792"/>
                <a:gd name="T60" fmla="*/ 0 w 802"/>
                <a:gd name="T61" fmla="*/ 0 h 792"/>
                <a:gd name="T62" fmla="*/ 0 w 802"/>
                <a:gd name="T63" fmla="*/ 0 h 792"/>
                <a:gd name="T64" fmla="*/ 0 w 802"/>
                <a:gd name="T65" fmla="*/ 0 h 792"/>
                <a:gd name="T66" fmla="*/ 0 w 802"/>
                <a:gd name="T67" fmla="*/ 0 h 792"/>
                <a:gd name="T68" fmla="*/ 0 w 802"/>
                <a:gd name="T69" fmla="*/ 0 h 792"/>
                <a:gd name="T70" fmla="*/ 0 w 802"/>
                <a:gd name="T71" fmla="*/ 0 h 792"/>
                <a:gd name="T72" fmla="*/ 0 w 802"/>
                <a:gd name="T73" fmla="*/ 0 h 792"/>
                <a:gd name="T74" fmla="*/ 0 w 802"/>
                <a:gd name="T75" fmla="*/ 0 h 792"/>
                <a:gd name="T76" fmla="*/ 0 w 802"/>
                <a:gd name="T77" fmla="*/ 0 h 792"/>
                <a:gd name="T78" fmla="*/ 0 w 802"/>
                <a:gd name="T79" fmla="*/ 0 h 792"/>
                <a:gd name="T80" fmla="*/ 0 w 802"/>
                <a:gd name="T81" fmla="*/ 0 h 792"/>
                <a:gd name="T82" fmla="*/ 0 w 802"/>
                <a:gd name="T83" fmla="*/ 0 h 792"/>
                <a:gd name="T84" fmla="*/ 0 w 802"/>
                <a:gd name="T85" fmla="*/ 0 h 792"/>
                <a:gd name="T86" fmla="*/ 0 w 802"/>
                <a:gd name="T87" fmla="*/ 0 h 792"/>
                <a:gd name="T88" fmla="*/ 0 w 802"/>
                <a:gd name="T89" fmla="*/ 0 h 7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02"/>
                <a:gd name="T136" fmla="*/ 0 h 792"/>
                <a:gd name="T137" fmla="*/ 802 w 802"/>
                <a:gd name="T138" fmla="*/ 792 h 7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02" h="792">
                  <a:moveTo>
                    <a:pt x="610" y="791"/>
                  </a:moveTo>
                  <a:lnTo>
                    <a:pt x="569" y="792"/>
                  </a:lnTo>
                  <a:lnTo>
                    <a:pt x="522" y="770"/>
                  </a:lnTo>
                  <a:lnTo>
                    <a:pt x="445" y="692"/>
                  </a:lnTo>
                  <a:lnTo>
                    <a:pt x="461" y="668"/>
                  </a:lnTo>
                  <a:lnTo>
                    <a:pt x="442" y="652"/>
                  </a:lnTo>
                  <a:lnTo>
                    <a:pt x="464" y="546"/>
                  </a:lnTo>
                  <a:lnTo>
                    <a:pt x="436" y="540"/>
                  </a:lnTo>
                  <a:lnTo>
                    <a:pt x="373" y="598"/>
                  </a:lnTo>
                  <a:lnTo>
                    <a:pt x="326" y="588"/>
                  </a:lnTo>
                  <a:lnTo>
                    <a:pt x="285" y="562"/>
                  </a:lnTo>
                  <a:lnTo>
                    <a:pt x="286" y="448"/>
                  </a:lnTo>
                  <a:lnTo>
                    <a:pt x="268" y="418"/>
                  </a:lnTo>
                  <a:lnTo>
                    <a:pt x="118" y="311"/>
                  </a:lnTo>
                  <a:lnTo>
                    <a:pt x="98" y="218"/>
                  </a:lnTo>
                  <a:lnTo>
                    <a:pt x="47" y="212"/>
                  </a:lnTo>
                  <a:lnTo>
                    <a:pt x="2" y="176"/>
                  </a:lnTo>
                  <a:lnTo>
                    <a:pt x="0" y="133"/>
                  </a:lnTo>
                  <a:lnTo>
                    <a:pt x="21" y="44"/>
                  </a:lnTo>
                  <a:lnTo>
                    <a:pt x="183" y="0"/>
                  </a:lnTo>
                  <a:lnTo>
                    <a:pt x="217" y="2"/>
                  </a:lnTo>
                  <a:lnTo>
                    <a:pt x="216" y="7"/>
                  </a:lnTo>
                  <a:lnTo>
                    <a:pt x="281" y="63"/>
                  </a:lnTo>
                  <a:lnTo>
                    <a:pt x="372" y="55"/>
                  </a:lnTo>
                  <a:lnTo>
                    <a:pt x="448" y="26"/>
                  </a:lnTo>
                  <a:lnTo>
                    <a:pt x="572" y="36"/>
                  </a:lnTo>
                  <a:lnTo>
                    <a:pt x="589" y="68"/>
                  </a:lnTo>
                  <a:lnTo>
                    <a:pt x="603" y="70"/>
                  </a:lnTo>
                  <a:lnTo>
                    <a:pt x="608" y="101"/>
                  </a:lnTo>
                  <a:lnTo>
                    <a:pt x="638" y="128"/>
                  </a:lnTo>
                  <a:lnTo>
                    <a:pt x="681" y="140"/>
                  </a:lnTo>
                  <a:lnTo>
                    <a:pt x="711" y="171"/>
                  </a:lnTo>
                  <a:lnTo>
                    <a:pt x="689" y="313"/>
                  </a:lnTo>
                  <a:lnTo>
                    <a:pt x="718" y="347"/>
                  </a:lnTo>
                  <a:lnTo>
                    <a:pt x="770" y="357"/>
                  </a:lnTo>
                  <a:lnTo>
                    <a:pt x="786" y="390"/>
                  </a:lnTo>
                  <a:lnTo>
                    <a:pt x="785" y="439"/>
                  </a:lnTo>
                  <a:lnTo>
                    <a:pt x="802" y="484"/>
                  </a:lnTo>
                  <a:lnTo>
                    <a:pt x="795" y="520"/>
                  </a:lnTo>
                  <a:lnTo>
                    <a:pt x="735" y="586"/>
                  </a:lnTo>
                  <a:lnTo>
                    <a:pt x="704" y="583"/>
                  </a:lnTo>
                  <a:lnTo>
                    <a:pt x="654" y="607"/>
                  </a:lnTo>
                  <a:lnTo>
                    <a:pt x="614" y="660"/>
                  </a:lnTo>
                  <a:lnTo>
                    <a:pt x="623" y="722"/>
                  </a:lnTo>
                  <a:lnTo>
                    <a:pt x="610" y="79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8" name="Freeform 111"/>
            <p:cNvSpPr>
              <a:spLocks/>
            </p:cNvSpPr>
            <p:nvPr/>
          </p:nvSpPr>
          <p:spPr bwMode="auto">
            <a:xfrm>
              <a:off x="5680398" y="3177740"/>
              <a:ext cx="325371" cy="320922"/>
            </a:xfrm>
            <a:custGeom>
              <a:avLst/>
              <a:gdLst>
                <a:gd name="T0" fmla="*/ 0 w 802"/>
                <a:gd name="T1" fmla="*/ 0 h 792"/>
                <a:gd name="T2" fmla="*/ 0 w 802"/>
                <a:gd name="T3" fmla="*/ 0 h 792"/>
                <a:gd name="T4" fmla="*/ 0 w 802"/>
                <a:gd name="T5" fmla="*/ 0 h 792"/>
                <a:gd name="T6" fmla="*/ 0 w 802"/>
                <a:gd name="T7" fmla="*/ 0 h 792"/>
                <a:gd name="T8" fmla="*/ 0 w 802"/>
                <a:gd name="T9" fmla="*/ 0 h 792"/>
                <a:gd name="T10" fmla="*/ 0 w 802"/>
                <a:gd name="T11" fmla="*/ 0 h 792"/>
                <a:gd name="T12" fmla="*/ 0 w 802"/>
                <a:gd name="T13" fmla="*/ 0 h 792"/>
                <a:gd name="T14" fmla="*/ 0 w 802"/>
                <a:gd name="T15" fmla="*/ 0 h 792"/>
                <a:gd name="T16" fmla="*/ 0 w 802"/>
                <a:gd name="T17" fmla="*/ 0 h 792"/>
                <a:gd name="T18" fmla="*/ 0 w 802"/>
                <a:gd name="T19" fmla="*/ 0 h 792"/>
                <a:gd name="T20" fmla="*/ 0 w 802"/>
                <a:gd name="T21" fmla="*/ 0 h 792"/>
                <a:gd name="T22" fmla="*/ 0 w 802"/>
                <a:gd name="T23" fmla="*/ 0 h 792"/>
                <a:gd name="T24" fmla="*/ 0 w 802"/>
                <a:gd name="T25" fmla="*/ 0 h 792"/>
                <a:gd name="T26" fmla="*/ 0 w 802"/>
                <a:gd name="T27" fmla="*/ 0 h 792"/>
                <a:gd name="T28" fmla="*/ 0 w 802"/>
                <a:gd name="T29" fmla="*/ 0 h 792"/>
                <a:gd name="T30" fmla="*/ 0 w 802"/>
                <a:gd name="T31" fmla="*/ 0 h 792"/>
                <a:gd name="T32" fmla="*/ 0 w 802"/>
                <a:gd name="T33" fmla="*/ 0 h 792"/>
                <a:gd name="T34" fmla="*/ 0 w 802"/>
                <a:gd name="T35" fmla="*/ 0 h 792"/>
                <a:gd name="T36" fmla="*/ 0 w 802"/>
                <a:gd name="T37" fmla="*/ 0 h 792"/>
                <a:gd name="T38" fmla="*/ 0 w 802"/>
                <a:gd name="T39" fmla="*/ 0 h 792"/>
                <a:gd name="T40" fmla="*/ 0 w 802"/>
                <a:gd name="T41" fmla="*/ 0 h 792"/>
                <a:gd name="T42" fmla="*/ 0 w 802"/>
                <a:gd name="T43" fmla="*/ 0 h 792"/>
                <a:gd name="T44" fmla="*/ 0 w 802"/>
                <a:gd name="T45" fmla="*/ 0 h 792"/>
                <a:gd name="T46" fmla="*/ 0 w 802"/>
                <a:gd name="T47" fmla="*/ 0 h 792"/>
                <a:gd name="T48" fmla="*/ 0 w 802"/>
                <a:gd name="T49" fmla="*/ 0 h 792"/>
                <a:gd name="T50" fmla="*/ 0 w 802"/>
                <a:gd name="T51" fmla="*/ 0 h 792"/>
                <a:gd name="T52" fmla="*/ 0 w 802"/>
                <a:gd name="T53" fmla="*/ 0 h 792"/>
                <a:gd name="T54" fmla="*/ 0 w 802"/>
                <a:gd name="T55" fmla="*/ 0 h 792"/>
                <a:gd name="T56" fmla="*/ 0 w 802"/>
                <a:gd name="T57" fmla="*/ 0 h 792"/>
                <a:gd name="T58" fmla="*/ 0 w 802"/>
                <a:gd name="T59" fmla="*/ 0 h 792"/>
                <a:gd name="T60" fmla="*/ 0 w 802"/>
                <a:gd name="T61" fmla="*/ 0 h 792"/>
                <a:gd name="T62" fmla="*/ 0 w 802"/>
                <a:gd name="T63" fmla="*/ 0 h 792"/>
                <a:gd name="T64" fmla="*/ 0 w 802"/>
                <a:gd name="T65" fmla="*/ 0 h 792"/>
                <a:gd name="T66" fmla="*/ 0 w 802"/>
                <a:gd name="T67" fmla="*/ 0 h 792"/>
                <a:gd name="T68" fmla="*/ 0 w 802"/>
                <a:gd name="T69" fmla="*/ 0 h 792"/>
                <a:gd name="T70" fmla="*/ 0 w 802"/>
                <a:gd name="T71" fmla="*/ 0 h 792"/>
                <a:gd name="T72" fmla="*/ 0 w 802"/>
                <a:gd name="T73" fmla="*/ 0 h 792"/>
                <a:gd name="T74" fmla="*/ 0 w 802"/>
                <a:gd name="T75" fmla="*/ 0 h 792"/>
                <a:gd name="T76" fmla="*/ 0 w 802"/>
                <a:gd name="T77" fmla="*/ 0 h 792"/>
                <a:gd name="T78" fmla="*/ 0 w 802"/>
                <a:gd name="T79" fmla="*/ 0 h 792"/>
                <a:gd name="T80" fmla="*/ 0 w 802"/>
                <a:gd name="T81" fmla="*/ 0 h 792"/>
                <a:gd name="T82" fmla="*/ 0 w 802"/>
                <a:gd name="T83" fmla="*/ 0 h 792"/>
                <a:gd name="T84" fmla="*/ 0 w 802"/>
                <a:gd name="T85" fmla="*/ 0 h 792"/>
                <a:gd name="T86" fmla="*/ 0 w 802"/>
                <a:gd name="T87" fmla="*/ 0 h 792"/>
                <a:gd name="T88" fmla="*/ 0 w 802"/>
                <a:gd name="T89" fmla="*/ 0 h 7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02"/>
                <a:gd name="T136" fmla="*/ 0 h 792"/>
                <a:gd name="T137" fmla="*/ 802 w 802"/>
                <a:gd name="T138" fmla="*/ 792 h 7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02" h="792">
                  <a:moveTo>
                    <a:pt x="610" y="791"/>
                  </a:moveTo>
                  <a:lnTo>
                    <a:pt x="569" y="792"/>
                  </a:lnTo>
                  <a:lnTo>
                    <a:pt x="522" y="770"/>
                  </a:lnTo>
                  <a:lnTo>
                    <a:pt x="445" y="692"/>
                  </a:lnTo>
                  <a:lnTo>
                    <a:pt x="461" y="668"/>
                  </a:lnTo>
                  <a:lnTo>
                    <a:pt x="442" y="652"/>
                  </a:lnTo>
                  <a:lnTo>
                    <a:pt x="464" y="546"/>
                  </a:lnTo>
                  <a:lnTo>
                    <a:pt x="436" y="540"/>
                  </a:lnTo>
                  <a:lnTo>
                    <a:pt x="373" y="598"/>
                  </a:lnTo>
                  <a:lnTo>
                    <a:pt x="326" y="588"/>
                  </a:lnTo>
                  <a:lnTo>
                    <a:pt x="285" y="562"/>
                  </a:lnTo>
                  <a:lnTo>
                    <a:pt x="286" y="448"/>
                  </a:lnTo>
                  <a:lnTo>
                    <a:pt x="268" y="418"/>
                  </a:lnTo>
                  <a:lnTo>
                    <a:pt x="118" y="311"/>
                  </a:lnTo>
                  <a:lnTo>
                    <a:pt x="98" y="218"/>
                  </a:lnTo>
                  <a:lnTo>
                    <a:pt x="47" y="212"/>
                  </a:lnTo>
                  <a:lnTo>
                    <a:pt x="2" y="176"/>
                  </a:lnTo>
                  <a:lnTo>
                    <a:pt x="0" y="133"/>
                  </a:lnTo>
                  <a:lnTo>
                    <a:pt x="21" y="44"/>
                  </a:lnTo>
                  <a:lnTo>
                    <a:pt x="183" y="0"/>
                  </a:lnTo>
                  <a:lnTo>
                    <a:pt x="217" y="2"/>
                  </a:lnTo>
                  <a:lnTo>
                    <a:pt x="216" y="7"/>
                  </a:lnTo>
                  <a:lnTo>
                    <a:pt x="281" y="63"/>
                  </a:lnTo>
                  <a:lnTo>
                    <a:pt x="372" y="55"/>
                  </a:lnTo>
                  <a:lnTo>
                    <a:pt x="448" y="26"/>
                  </a:lnTo>
                  <a:lnTo>
                    <a:pt x="572" y="36"/>
                  </a:lnTo>
                  <a:lnTo>
                    <a:pt x="589" y="68"/>
                  </a:lnTo>
                  <a:lnTo>
                    <a:pt x="603" y="70"/>
                  </a:lnTo>
                  <a:lnTo>
                    <a:pt x="608" y="101"/>
                  </a:lnTo>
                  <a:lnTo>
                    <a:pt x="638" y="128"/>
                  </a:lnTo>
                  <a:lnTo>
                    <a:pt x="681" y="140"/>
                  </a:lnTo>
                  <a:lnTo>
                    <a:pt x="711" y="171"/>
                  </a:lnTo>
                  <a:lnTo>
                    <a:pt x="689" y="313"/>
                  </a:lnTo>
                  <a:lnTo>
                    <a:pt x="718" y="347"/>
                  </a:lnTo>
                  <a:lnTo>
                    <a:pt x="770" y="357"/>
                  </a:lnTo>
                  <a:lnTo>
                    <a:pt x="786" y="390"/>
                  </a:lnTo>
                  <a:lnTo>
                    <a:pt x="785" y="439"/>
                  </a:lnTo>
                  <a:lnTo>
                    <a:pt x="802" y="484"/>
                  </a:lnTo>
                  <a:lnTo>
                    <a:pt x="795" y="520"/>
                  </a:lnTo>
                  <a:lnTo>
                    <a:pt x="735" y="586"/>
                  </a:lnTo>
                  <a:lnTo>
                    <a:pt x="704" y="583"/>
                  </a:lnTo>
                  <a:lnTo>
                    <a:pt x="654" y="607"/>
                  </a:lnTo>
                  <a:lnTo>
                    <a:pt x="614" y="660"/>
                  </a:lnTo>
                  <a:lnTo>
                    <a:pt x="623" y="722"/>
                  </a:lnTo>
                  <a:lnTo>
                    <a:pt x="610" y="79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49" name="Freeform 112"/>
            <p:cNvSpPr>
              <a:spLocks/>
            </p:cNvSpPr>
            <p:nvPr/>
          </p:nvSpPr>
          <p:spPr bwMode="auto">
            <a:xfrm>
              <a:off x="3961180" y="4002069"/>
              <a:ext cx="1479913" cy="1298371"/>
            </a:xfrm>
            <a:custGeom>
              <a:avLst/>
              <a:gdLst>
                <a:gd name="T0" fmla="*/ 0 w 3646"/>
                <a:gd name="T1" fmla="*/ 0 h 3203"/>
                <a:gd name="T2" fmla="*/ 0 w 3646"/>
                <a:gd name="T3" fmla="*/ 0 h 3203"/>
                <a:gd name="T4" fmla="*/ 0 w 3646"/>
                <a:gd name="T5" fmla="*/ 0 h 3203"/>
                <a:gd name="T6" fmla="*/ 0 w 3646"/>
                <a:gd name="T7" fmla="*/ 0 h 3203"/>
                <a:gd name="T8" fmla="*/ 0 w 3646"/>
                <a:gd name="T9" fmla="*/ 0 h 3203"/>
                <a:gd name="T10" fmla="*/ 0 w 3646"/>
                <a:gd name="T11" fmla="*/ 0 h 3203"/>
                <a:gd name="T12" fmla="*/ 0 w 3646"/>
                <a:gd name="T13" fmla="*/ 0 h 3203"/>
                <a:gd name="T14" fmla="*/ 0 w 3646"/>
                <a:gd name="T15" fmla="*/ 0 h 3203"/>
                <a:gd name="T16" fmla="*/ 0 w 3646"/>
                <a:gd name="T17" fmla="*/ 0 h 3203"/>
                <a:gd name="T18" fmla="*/ 0 w 3646"/>
                <a:gd name="T19" fmla="*/ 0 h 3203"/>
                <a:gd name="T20" fmla="*/ 0 w 3646"/>
                <a:gd name="T21" fmla="*/ 0 h 3203"/>
                <a:gd name="T22" fmla="*/ 0 w 3646"/>
                <a:gd name="T23" fmla="*/ 0 h 3203"/>
                <a:gd name="T24" fmla="*/ 0 w 3646"/>
                <a:gd name="T25" fmla="*/ 0 h 3203"/>
                <a:gd name="T26" fmla="*/ 0 w 3646"/>
                <a:gd name="T27" fmla="*/ 0 h 3203"/>
                <a:gd name="T28" fmla="*/ 0 w 3646"/>
                <a:gd name="T29" fmla="*/ 0 h 3203"/>
                <a:gd name="T30" fmla="*/ 0 w 3646"/>
                <a:gd name="T31" fmla="*/ 0 h 3203"/>
                <a:gd name="T32" fmla="*/ 0 w 3646"/>
                <a:gd name="T33" fmla="*/ 0 h 3203"/>
                <a:gd name="T34" fmla="*/ 0 w 3646"/>
                <a:gd name="T35" fmla="*/ 0 h 3203"/>
                <a:gd name="T36" fmla="*/ 0 w 3646"/>
                <a:gd name="T37" fmla="*/ 0 h 3203"/>
                <a:gd name="T38" fmla="*/ 0 w 3646"/>
                <a:gd name="T39" fmla="*/ 0 h 3203"/>
                <a:gd name="T40" fmla="*/ 0 w 3646"/>
                <a:gd name="T41" fmla="*/ 0 h 3203"/>
                <a:gd name="T42" fmla="*/ 0 w 3646"/>
                <a:gd name="T43" fmla="*/ 0 h 3203"/>
                <a:gd name="T44" fmla="*/ 0 w 3646"/>
                <a:gd name="T45" fmla="*/ 0 h 3203"/>
                <a:gd name="T46" fmla="*/ 0 w 3646"/>
                <a:gd name="T47" fmla="*/ 0 h 3203"/>
                <a:gd name="T48" fmla="*/ 0 w 3646"/>
                <a:gd name="T49" fmla="*/ 0 h 3203"/>
                <a:gd name="T50" fmla="*/ 0 w 3646"/>
                <a:gd name="T51" fmla="*/ 0 h 3203"/>
                <a:gd name="T52" fmla="*/ 0 w 3646"/>
                <a:gd name="T53" fmla="*/ 0 h 3203"/>
                <a:gd name="T54" fmla="*/ 0 w 3646"/>
                <a:gd name="T55" fmla="*/ 0 h 3203"/>
                <a:gd name="T56" fmla="*/ 0 w 3646"/>
                <a:gd name="T57" fmla="*/ 0 h 3203"/>
                <a:gd name="T58" fmla="*/ 0 w 3646"/>
                <a:gd name="T59" fmla="*/ 0 h 3203"/>
                <a:gd name="T60" fmla="*/ 0 w 3646"/>
                <a:gd name="T61" fmla="*/ 0 h 3203"/>
                <a:gd name="T62" fmla="*/ 0 w 3646"/>
                <a:gd name="T63" fmla="*/ 0 h 3203"/>
                <a:gd name="T64" fmla="*/ 0 w 3646"/>
                <a:gd name="T65" fmla="*/ 0 h 3203"/>
                <a:gd name="T66" fmla="*/ 0 w 3646"/>
                <a:gd name="T67" fmla="*/ 0 h 3203"/>
                <a:gd name="T68" fmla="*/ 0 w 3646"/>
                <a:gd name="T69" fmla="*/ 0 h 3203"/>
                <a:gd name="T70" fmla="*/ 0 w 3646"/>
                <a:gd name="T71" fmla="*/ 0 h 3203"/>
                <a:gd name="T72" fmla="*/ 0 w 3646"/>
                <a:gd name="T73" fmla="*/ 0 h 3203"/>
                <a:gd name="T74" fmla="*/ 0 w 3646"/>
                <a:gd name="T75" fmla="*/ 0 h 3203"/>
                <a:gd name="T76" fmla="*/ 0 w 3646"/>
                <a:gd name="T77" fmla="*/ 0 h 3203"/>
                <a:gd name="T78" fmla="*/ 0 w 3646"/>
                <a:gd name="T79" fmla="*/ 0 h 3203"/>
                <a:gd name="T80" fmla="*/ 0 w 3646"/>
                <a:gd name="T81" fmla="*/ 0 h 3203"/>
                <a:gd name="T82" fmla="*/ 0 w 3646"/>
                <a:gd name="T83" fmla="*/ 0 h 3203"/>
                <a:gd name="T84" fmla="*/ 0 w 3646"/>
                <a:gd name="T85" fmla="*/ 0 h 3203"/>
                <a:gd name="T86" fmla="*/ 0 w 3646"/>
                <a:gd name="T87" fmla="*/ 0 h 3203"/>
                <a:gd name="T88" fmla="*/ 0 w 3646"/>
                <a:gd name="T89" fmla="*/ 0 h 3203"/>
                <a:gd name="T90" fmla="*/ 0 w 3646"/>
                <a:gd name="T91" fmla="*/ 0 h 3203"/>
                <a:gd name="T92" fmla="*/ 0 w 3646"/>
                <a:gd name="T93" fmla="*/ 0 h 3203"/>
                <a:gd name="T94" fmla="*/ 0 w 3646"/>
                <a:gd name="T95" fmla="*/ 0 h 3203"/>
                <a:gd name="T96" fmla="*/ 0 w 3646"/>
                <a:gd name="T97" fmla="*/ 0 h 3203"/>
                <a:gd name="T98" fmla="*/ 0 w 3646"/>
                <a:gd name="T99" fmla="*/ 0 h 3203"/>
                <a:gd name="T100" fmla="*/ 0 w 3646"/>
                <a:gd name="T101" fmla="*/ 0 h 3203"/>
                <a:gd name="T102" fmla="*/ 0 w 3646"/>
                <a:gd name="T103" fmla="*/ 0 h 3203"/>
                <a:gd name="T104" fmla="*/ 0 w 3646"/>
                <a:gd name="T105" fmla="*/ 0 h 3203"/>
                <a:gd name="T106" fmla="*/ 0 w 3646"/>
                <a:gd name="T107" fmla="*/ 0 h 3203"/>
                <a:gd name="T108" fmla="*/ 0 w 3646"/>
                <a:gd name="T109" fmla="*/ 0 h 3203"/>
                <a:gd name="T110" fmla="*/ 0 w 3646"/>
                <a:gd name="T111" fmla="*/ 0 h 3203"/>
                <a:gd name="T112" fmla="*/ 0 w 3646"/>
                <a:gd name="T113" fmla="*/ 0 h 3203"/>
                <a:gd name="T114" fmla="*/ 0 w 3646"/>
                <a:gd name="T115" fmla="*/ 0 h 3203"/>
                <a:gd name="T116" fmla="*/ 0 w 3646"/>
                <a:gd name="T117" fmla="*/ 0 h 3203"/>
                <a:gd name="T118" fmla="*/ 0 w 3646"/>
                <a:gd name="T119" fmla="*/ 0 h 32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646"/>
                <a:gd name="T181" fmla="*/ 0 h 3203"/>
                <a:gd name="T182" fmla="*/ 3646 w 3646"/>
                <a:gd name="T183" fmla="*/ 3203 h 32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646" h="3203">
                  <a:moveTo>
                    <a:pt x="0" y="2515"/>
                  </a:moveTo>
                  <a:lnTo>
                    <a:pt x="28" y="2353"/>
                  </a:lnTo>
                  <a:lnTo>
                    <a:pt x="236" y="2244"/>
                  </a:lnTo>
                  <a:lnTo>
                    <a:pt x="240" y="2178"/>
                  </a:lnTo>
                  <a:lnTo>
                    <a:pt x="210" y="2105"/>
                  </a:lnTo>
                  <a:lnTo>
                    <a:pt x="214" y="2025"/>
                  </a:lnTo>
                  <a:lnTo>
                    <a:pt x="243" y="1951"/>
                  </a:lnTo>
                  <a:lnTo>
                    <a:pt x="338" y="1857"/>
                  </a:lnTo>
                  <a:lnTo>
                    <a:pt x="305" y="1704"/>
                  </a:lnTo>
                  <a:lnTo>
                    <a:pt x="316" y="1614"/>
                  </a:lnTo>
                  <a:lnTo>
                    <a:pt x="373" y="1595"/>
                  </a:lnTo>
                  <a:lnTo>
                    <a:pt x="436" y="1599"/>
                  </a:lnTo>
                  <a:lnTo>
                    <a:pt x="506" y="1557"/>
                  </a:lnTo>
                  <a:lnTo>
                    <a:pt x="527" y="1507"/>
                  </a:lnTo>
                  <a:lnTo>
                    <a:pt x="510" y="1440"/>
                  </a:lnTo>
                  <a:lnTo>
                    <a:pt x="666" y="1143"/>
                  </a:lnTo>
                  <a:lnTo>
                    <a:pt x="817" y="1069"/>
                  </a:lnTo>
                  <a:lnTo>
                    <a:pt x="882" y="1010"/>
                  </a:lnTo>
                  <a:lnTo>
                    <a:pt x="896" y="968"/>
                  </a:lnTo>
                  <a:lnTo>
                    <a:pt x="860" y="846"/>
                  </a:lnTo>
                  <a:lnTo>
                    <a:pt x="701" y="766"/>
                  </a:lnTo>
                  <a:lnTo>
                    <a:pt x="621" y="777"/>
                  </a:lnTo>
                  <a:lnTo>
                    <a:pt x="437" y="703"/>
                  </a:lnTo>
                  <a:lnTo>
                    <a:pt x="408" y="666"/>
                  </a:lnTo>
                  <a:lnTo>
                    <a:pt x="424" y="601"/>
                  </a:lnTo>
                  <a:lnTo>
                    <a:pt x="266" y="588"/>
                  </a:lnTo>
                  <a:lnTo>
                    <a:pt x="204" y="624"/>
                  </a:lnTo>
                  <a:lnTo>
                    <a:pt x="200" y="595"/>
                  </a:lnTo>
                  <a:lnTo>
                    <a:pt x="215" y="547"/>
                  </a:lnTo>
                  <a:lnTo>
                    <a:pt x="256" y="493"/>
                  </a:lnTo>
                  <a:lnTo>
                    <a:pt x="307" y="459"/>
                  </a:lnTo>
                  <a:lnTo>
                    <a:pt x="262" y="449"/>
                  </a:lnTo>
                  <a:lnTo>
                    <a:pt x="293" y="412"/>
                  </a:lnTo>
                  <a:lnTo>
                    <a:pt x="255" y="372"/>
                  </a:lnTo>
                  <a:lnTo>
                    <a:pt x="314" y="319"/>
                  </a:lnTo>
                  <a:lnTo>
                    <a:pt x="288" y="313"/>
                  </a:lnTo>
                  <a:lnTo>
                    <a:pt x="263" y="279"/>
                  </a:lnTo>
                  <a:lnTo>
                    <a:pt x="286" y="238"/>
                  </a:lnTo>
                  <a:lnTo>
                    <a:pt x="233" y="140"/>
                  </a:lnTo>
                  <a:lnTo>
                    <a:pt x="282" y="83"/>
                  </a:lnTo>
                  <a:lnTo>
                    <a:pt x="355" y="63"/>
                  </a:lnTo>
                  <a:lnTo>
                    <a:pt x="417" y="68"/>
                  </a:lnTo>
                  <a:lnTo>
                    <a:pt x="511" y="100"/>
                  </a:lnTo>
                  <a:lnTo>
                    <a:pt x="564" y="76"/>
                  </a:lnTo>
                  <a:lnTo>
                    <a:pt x="575" y="39"/>
                  </a:lnTo>
                  <a:lnTo>
                    <a:pt x="626" y="0"/>
                  </a:lnTo>
                  <a:lnTo>
                    <a:pt x="748" y="17"/>
                  </a:lnTo>
                  <a:lnTo>
                    <a:pt x="855" y="112"/>
                  </a:lnTo>
                  <a:lnTo>
                    <a:pt x="1147" y="236"/>
                  </a:lnTo>
                  <a:lnTo>
                    <a:pt x="1208" y="226"/>
                  </a:lnTo>
                  <a:lnTo>
                    <a:pt x="1743" y="491"/>
                  </a:lnTo>
                  <a:lnTo>
                    <a:pt x="1815" y="494"/>
                  </a:lnTo>
                  <a:lnTo>
                    <a:pt x="1959" y="576"/>
                  </a:lnTo>
                  <a:lnTo>
                    <a:pt x="2109" y="616"/>
                  </a:lnTo>
                  <a:lnTo>
                    <a:pt x="2174" y="661"/>
                  </a:lnTo>
                  <a:lnTo>
                    <a:pt x="2265" y="691"/>
                  </a:lnTo>
                  <a:lnTo>
                    <a:pt x="2313" y="692"/>
                  </a:lnTo>
                  <a:lnTo>
                    <a:pt x="2317" y="717"/>
                  </a:lnTo>
                  <a:lnTo>
                    <a:pt x="2442" y="875"/>
                  </a:lnTo>
                  <a:lnTo>
                    <a:pt x="2494" y="903"/>
                  </a:lnTo>
                  <a:lnTo>
                    <a:pt x="2570" y="995"/>
                  </a:lnTo>
                  <a:lnTo>
                    <a:pt x="2865" y="1150"/>
                  </a:lnTo>
                  <a:lnTo>
                    <a:pt x="2901" y="1152"/>
                  </a:lnTo>
                  <a:lnTo>
                    <a:pt x="2963" y="1129"/>
                  </a:lnTo>
                  <a:lnTo>
                    <a:pt x="3008" y="1129"/>
                  </a:lnTo>
                  <a:lnTo>
                    <a:pt x="3112" y="1225"/>
                  </a:lnTo>
                  <a:lnTo>
                    <a:pt x="3138" y="1269"/>
                  </a:lnTo>
                  <a:lnTo>
                    <a:pt x="3147" y="1304"/>
                  </a:lnTo>
                  <a:lnTo>
                    <a:pt x="3181" y="1315"/>
                  </a:lnTo>
                  <a:lnTo>
                    <a:pt x="3205" y="1311"/>
                  </a:lnTo>
                  <a:lnTo>
                    <a:pt x="3199" y="1287"/>
                  </a:lnTo>
                  <a:lnTo>
                    <a:pt x="3247" y="1345"/>
                  </a:lnTo>
                  <a:lnTo>
                    <a:pt x="3285" y="1367"/>
                  </a:lnTo>
                  <a:lnTo>
                    <a:pt x="3611" y="1420"/>
                  </a:lnTo>
                  <a:lnTo>
                    <a:pt x="3645" y="1444"/>
                  </a:lnTo>
                  <a:lnTo>
                    <a:pt x="3646" y="1485"/>
                  </a:lnTo>
                  <a:lnTo>
                    <a:pt x="3598" y="1498"/>
                  </a:lnTo>
                  <a:lnTo>
                    <a:pt x="3593" y="1552"/>
                  </a:lnTo>
                  <a:lnTo>
                    <a:pt x="3602" y="1602"/>
                  </a:lnTo>
                  <a:lnTo>
                    <a:pt x="3542" y="1653"/>
                  </a:lnTo>
                  <a:lnTo>
                    <a:pt x="3228" y="1784"/>
                  </a:lnTo>
                  <a:lnTo>
                    <a:pt x="2887" y="1825"/>
                  </a:lnTo>
                  <a:lnTo>
                    <a:pt x="2805" y="1888"/>
                  </a:lnTo>
                  <a:lnTo>
                    <a:pt x="2797" y="1924"/>
                  </a:lnTo>
                  <a:lnTo>
                    <a:pt x="2395" y="2258"/>
                  </a:lnTo>
                  <a:lnTo>
                    <a:pt x="2334" y="2351"/>
                  </a:lnTo>
                  <a:lnTo>
                    <a:pt x="2331" y="2363"/>
                  </a:lnTo>
                  <a:lnTo>
                    <a:pt x="2344" y="2398"/>
                  </a:lnTo>
                  <a:lnTo>
                    <a:pt x="2344" y="2497"/>
                  </a:lnTo>
                  <a:lnTo>
                    <a:pt x="2363" y="2534"/>
                  </a:lnTo>
                  <a:lnTo>
                    <a:pt x="2389" y="2558"/>
                  </a:lnTo>
                  <a:lnTo>
                    <a:pt x="2428" y="2579"/>
                  </a:lnTo>
                  <a:lnTo>
                    <a:pt x="2441" y="2617"/>
                  </a:lnTo>
                  <a:lnTo>
                    <a:pt x="2403" y="2661"/>
                  </a:lnTo>
                  <a:lnTo>
                    <a:pt x="2257" y="2719"/>
                  </a:lnTo>
                  <a:lnTo>
                    <a:pt x="2045" y="2956"/>
                  </a:lnTo>
                  <a:lnTo>
                    <a:pt x="2048" y="2993"/>
                  </a:lnTo>
                  <a:lnTo>
                    <a:pt x="1865" y="2972"/>
                  </a:lnTo>
                  <a:lnTo>
                    <a:pt x="1726" y="3041"/>
                  </a:lnTo>
                  <a:lnTo>
                    <a:pt x="1624" y="3174"/>
                  </a:lnTo>
                  <a:lnTo>
                    <a:pt x="1586" y="3203"/>
                  </a:lnTo>
                  <a:lnTo>
                    <a:pt x="1539" y="3197"/>
                  </a:lnTo>
                  <a:lnTo>
                    <a:pt x="1474" y="3164"/>
                  </a:lnTo>
                  <a:lnTo>
                    <a:pt x="1380" y="3174"/>
                  </a:lnTo>
                  <a:lnTo>
                    <a:pt x="855" y="3021"/>
                  </a:lnTo>
                  <a:lnTo>
                    <a:pt x="771" y="3068"/>
                  </a:lnTo>
                  <a:lnTo>
                    <a:pt x="698" y="3053"/>
                  </a:lnTo>
                  <a:lnTo>
                    <a:pt x="626" y="3059"/>
                  </a:lnTo>
                  <a:lnTo>
                    <a:pt x="563" y="3094"/>
                  </a:lnTo>
                  <a:lnTo>
                    <a:pt x="537" y="3123"/>
                  </a:lnTo>
                  <a:lnTo>
                    <a:pt x="501" y="3141"/>
                  </a:lnTo>
                  <a:lnTo>
                    <a:pt x="450" y="3152"/>
                  </a:lnTo>
                  <a:lnTo>
                    <a:pt x="359" y="3102"/>
                  </a:lnTo>
                  <a:lnTo>
                    <a:pt x="307" y="3031"/>
                  </a:lnTo>
                  <a:lnTo>
                    <a:pt x="276" y="2916"/>
                  </a:lnTo>
                  <a:lnTo>
                    <a:pt x="284" y="2865"/>
                  </a:lnTo>
                  <a:lnTo>
                    <a:pt x="255" y="2818"/>
                  </a:lnTo>
                  <a:lnTo>
                    <a:pt x="271" y="2731"/>
                  </a:lnTo>
                  <a:lnTo>
                    <a:pt x="226" y="2649"/>
                  </a:lnTo>
                  <a:lnTo>
                    <a:pt x="122" y="2551"/>
                  </a:lnTo>
                  <a:lnTo>
                    <a:pt x="0" y="2515"/>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0" name="Freeform 114"/>
            <p:cNvSpPr>
              <a:spLocks/>
            </p:cNvSpPr>
            <p:nvPr/>
          </p:nvSpPr>
          <p:spPr bwMode="auto">
            <a:xfrm>
              <a:off x="7687202" y="4474013"/>
              <a:ext cx="726312" cy="469847"/>
            </a:xfrm>
            <a:custGeom>
              <a:avLst/>
              <a:gdLst>
                <a:gd name="T0" fmla="*/ 0 w 1784"/>
                <a:gd name="T1" fmla="*/ 0 h 1159"/>
                <a:gd name="T2" fmla="*/ 0 w 1784"/>
                <a:gd name="T3" fmla="*/ 0 h 1159"/>
                <a:gd name="T4" fmla="*/ 0 w 1784"/>
                <a:gd name="T5" fmla="*/ 0 h 1159"/>
                <a:gd name="T6" fmla="*/ 0 w 1784"/>
                <a:gd name="T7" fmla="*/ 0 h 1159"/>
                <a:gd name="T8" fmla="*/ 0 w 1784"/>
                <a:gd name="T9" fmla="*/ 0 h 1159"/>
                <a:gd name="T10" fmla="*/ 0 w 1784"/>
                <a:gd name="T11" fmla="*/ 0 h 1159"/>
                <a:gd name="T12" fmla="*/ 0 w 1784"/>
                <a:gd name="T13" fmla="*/ 0 h 1159"/>
                <a:gd name="T14" fmla="*/ 0 w 1784"/>
                <a:gd name="T15" fmla="*/ 0 h 1159"/>
                <a:gd name="T16" fmla="*/ 0 w 1784"/>
                <a:gd name="T17" fmla="*/ 0 h 1159"/>
                <a:gd name="T18" fmla="*/ 0 w 1784"/>
                <a:gd name="T19" fmla="*/ 0 h 1159"/>
                <a:gd name="T20" fmla="*/ 0 w 1784"/>
                <a:gd name="T21" fmla="*/ 0 h 1159"/>
                <a:gd name="T22" fmla="*/ 0 w 1784"/>
                <a:gd name="T23" fmla="*/ 0 h 1159"/>
                <a:gd name="T24" fmla="*/ 0 w 1784"/>
                <a:gd name="T25" fmla="*/ 0 h 1159"/>
                <a:gd name="T26" fmla="*/ 0 w 1784"/>
                <a:gd name="T27" fmla="*/ 0 h 1159"/>
                <a:gd name="T28" fmla="*/ 0 w 1784"/>
                <a:gd name="T29" fmla="*/ 0 h 1159"/>
                <a:gd name="T30" fmla="*/ 0 w 1784"/>
                <a:gd name="T31" fmla="*/ 0 h 1159"/>
                <a:gd name="T32" fmla="*/ 0 w 1784"/>
                <a:gd name="T33" fmla="*/ 0 h 1159"/>
                <a:gd name="T34" fmla="*/ 0 w 1784"/>
                <a:gd name="T35" fmla="*/ 0 h 1159"/>
                <a:gd name="T36" fmla="*/ 0 w 1784"/>
                <a:gd name="T37" fmla="*/ 0 h 1159"/>
                <a:gd name="T38" fmla="*/ 0 w 1784"/>
                <a:gd name="T39" fmla="*/ 0 h 1159"/>
                <a:gd name="T40" fmla="*/ 0 w 1784"/>
                <a:gd name="T41" fmla="*/ 0 h 1159"/>
                <a:gd name="T42" fmla="*/ 0 w 1784"/>
                <a:gd name="T43" fmla="*/ 0 h 1159"/>
                <a:gd name="T44" fmla="*/ 0 w 1784"/>
                <a:gd name="T45" fmla="*/ 0 h 1159"/>
                <a:gd name="T46" fmla="*/ 0 w 1784"/>
                <a:gd name="T47" fmla="*/ 0 h 1159"/>
                <a:gd name="T48" fmla="*/ 0 w 1784"/>
                <a:gd name="T49" fmla="*/ 0 h 1159"/>
                <a:gd name="T50" fmla="*/ 0 w 1784"/>
                <a:gd name="T51" fmla="*/ 0 h 1159"/>
                <a:gd name="T52" fmla="*/ 0 w 1784"/>
                <a:gd name="T53" fmla="*/ 0 h 1159"/>
                <a:gd name="T54" fmla="*/ 0 w 1784"/>
                <a:gd name="T55" fmla="*/ 0 h 1159"/>
                <a:gd name="T56" fmla="*/ 0 w 1784"/>
                <a:gd name="T57" fmla="*/ 0 h 1159"/>
                <a:gd name="T58" fmla="*/ 0 w 1784"/>
                <a:gd name="T59" fmla="*/ 0 h 1159"/>
                <a:gd name="T60" fmla="*/ 0 w 1784"/>
                <a:gd name="T61" fmla="*/ 0 h 1159"/>
                <a:gd name="T62" fmla="*/ 0 w 1784"/>
                <a:gd name="T63" fmla="*/ 0 h 1159"/>
                <a:gd name="T64" fmla="*/ 0 w 1784"/>
                <a:gd name="T65" fmla="*/ 0 h 1159"/>
                <a:gd name="T66" fmla="*/ 0 w 1784"/>
                <a:gd name="T67" fmla="*/ 0 h 1159"/>
                <a:gd name="T68" fmla="*/ 0 w 1784"/>
                <a:gd name="T69" fmla="*/ 0 h 1159"/>
                <a:gd name="T70" fmla="*/ 0 w 1784"/>
                <a:gd name="T71" fmla="*/ 0 h 1159"/>
                <a:gd name="T72" fmla="*/ 0 w 1784"/>
                <a:gd name="T73" fmla="*/ 0 h 1159"/>
                <a:gd name="T74" fmla="*/ 0 w 1784"/>
                <a:gd name="T75" fmla="*/ 0 h 1159"/>
                <a:gd name="T76" fmla="*/ 0 w 1784"/>
                <a:gd name="T77" fmla="*/ 0 h 1159"/>
                <a:gd name="T78" fmla="*/ 0 w 1784"/>
                <a:gd name="T79" fmla="*/ 0 h 1159"/>
                <a:gd name="T80" fmla="*/ 0 w 1784"/>
                <a:gd name="T81" fmla="*/ 0 h 1159"/>
                <a:gd name="T82" fmla="*/ 0 w 1784"/>
                <a:gd name="T83" fmla="*/ 0 h 1159"/>
                <a:gd name="T84" fmla="*/ 0 w 1784"/>
                <a:gd name="T85" fmla="*/ 0 h 11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84"/>
                <a:gd name="T130" fmla="*/ 0 h 1159"/>
                <a:gd name="T131" fmla="*/ 1784 w 1784"/>
                <a:gd name="T132" fmla="*/ 1159 h 11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84" h="1159">
                  <a:moveTo>
                    <a:pt x="189" y="1159"/>
                  </a:moveTo>
                  <a:lnTo>
                    <a:pt x="143" y="911"/>
                  </a:lnTo>
                  <a:lnTo>
                    <a:pt x="17" y="812"/>
                  </a:lnTo>
                  <a:lnTo>
                    <a:pt x="14" y="684"/>
                  </a:lnTo>
                  <a:lnTo>
                    <a:pt x="74" y="547"/>
                  </a:lnTo>
                  <a:lnTo>
                    <a:pt x="132" y="485"/>
                  </a:lnTo>
                  <a:lnTo>
                    <a:pt x="2" y="324"/>
                  </a:lnTo>
                  <a:lnTo>
                    <a:pt x="0" y="104"/>
                  </a:lnTo>
                  <a:lnTo>
                    <a:pt x="85" y="61"/>
                  </a:lnTo>
                  <a:lnTo>
                    <a:pt x="152" y="80"/>
                  </a:lnTo>
                  <a:lnTo>
                    <a:pt x="120" y="156"/>
                  </a:lnTo>
                  <a:lnTo>
                    <a:pt x="178" y="201"/>
                  </a:lnTo>
                  <a:lnTo>
                    <a:pt x="875" y="223"/>
                  </a:lnTo>
                  <a:lnTo>
                    <a:pt x="1289" y="6"/>
                  </a:lnTo>
                  <a:lnTo>
                    <a:pt x="1388" y="0"/>
                  </a:lnTo>
                  <a:lnTo>
                    <a:pt x="1424" y="25"/>
                  </a:lnTo>
                  <a:lnTo>
                    <a:pt x="1580" y="50"/>
                  </a:lnTo>
                  <a:lnTo>
                    <a:pt x="1693" y="114"/>
                  </a:lnTo>
                  <a:lnTo>
                    <a:pt x="1784" y="94"/>
                  </a:lnTo>
                  <a:lnTo>
                    <a:pt x="1780" y="178"/>
                  </a:lnTo>
                  <a:lnTo>
                    <a:pt x="1758" y="240"/>
                  </a:lnTo>
                  <a:lnTo>
                    <a:pt x="1662" y="276"/>
                  </a:lnTo>
                  <a:lnTo>
                    <a:pt x="1606" y="359"/>
                  </a:lnTo>
                  <a:lnTo>
                    <a:pt x="1619" y="515"/>
                  </a:lnTo>
                  <a:lnTo>
                    <a:pt x="1576" y="536"/>
                  </a:lnTo>
                  <a:lnTo>
                    <a:pt x="1563" y="566"/>
                  </a:lnTo>
                  <a:lnTo>
                    <a:pt x="1510" y="623"/>
                  </a:lnTo>
                  <a:lnTo>
                    <a:pt x="1529" y="644"/>
                  </a:lnTo>
                  <a:lnTo>
                    <a:pt x="1555" y="649"/>
                  </a:lnTo>
                  <a:lnTo>
                    <a:pt x="1671" y="807"/>
                  </a:lnTo>
                  <a:lnTo>
                    <a:pt x="1678" y="842"/>
                  </a:lnTo>
                  <a:lnTo>
                    <a:pt x="1635" y="840"/>
                  </a:lnTo>
                  <a:lnTo>
                    <a:pt x="1513" y="868"/>
                  </a:lnTo>
                  <a:lnTo>
                    <a:pt x="1415" y="826"/>
                  </a:lnTo>
                  <a:lnTo>
                    <a:pt x="1235" y="896"/>
                  </a:lnTo>
                  <a:lnTo>
                    <a:pt x="1189" y="937"/>
                  </a:lnTo>
                  <a:lnTo>
                    <a:pt x="1127" y="947"/>
                  </a:lnTo>
                  <a:lnTo>
                    <a:pt x="1125" y="1056"/>
                  </a:lnTo>
                  <a:lnTo>
                    <a:pt x="1056" y="1127"/>
                  </a:lnTo>
                  <a:lnTo>
                    <a:pt x="948" y="1158"/>
                  </a:lnTo>
                  <a:lnTo>
                    <a:pt x="751" y="1103"/>
                  </a:lnTo>
                  <a:lnTo>
                    <a:pt x="696" y="1060"/>
                  </a:lnTo>
                  <a:lnTo>
                    <a:pt x="189" y="1159"/>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1" name="Freeform 116"/>
            <p:cNvSpPr>
              <a:spLocks/>
            </p:cNvSpPr>
            <p:nvPr/>
          </p:nvSpPr>
          <p:spPr bwMode="auto">
            <a:xfrm>
              <a:off x="6771965" y="4316699"/>
              <a:ext cx="35686" cy="41951"/>
            </a:xfrm>
            <a:custGeom>
              <a:avLst/>
              <a:gdLst>
                <a:gd name="T0" fmla="*/ 0 w 81"/>
                <a:gd name="T1" fmla="*/ 0 h 102"/>
                <a:gd name="T2" fmla="*/ 0 w 81"/>
                <a:gd name="T3" fmla="*/ 0 h 102"/>
                <a:gd name="T4" fmla="*/ 0 w 81"/>
                <a:gd name="T5" fmla="*/ 0 h 102"/>
                <a:gd name="T6" fmla="*/ 0 w 81"/>
                <a:gd name="T7" fmla="*/ 0 h 102"/>
                <a:gd name="T8" fmla="*/ 0 w 81"/>
                <a:gd name="T9" fmla="*/ 0 h 102"/>
                <a:gd name="T10" fmla="*/ 0 w 81"/>
                <a:gd name="T11" fmla="*/ 0 h 102"/>
                <a:gd name="T12" fmla="*/ 0 w 81"/>
                <a:gd name="T13" fmla="*/ 0 h 102"/>
                <a:gd name="T14" fmla="*/ 0 w 81"/>
                <a:gd name="T15" fmla="*/ 0 h 102"/>
                <a:gd name="T16" fmla="*/ 0 w 81"/>
                <a:gd name="T17" fmla="*/ 0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102"/>
                <a:gd name="T29" fmla="*/ 81 w 81"/>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102">
                  <a:moveTo>
                    <a:pt x="29" y="0"/>
                  </a:moveTo>
                  <a:lnTo>
                    <a:pt x="40" y="50"/>
                  </a:lnTo>
                  <a:lnTo>
                    <a:pt x="76" y="80"/>
                  </a:lnTo>
                  <a:lnTo>
                    <a:pt x="81" y="102"/>
                  </a:lnTo>
                  <a:lnTo>
                    <a:pt x="45" y="80"/>
                  </a:lnTo>
                  <a:lnTo>
                    <a:pt x="14" y="75"/>
                  </a:lnTo>
                  <a:lnTo>
                    <a:pt x="0" y="62"/>
                  </a:lnTo>
                  <a:lnTo>
                    <a:pt x="16" y="14"/>
                  </a:lnTo>
                  <a:lnTo>
                    <a:pt x="29"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2" name="Freeform 117"/>
            <p:cNvSpPr>
              <a:spLocks/>
            </p:cNvSpPr>
            <p:nvPr/>
          </p:nvSpPr>
          <p:spPr bwMode="auto">
            <a:xfrm>
              <a:off x="6771965" y="4316699"/>
              <a:ext cx="35686" cy="41951"/>
            </a:xfrm>
            <a:custGeom>
              <a:avLst/>
              <a:gdLst>
                <a:gd name="T0" fmla="*/ 0 w 81"/>
                <a:gd name="T1" fmla="*/ 0 h 102"/>
                <a:gd name="T2" fmla="*/ 0 w 81"/>
                <a:gd name="T3" fmla="*/ 0 h 102"/>
                <a:gd name="T4" fmla="*/ 0 w 81"/>
                <a:gd name="T5" fmla="*/ 0 h 102"/>
                <a:gd name="T6" fmla="*/ 0 w 81"/>
                <a:gd name="T7" fmla="*/ 0 h 102"/>
                <a:gd name="T8" fmla="*/ 0 w 81"/>
                <a:gd name="T9" fmla="*/ 0 h 102"/>
                <a:gd name="T10" fmla="*/ 0 w 81"/>
                <a:gd name="T11" fmla="*/ 0 h 102"/>
                <a:gd name="T12" fmla="*/ 0 w 81"/>
                <a:gd name="T13" fmla="*/ 0 h 102"/>
                <a:gd name="T14" fmla="*/ 0 w 81"/>
                <a:gd name="T15" fmla="*/ 0 h 102"/>
                <a:gd name="T16" fmla="*/ 0 w 81"/>
                <a:gd name="T17" fmla="*/ 0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102"/>
                <a:gd name="T29" fmla="*/ 81 w 81"/>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102">
                  <a:moveTo>
                    <a:pt x="29" y="0"/>
                  </a:moveTo>
                  <a:lnTo>
                    <a:pt x="40" y="50"/>
                  </a:lnTo>
                  <a:lnTo>
                    <a:pt x="76" y="80"/>
                  </a:lnTo>
                  <a:lnTo>
                    <a:pt x="81" y="102"/>
                  </a:lnTo>
                  <a:lnTo>
                    <a:pt x="45" y="80"/>
                  </a:lnTo>
                  <a:lnTo>
                    <a:pt x="14" y="75"/>
                  </a:lnTo>
                  <a:lnTo>
                    <a:pt x="0" y="62"/>
                  </a:lnTo>
                  <a:lnTo>
                    <a:pt x="16" y="14"/>
                  </a:lnTo>
                  <a:lnTo>
                    <a:pt x="29" y="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3" name="Freeform 118"/>
            <p:cNvSpPr>
              <a:spLocks/>
            </p:cNvSpPr>
            <p:nvPr/>
          </p:nvSpPr>
          <p:spPr bwMode="auto">
            <a:xfrm>
              <a:off x="6753072" y="4320894"/>
              <a:ext cx="18893" cy="83901"/>
            </a:xfrm>
            <a:custGeom>
              <a:avLst/>
              <a:gdLst>
                <a:gd name="T0" fmla="*/ 0 w 44"/>
                <a:gd name="T1" fmla="*/ 0 h 204"/>
                <a:gd name="T2" fmla="*/ 0 w 44"/>
                <a:gd name="T3" fmla="*/ 0 h 204"/>
                <a:gd name="T4" fmla="*/ 0 w 44"/>
                <a:gd name="T5" fmla="*/ 0 h 204"/>
                <a:gd name="T6" fmla="*/ 0 w 44"/>
                <a:gd name="T7" fmla="*/ 0 h 204"/>
                <a:gd name="T8" fmla="*/ 0 w 44"/>
                <a:gd name="T9" fmla="*/ 0 h 204"/>
                <a:gd name="T10" fmla="*/ 0 w 44"/>
                <a:gd name="T11" fmla="*/ 0 h 204"/>
                <a:gd name="T12" fmla="*/ 0 w 44"/>
                <a:gd name="T13" fmla="*/ 0 h 204"/>
                <a:gd name="T14" fmla="*/ 0 w 44"/>
                <a:gd name="T15" fmla="*/ 0 h 204"/>
                <a:gd name="T16" fmla="*/ 0 w 44"/>
                <a:gd name="T17" fmla="*/ 0 h 204"/>
                <a:gd name="T18" fmla="*/ 0 w 44"/>
                <a:gd name="T19" fmla="*/ 0 h 2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204"/>
                <a:gd name="T32" fmla="*/ 44 w 44"/>
                <a:gd name="T33" fmla="*/ 204 h 2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204">
                  <a:moveTo>
                    <a:pt x="14" y="11"/>
                  </a:moveTo>
                  <a:lnTo>
                    <a:pt x="13" y="3"/>
                  </a:lnTo>
                  <a:lnTo>
                    <a:pt x="21" y="0"/>
                  </a:lnTo>
                  <a:lnTo>
                    <a:pt x="29" y="19"/>
                  </a:lnTo>
                  <a:lnTo>
                    <a:pt x="44" y="204"/>
                  </a:lnTo>
                  <a:lnTo>
                    <a:pt x="0" y="118"/>
                  </a:lnTo>
                  <a:lnTo>
                    <a:pt x="1" y="110"/>
                  </a:lnTo>
                  <a:lnTo>
                    <a:pt x="24" y="87"/>
                  </a:lnTo>
                  <a:lnTo>
                    <a:pt x="27" y="61"/>
                  </a:lnTo>
                  <a:lnTo>
                    <a:pt x="14" y="1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4" name="Freeform 119"/>
            <p:cNvSpPr>
              <a:spLocks/>
            </p:cNvSpPr>
            <p:nvPr/>
          </p:nvSpPr>
          <p:spPr bwMode="auto">
            <a:xfrm>
              <a:off x="6753072" y="4320894"/>
              <a:ext cx="18893" cy="83901"/>
            </a:xfrm>
            <a:custGeom>
              <a:avLst/>
              <a:gdLst>
                <a:gd name="T0" fmla="*/ 0 w 44"/>
                <a:gd name="T1" fmla="*/ 0 h 204"/>
                <a:gd name="T2" fmla="*/ 0 w 44"/>
                <a:gd name="T3" fmla="*/ 0 h 204"/>
                <a:gd name="T4" fmla="*/ 0 w 44"/>
                <a:gd name="T5" fmla="*/ 0 h 204"/>
                <a:gd name="T6" fmla="*/ 0 w 44"/>
                <a:gd name="T7" fmla="*/ 0 h 204"/>
                <a:gd name="T8" fmla="*/ 0 w 44"/>
                <a:gd name="T9" fmla="*/ 0 h 204"/>
                <a:gd name="T10" fmla="*/ 0 w 44"/>
                <a:gd name="T11" fmla="*/ 0 h 204"/>
                <a:gd name="T12" fmla="*/ 0 w 44"/>
                <a:gd name="T13" fmla="*/ 0 h 204"/>
                <a:gd name="T14" fmla="*/ 0 w 44"/>
                <a:gd name="T15" fmla="*/ 0 h 204"/>
                <a:gd name="T16" fmla="*/ 0 w 44"/>
                <a:gd name="T17" fmla="*/ 0 h 204"/>
                <a:gd name="T18" fmla="*/ 0 w 44"/>
                <a:gd name="T19" fmla="*/ 0 h 2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204"/>
                <a:gd name="T32" fmla="*/ 44 w 44"/>
                <a:gd name="T33" fmla="*/ 204 h 2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204">
                  <a:moveTo>
                    <a:pt x="14" y="11"/>
                  </a:moveTo>
                  <a:lnTo>
                    <a:pt x="13" y="3"/>
                  </a:lnTo>
                  <a:lnTo>
                    <a:pt x="21" y="0"/>
                  </a:lnTo>
                  <a:lnTo>
                    <a:pt x="29" y="19"/>
                  </a:lnTo>
                  <a:lnTo>
                    <a:pt x="44" y="204"/>
                  </a:lnTo>
                  <a:lnTo>
                    <a:pt x="0" y="118"/>
                  </a:lnTo>
                  <a:lnTo>
                    <a:pt x="1" y="110"/>
                  </a:lnTo>
                  <a:lnTo>
                    <a:pt x="24" y="87"/>
                  </a:lnTo>
                  <a:lnTo>
                    <a:pt x="27" y="61"/>
                  </a:lnTo>
                  <a:lnTo>
                    <a:pt x="14" y="1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5" name="Freeform 120"/>
            <p:cNvSpPr>
              <a:spLocks/>
            </p:cNvSpPr>
            <p:nvPr/>
          </p:nvSpPr>
          <p:spPr bwMode="auto">
            <a:xfrm>
              <a:off x="6983981" y="4618743"/>
              <a:ext cx="52479" cy="18878"/>
            </a:xfrm>
            <a:custGeom>
              <a:avLst/>
              <a:gdLst>
                <a:gd name="T0" fmla="*/ 0 w 126"/>
                <a:gd name="T1" fmla="*/ 0 h 48"/>
                <a:gd name="T2" fmla="*/ 0 w 126"/>
                <a:gd name="T3" fmla="*/ 0 h 48"/>
                <a:gd name="T4" fmla="*/ 0 w 126"/>
                <a:gd name="T5" fmla="*/ 0 h 48"/>
                <a:gd name="T6" fmla="*/ 0 w 126"/>
                <a:gd name="T7" fmla="*/ 0 h 48"/>
                <a:gd name="T8" fmla="*/ 0 w 126"/>
                <a:gd name="T9" fmla="*/ 0 h 48"/>
                <a:gd name="T10" fmla="*/ 0 w 126"/>
                <a:gd name="T11" fmla="*/ 0 h 48"/>
                <a:gd name="T12" fmla="*/ 0 w 126"/>
                <a:gd name="T13" fmla="*/ 0 h 48"/>
                <a:gd name="T14" fmla="*/ 0 60000 65536"/>
                <a:gd name="T15" fmla="*/ 0 60000 65536"/>
                <a:gd name="T16" fmla="*/ 0 60000 65536"/>
                <a:gd name="T17" fmla="*/ 0 60000 65536"/>
                <a:gd name="T18" fmla="*/ 0 60000 65536"/>
                <a:gd name="T19" fmla="*/ 0 60000 65536"/>
                <a:gd name="T20" fmla="*/ 0 60000 65536"/>
                <a:gd name="T21" fmla="*/ 0 w 126"/>
                <a:gd name="T22" fmla="*/ 0 h 48"/>
                <a:gd name="T23" fmla="*/ 126 w 126"/>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48">
                  <a:moveTo>
                    <a:pt x="0" y="6"/>
                  </a:moveTo>
                  <a:lnTo>
                    <a:pt x="13" y="0"/>
                  </a:lnTo>
                  <a:lnTo>
                    <a:pt x="120" y="33"/>
                  </a:lnTo>
                  <a:lnTo>
                    <a:pt x="126" y="43"/>
                  </a:lnTo>
                  <a:lnTo>
                    <a:pt x="119" y="48"/>
                  </a:lnTo>
                  <a:lnTo>
                    <a:pt x="11" y="44"/>
                  </a:lnTo>
                  <a:lnTo>
                    <a:pt x="0" y="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6" name="Freeform 121"/>
            <p:cNvSpPr>
              <a:spLocks/>
            </p:cNvSpPr>
            <p:nvPr/>
          </p:nvSpPr>
          <p:spPr bwMode="auto">
            <a:xfrm>
              <a:off x="6983981" y="4618743"/>
              <a:ext cx="52479" cy="18878"/>
            </a:xfrm>
            <a:custGeom>
              <a:avLst/>
              <a:gdLst>
                <a:gd name="T0" fmla="*/ 0 w 126"/>
                <a:gd name="T1" fmla="*/ 0 h 48"/>
                <a:gd name="T2" fmla="*/ 0 w 126"/>
                <a:gd name="T3" fmla="*/ 0 h 48"/>
                <a:gd name="T4" fmla="*/ 0 w 126"/>
                <a:gd name="T5" fmla="*/ 0 h 48"/>
                <a:gd name="T6" fmla="*/ 0 w 126"/>
                <a:gd name="T7" fmla="*/ 0 h 48"/>
                <a:gd name="T8" fmla="*/ 0 w 126"/>
                <a:gd name="T9" fmla="*/ 0 h 48"/>
                <a:gd name="T10" fmla="*/ 0 w 126"/>
                <a:gd name="T11" fmla="*/ 0 h 48"/>
                <a:gd name="T12" fmla="*/ 0 w 126"/>
                <a:gd name="T13" fmla="*/ 0 h 48"/>
                <a:gd name="T14" fmla="*/ 0 60000 65536"/>
                <a:gd name="T15" fmla="*/ 0 60000 65536"/>
                <a:gd name="T16" fmla="*/ 0 60000 65536"/>
                <a:gd name="T17" fmla="*/ 0 60000 65536"/>
                <a:gd name="T18" fmla="*/ 0 60000 65536"/>
                <a:gd name="T19" fmla="*/ 0 60000 65536"/>
                <a:gd name="T20" fmla="*/ 0 60000 65536"/>
                <a:gd name="T21" fmla="*/ 0 w 126"/>
                <a:gd name="T22" fmla="*/ 0 h 48"/>
                <a:gd name="T23" fmla="*/ 126 w 126"/>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48">
                  <a:moveTo>
                    <a:pt x="0" y="6"/>
                  </a:moveTo>
                  <a:lnTo>
                    <a:pt x="13" y="0"/>
                  </a:lnTo>
                  <a:lnTo>
                    <a:pt x="120" y="33"/>
                  </a:lnTo>
                  <a:lnTo>
                    <a:pt x="126" y="43"/>
                  </a:lnTo>
                  <a:lnTo>
                    <a:pt x="119" y="48"/>
                  </a:lnTo>
                  <a:lnTo>
                    <a:pt x="11" y="44"/>
                  </a:lnTo>
                  <a:lnTo>
                    <a:pt x="0" y="6"/>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7" name="Freeform 122"/>
            <p:cNvSpPr>
              <a:spLocks/>
            </p:cNvSpPr>
            <p:nvPr/>
          </p:nvSpPr>
          <p:spPr bwMode="auto">
            <a:xfrm>
              <a:off x="7011270" y="4685864"/>
              <a:ext cx="54578" cy="12585"/>
            </a:xfrm>
            <a:custGeom>
              <a:avLst/>
              <a:gdLst>
                <a:gd name="T0" fmla="*/ 0 w 130"/>
                <a:gd name="T1" fmla="*/ 0 h 30"/>
                <a:gd name="T2" fmla="*/ 0 w 130"/>
                <a:gd name="T3" fmla="*/ 0 h 30"/>
                <a:gd name="T4" fmla="*/ 0 w 130"/>
                <a:gd name="T5" fmla="*/ 0 h 30"/>
                <a:gd name="T6" fmla="*/ 0 w 130"/>
                <a:gd name="T7" fmla="*/ 0 h 30"/>
                <a:gd name="T8" fmla="*/ 0 w 130"/>
                <a:gd name="T9" fmla="*/ 0 h 30"/>
                <a:gd name="T10" fmla="*/ 0 w 130"/>
                <a:gd name="T11" fmla="*/ 0 h 30"/>
                <a:gd name="T12" fmla="*/ 0 w 130"/>
                <a:gd name="T13" fmla="*/ 0 h 30"/>
                <a:gd name="T14" fmla="*/ 0 60000 65536"/>
                <a:gd name="T15" fmla="*/ 0 60000 65536"/>
                <a:gd name="T16" fmla="*/ 0 60000 65536"/>
                <a:gd name="T17" fmla="*/ 0 60000 65536"/>
                <a:gd name="T18" fmla="*/ 0 60000 65536"/>
                <a:gd name="T19" fmla="*/ 0 60000 65536"/>
                <a:gd name="T20" fmla="*/ 0 60000 65536"/>
                <a:gd name="T21" fmla="*/ 0 w 130"/>
                <a:gd name="T22" fmla="*/ 0 h 30"/>
                <a:gd name="T23" fmla="*/ 130 w 1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 h="30">
                  <a:moveTo>
                    <a:pt x="0" y="11"/>
                  </a:moveTo>
                  <a:lnTo>
                    <a:pt x="10" y="0"/>
                  </a:lnTo>
                  <a:lnTo>
                    <a:pt x="106" y="3"/>
                  </a:lnTo>
                  <a:lnTo>
                    <a:pt x="125" y="10"/>
                  </a:lnTo>
                  <a:lnTo>
                    <a:pt x="130" y="30"/>
                  </a:lnTo>
                  <a:lnTo>
                    <a:pt x="3" y="29"/>
                  </a:lnTo>
                  <a:lnTo>
                    <a:pt x="0" y="1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8" name="Freeform 123"/>
            <p:cNvSpPr>
              <a:spLocks/>
            </p:cNvSpPr>
            <p:nvPr/>
          </p:nvSpPr>
          <p:spPr bwMode="auto">
            <a:xfrm>
              <a:off x="7011270" y="4685864"/>
              <a:ext cx="54578" cy="12585"/>
            </a:xfrm>
            <a:custGeom>
              <a:avLst/>
              <a:gdLst>
                <a:gd name="T0" fmla="*/ 0 w 130"/>
                <a:gd name="T1" fmla="*/ 0 h 30"/>
                <a:gd name="T2" fmla="*/ 0 w 130"/>
                <a:gd name="T3" fmla="*/ 0 h 30"/>
                <a:gd name="T4" fmla="*/ 0 w 130"/>
                <a:gd name="T5" fmla="*/ 0 h 30"/>
                <a:gd name="T6" fmla="*/ 0 w 130"/>
                <a:gd name="T7" fmla="*/ 0 h 30"/>
                <a:gd name="T8" fmla="*/ 0 w 130"/>
                <a:gd name="T9" fmla="*/ 0 h 30"/>
                <a:gd name="T10" fmla="*/ 0 w 130"/>
                <a:gd name="T11" fmla="*/ 0 h 30"/>
                <a:gd name="T12" fmla="*/ 0 w 130"/>
                <a:gd name="T13" fmla="*/ 0 h 30"/>
                <a:gd name="T14" fmla="*/ 0 60000 65536"/>
                <a:gd name="T15" fmla="*/ 0 60000 65536"/>
                <a:gd name="T16" fmla="*/ 0 60000 65536"/>
                <a:gd name="T17" fmla="*/ 0 60000 65536"/>
                <a:gd name="T18" fmla="*/ 0 60000 65536"/>
                <a:gd name="T19" fmla="*/ 0 60000 65536"/>
                <a:gd name="T20" fmla="*/ 0 60000 65536"/>
                <a:gd name="T21" fmla="*/ 0 w 130"/>
                <a:gd name="T22" fmla="*/ 0 h 30"/>
                <a:gd name="T23" fmla="*/ 130 w 1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 h="30">
                  <a:moveTo>
                    <a:pt x="0" y="11"/>
                  </a:moveTo>
                  <a:lnTo>
                    <a:pt x="10" y="0"/>
                  </a:lnTo>
                  <a:lnTo>
                    <a:pt x="106" y="3"/>
                  </a:lnTo>
                  <a:lnTo>
                    <a:pt x="125" y="10"/>
                  </a:lnTo>
                  <a:lnTo>
                    <a:pt x="130" y="30"/>
                  </a:lnTo>
                  <a:lnTo>
                    <a:pt x="3" y="29"/>
                  </a:lnTo>
                  <a:lnTo>
                    <a:pt x="0" y="1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59" name="Freeform 124"/>
            <p:cNvSpPr>
              <a:spLocks/>
            </p:cNvSpPr>
            <p:nvPr/>
          </p:nvSpPr>
          <p:spPr bwMode="auto">
            <a:xfrm>
              <a:off x="7063749" y="4677474"/>
              <a:ext cx="159537" cy="94389"/>
            </a:xfrm>
            <a:custGeom>
              <a:avLst/>
              <a:gdLst>
                <a:gd name="T0" fmla="*/ 0 w 396"/>
                <a:gd name="T1" fmla="*/ 0 h 231"/>
                <a:gd name="T2" fmla="*/ 0 w 396"/>
                <a:gd name="T3" fmla="*/ 0 h 231"/>
                <a:gd name="T4" fmla="*/ 0 w 396"/>
                <a:gd name="T5" fmla="*/ 0 h 231"/>
                <a:gd name="T6" fmla="*/ 0 w 396"/>
                <a:gd name="T7" fmla="*/ 0 h 231"/>
                <a:gd name="T8" fmla="*/ 0 w 396"/>
                <a:gd name="T9" fmla="*/ 0 h 231"/>
                <a:gd name="T10" fmla="*/ 0 w 396"/>
                <a:gd name="T11" fmla="*/ 0 h 231"/>
                <a:gd name="T12" fmla="*/ 0 w 396"/>
                <a:gd name="T13" fmla="*/ 0 h 231"/>
                <a:gd name="T14" fmla="*/ 0 w 396"/>
                <a:gd name="T15" fmla="*/ 0 h 231"/>
                <a:gd name="T16" fmla="*/ 0 w 396"/>
                <a:gd name="T17" fmla="*/ 0 h 231"/>
                <a:gd name="T18" fmla="*/ 0 w 396"/>
                <a:gd name="T19" fmla="*/ 0 h 231"/>
                <a:gd name="T20" fmla="*/ 0 w 396"/>
                <a:gd name="T21" fmla="*/ 0 h 231"/>
                <a:gd name="T22" fmla="*/ 0 w 396"/>
                <a:gd name="T23" fmla="*/ 0 h 231"/>
                <a:gd name="T24" fmla="*/ 0 w 396"/>
                <a:gd name="T25" fmla="*/ 0 h 231"/>
                <a:gd name="T26" fmla="*/ 0 w 396"/>
                <a:gd name="T27" fmla="*/ 0 h 231"/>
                <a:gd name="T28" fmla="*/ 0 w 396"/>
                <a:gd name="T29" fmla="*/ 0 h 231"/>
                <a:gd name="T30" fmla="*/ 0 w 396"/>
                <a:gd name="T31" fmla="*/ 0 h 231"/>
                <a:gd name="T32" fmla="*/ 0 w 396"/>
                <a:gd name="T33" fmla="*/ 0 h 231"/>
                <a:gd name="T34" fmla="*/ 0 w 396"/>
                <a:gd name="T35" fmla="*/ 0 h 231"/>
                <a:gd name="T36" fmla="*/ 0 w 396"/>
                <a:gd name="T37" fmla="*/ 0 h 2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6"/>
                <a:gd name="T58" fmla="*/ 0 h 231"/>
                <a:gd name="T59" fmla="*/ 396 w 396"/>
                <a:gd name="T60" fmla="*/ 231 h 2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6" h="231">
                  <a:moveTo>
                    <a:pt x="394" y="231"/>
                  </a:moveTo>
                  <a:lnTo>
                    <a:pt x="235" y="109"/>
                  </a:lnTo>
                  <a:lnTo>
                    <a:pt x="149" y="92"/>
                  </a:lnTo>
                  <a:lnTo>
                    <a:pt x="67" y="40"/>
                  </a:lnTo>
                  <a:lnTo>
                    <a:pt x="0" y="22"/>
                  </a:lnTo>
                  <a:lnTo>
                    <a:pt x="20" y="0"/>
                  </a:lnTo>
                  <a:lnTo>
                    <a:pt x="77" y="14"/>
                  </a:lnTo>
                  <a:lnTo>
                    <a:pt x="105" y="49"/>
                  </a:lnTo>
                  <a:lnTo>
                    <a:pt x="133" y="54"/>
                  </a:lnTo>
                  <a:lnTo>
                    <a:pt x="172" y="32"/>
                  </a:lnTo>
                  <a:lnTo>
                    <a:pt x="209" y="38"/>
                  </a:lnTo>
                  <a:lnTo>
                    <a:pt x="212" y="65"/>
                  </a:lnTo>
                  <a:lnTo>
                    <a:pt x="251" y="98"/>
                  </a:lnTo>
                  <a:lnTo>
                    <a:pt x="286" y="105"/>
                  </a:lnTo>
                  <a:lnTo>
                    <a:pt x="331" y="154"/>
                  </a:lnTo>
                  <a:lnTo>
                    <a:pt x="374" y="162"/>
                  </a:lnTo>
                  <a:lnTo>
                    <a:pt x="372" y="189"/>
                  </a:lnTo>
                  <a:lnTo>
                    <a:pt x="396" y="191"/>
                  </a:lnTo>
                  <a:lnTo>
                    <a:pt x="394" y="23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0" name="Freeform 125"/>
            <p:cNvSpPr>
              <a:spLocks/>
            </p:cNvSpPr>
            <p:nvPr/>
          </p:nvSpPr>
          <p:spPr bwMode="auto">
            <a:xfrm>
              <a:off x="7063749" y="4677474"/>
              <a:ext cx="159537" cy="94389"/>
            </a:xfrm>
            <a:custGeom>
              <a:avLst/>
              <a:gdLst>
                <a:gd name="T0" fmla="*/ 0 w 396"/>
                <a:gd name="T1" fmla="*/ 0 h 231"/>
                <a:gd name="T2" fmla="*/ 0 w 396"/>
                <a:gd name="T3" fmla="*/ 0 h 231"/>
                <a:gd name="T4" fmla="*/ 0 w 396"/>
                <a:gd name="T5" fmla="*/ 0 h 231"/>
                <a:gd name="T6" fmla="*/ 0 w 396"/>
                <a:gd name="T7" fmla="*/ 0 h 231"/>
                <a:gd name="T8" fmla="*/ 0 w 396"/>
                <a:gd name="T9" fmla="*/ 0 h 231"/>
                <a:gd name="T10" fmla="*/ 0 w 396"/>
                <a:gd name="T11" fmla="*/ 0 h 231"/>
                <a:gd name="T12" fmla="*/ 0 w 396"/>
                <a:gd name="T13" fmla="*/ 0 h 231"/>
                <a:gd name="T14" fmla="*/ 0 w 396"/>
                <a:gd name="T15" fmla="*/ 0 h 231"/>
                <a:gd name="T16" fmla="*/ 0 w 396"/>
                <a:gd name="T17" fmla="*/ 0 h 231"/>
                <a:gd name="T18" fmla="*/ 0 w 396"/>
                <a:gd name="T19" fmla="*/ 0 h 231"/>
                <a:gd name="T20" fmla="*/ 0 w 396"/>
                <a:gd name="T21" fmla="*/ 0 h 231"/>
                <a:gd name="T22" fmla="*/ 0 w 396"/>
                <a:gd name="T23" fmla="*/ 0 h 231"/>
                <a:gd name="T24" fmla="*/ 0 w 396"/>
                <a:gd name="T25" fmla="*/ 0 h 231"/>
                <a:gd name="T26" fmla="*/ 0 w 396"/>
                <a:gd name="T27" fmla="*/ 0 h 231"/>
                <a:gd name="T28" fmla="*/ 0 w 396"/>
                <a:gd name="T29" fmla="*/ 0 h 231"/>
                <a:gd name="T30" fmla="*/ 0 w 396"/>
                <a:gd name="T31" fmla="*/ 0 h 231"/>
                <a:gd name="T32" fmla="*/ 0 w 396"/>
                <a:gd name="T33" fmla="*/ 0 h 231"/>
                <a:gd name="T34" fmla="*/ 0 w 396"/>
                <a:gd name="T35" fmla="*/ 0 h 231"/>
                <a:gd name="T36" fmla="*/ 0 w 396"/>
                <a:gd name="T37" fmla="*/ 0 h 2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6"/>
                <a:gd name="T58" fmla="*/ 0 h 231"/>
                <a:gd name="T59" fmla="*/ 396 w 396"/>
                <a:gd name="T60" fmla="*/ 231 h 2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6" h="231">
                  <a:moveTo>
                    <a:pt x="394" y="231"/>
                  </a:moveTo>
                  <a:lnTo>
                    <a:pt x="235" y="109"/>
                  </a:lnTo>
                  <a:lnTo>
                    <a:pt x="149" y="92"/>
                  </a:lnTo>
                  <a:lnTo>
                    <a:pt x="67" y="40"/>
                  </a:lnTo>
                  <a:lnTo>
                    <a:pt x="0" y="22"/>
                  </a:lnTo>
                  <a:lnTo>
                    <a:pt x="20" y="0"/>
                  </a:lnTo>
                  <a:lnTo>
                    <a:pt x="77" y="14"/>
                  </a:lnTo>
                  <a:lnTo>
                    <a:pt x="105" y="49"/>
                  </a:lnTo>
                  <a:lnTo>
                    <a:pt x="133" y="54"/>
                  </a:lnTo>
                  <a:lnTo>
                    <a:pt x="172" y="32"/>
                  </a:lnTo>
                  <a:lnTo>
                    <a:pt x="209" y="38"/>
                  </a:lnTo>
                  <a:lnTo>
                    <a:pt x="212" y="65"/>
                  </a:lnTo>
                  <a:lnTo>
                    <a:pt x="251" y="98"/>
                  </a:lnTo>
                  <a:lnTo>
                    <a:pt x="286" y="105"/>
                  </a:lnTo>
                  <a:lnTo>
                    <a:pt x="331" y="154"/>
                  </a:lnTo>
                  <a:lnTo>
                    <a:pt x="374" y="162"/>
                  </a:lnTo>
                  <a:lnTo>
                    <a:pt x="372" y="189"/>
                  </a:lnTo>
                  <a:lnTo>
                    <a:pt x="396" y="191"/>
                  </a:lnTo>
                  <a:lnTo>
                    <a:pt x="394" y="23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1" name="Freeform 126"/>
            <p:cNvSpPr>
              <a:spLocks/>
            </p:cNvSpPr>
            <p:nvPr/>
          </p:nvSpPr>
          <p:spPr bwMode="auto">
            <a:xfrm>
              <a:off x="6677502" y="4109043"/>
              <a:ext cx="661238" cy="578918"/>
            </a:xfrm>
            <a:custGeom>
              <a:avLst/>
              <a:gdLst>
                <a:gd name="T0" fmla="*/ 0 w 1630"/>
                <a:gd name="T1" fmla="*/ 0 h 1426"/>
                <a:gd name="T2" fmla="*/ 0 w 1630"/>
                <a:gd name="T3" fmla="*/ 0 h 1426"/>
                <a:gd name="T4" fmla="*/ 0 w 1630"/>
                <a:gd name="T5" fmla="*/ 0 h 1426"/>
                <a:gd name="T6" fmla="*/ 0 w 1630"/>
                <a:gd name="T7" fmla="*/ 0 h 1426"/>
                <a:gd name="T8" fmla="*/ 0 w 1630"/>
                <a:gd name="T9" fmla="*/ 0 h 1426"/>
                <a:gd name="T10" fmla="*/ 0 w 1630"/>
                <a:gd name="T11" fmla="*/ 0 h 1426"/>
                <a:gd name="T12" fmla="*/ 0 w 1630"/>
                <a:gd name="T13" fmla="*/ 0 h 1426"/>
                <a:gd name="T14" fmla="*/ 0 w 1630"/>
                <a:gd name="T15" fmla="*/ 0 h 1426"/>
                <a:gd name="T16" fmla="*/ 0 w 1630"/>
                <a:gd name="T17" fmla="*/ 0 h 1426"/>
                <a:gd name="T18" fmla="*/ 0 w 1630"/>
                <a:gd name="T19" fmla="*/ 0 h 1426"/>
                <a:gd name="T20" fmla="*/ 0 w 1630"/>
                <a:gd name="T21" fmla="*/ 0 h 1426"/>
                <a:gd name="T22" fmla="*/ 0 w 1630"/>
                <a:gd name="T23" fmla="*/ 0 h 1426"/>
                <a:gd name="T24" fmla="*/ 0 w 1630"/>
                <a:gd name="T25" fmla="*/ 0 h 1426"/>
                <a:gd name="T26" fmla="*/ 0 w 1630"/>
                <a:gd name="T27" fmla="*/ 0 h 1426"/>
                <a:gd name="T28" fmla="*/ 0 w 1630"/>
                <a:gd name="T29" fmla="*/ 0 h 1426"/>
                <a:gd name="T30" fmla="*/ 0 w 1630"/>
                <a:gd name="T31" fmla="*/ 0 h 1426"/>
                <a:gd name="T32" fmla="*/ 0 w 1630"/>
                <a:gd name="T33" fmla="*/ 0 h 1426"/>
                <a:gd name="T34" fmla="*/ 0 w 1630"/>
                <a:gd name="T35" fmla="*/ 0 h 1426"/>
                <a:gd name="T36" fmla="*/ 0 w 1630"/>
                <a:gd name="T37" fmla="*/ 0 h 1426"/>
                <a:gd name="T38" fmla="*/ 0 w 1630"/>
                <a:gd name="T39" fmla="*/ 0 h 1426"/>
                <a:gd name="T40" fmla="*/ 0 w 1630"/>
                <a:gd name="T41" fmla="*/ 0 h 1426"/>
                <a:gd name="T42" fmla="*/ 0 w 1630"/>
                <a:gd name="T43" fmla="*/ 0 h 1426"/>
                <a:gd name="T44" fmla="*/ 0 w 1630"/>
                <a:gd name="T45" fmla="*/ 0 h 1426"/>
                <a:gd name="T46" fmla="*/ 0 w 1630"/>
                <a:gd name="T47" fmla="*/ 0 h 1426"/>
                <a:gd name="T48" fmla="*/ 0 w 1630"/>
                <a:gd name="T49" fmla="*/ 0 h 1426"/>
                <a:gd name="T50" fmla="*/ 0 w 1630"/>
                <a:gd name="T51" fmla="*/ 0 h 1426"/>
                <a:gd name="T52" fmla="*/ 0 w 1630"/>
                <a:gd name="T53" fmla="*/ 0 h 1426"/>
                <a:gd name="T54" fmla="*/ 0 w 1630"/>
                <a:gd name="T55" fmla="*/ 0 h 1426"/>
                <a:gd name="T56" fmla="*/ 0 w 1630"/>
                <a:gd name="T57" fmla="*/ 0 h 1426"/>
                <a:gd name="T58" fmla="*/ 0 w 1630"/>
                <a:gd name="T59" fmla="*/ 0 h 1426"/>
                <a:gd name="T60" fmla="*/ 0 w 1630"/>
                <a:gd name="T61" fmla="*/ 0 h 1426"/>
                <a:gd name="T62" fmla="*/ 0 w 1630"/>
                <a:gd name="T63" fmla="*/ 0 h 1426"/>
                <a:gd name="T64" fmla="*/ 0 w 1630"/>
                <a:gd name="T65" fmla="*/ 0 h 1426"/>
                <a:gd name="T66" fmla="*/ 0 w 1630"/>
                <a:gd name="T67" fmla="*/ 0 h 1426"/>
                <a:gd name="T68" fmla="*/ 0 w 1630"/>
                <a:gd name="T69" fmla="*/ 0 h 1426"/>
                <a:gd name="T70" fmla="*/ 0 w 1630"/>
                <a:gd name="T71" fmla="*/ 0 h 1426"/>
                <a:gd name="T72" fmla="*/ 0 w 1630"/>
                <a:gd name="T73" fmla="*/ 0 h 1426"/>
                <a:gd name="T74" fmla="*/ 0 w 1630"/>
                <a:gd name="T75" fmla="*/ 0 h 1426"/>
                <a:gd name="T76" fmla="*/ 0 w 1630"/>
                <a:gd name="T77" fmla="*/ 0 h 1426"/>
                <a:gd name="T78" fmla="*/ 0 w 1630"/>
                <a:gd name="T79" fmla="*/ 0 h 1426"/>
                <a:gd name="T80" fmla="*/ 0 w 1630"/>
                <a:gd name="T81" fmla="*/ 0 h 1426"/>
                <a:gd name="T82" fmla="*/ 0 w 1630"/>
                <a:gd name="T83" fmla="*/ 0 h 1426"/>
                <a:gd name="T84" fmla="*/ 0 w 1630"/>
                <a:gd name="T85" fmla="*/ 0 h 1426"/>
                <a:gd name="T86" fmla="*/ 0 w 1630"/>
                <a:gd name="T87" fmla="*/ 0 h 1426"/>
                <a:gd name="T88" fmla="*/ 0 w 1630"/>
                <a:gd name="T89" fmla="*/ 0 h 1426"/>
                <a:gd name="T90" fmla="*/ 0 w 1630"/>
                <a:gd name="T91" fmla="*/ 0 h 1426"/>
                <a:gd name="T92" fmla="*/ 0 w 1630"/>
                <a:gd name="T93" fmla="*/ 0 h 1426"/>
                <a:gd name="T94" fmla="*/ 0 w 1630"/>
                <a:gd name="T95" fmla="*/ 0 h 1426"/>
                <a:gd name="T96" fmla="*/ 0 w 1630"/>
                <a:gd name="T97" fmla="*/ 0 h 1426"/>
                <a:gd name="T98" fmla="*/ 0 w 1630"/>
                <a:gd name="T99" fmla="*/ 0 h 1426"/>
                <a:gd name="T100" fmla="*/ 0 w 1630"/>
                <a:gd name="T101" fmla="*/ 0 h 1426"/>
                <a:gd name="T102" fmla="*/ 0 w 1630"/>
                <a:gd name="T103" fmla="*/ 0 h 1426"/>
                <a:gd name="T104" fmla="*/ 0 w 1630"/>
                <a:gd name="T105" fmla="*/ 0 h 14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30"/>
                <a:gd name="T160" fmla="*/ 0 h 1426"/>
                <a:gd name="T161" fmla="*/ 1630 w 1630"/>
                <a:gd name="T162" fmla="*/ 1426 h 14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30" h="1426">
                  <a:moveTo>
                    <a:pt x="1442" y="274"/>
                  </a:moveTo>
                  <a:lnTo>
                    <a:pt x="1377" y="311"/>
                  </a:lnTo>
                  <a:lnTo>
                    <a:pt x="1222" y="333"/>
                  </a:lnTo>
                  <a:lnTo>
                    <a:pt x="1150" y="282"/>
                  </a:lnTo>
                  <a:lnTo>
                    <a:pt x="1093" y="261"/>
                  </a:lnTo>
                  <a:lnTo>
                    <a:pt x="1038" y="183"/>
                  </a:lnTo>
                  <a:lnTo>
                    <a:pt x="970" y="145"/>
                  </a:lnTo>
                  <a:lnTo>
                    <a:pt x="922" y="67"/>
                  </a:lnTo>
                  <a:lnTo>
                    <a:pt x="866" y="38"/>
                  </a:lnTo>
                  <a:lnTo>
                    <a:pt x="863" y="28"/>
                  </a:lnTo>
                  <a:lnTo>
                    <a:pt x="844" y="37"/>
                  </a:lnTo>
                  <a:lnTo>
                    <a:pt x="802" y="2"/>
                  </a:lnTo>
                  <a:lnTo>
                    <a:pt x="784" y="0"/>
                  </a:lnTo>
                  <a:lnTo>
                    <a:pt x="764" y="16"/>
                  </a:lnTo>
                  <a:lnTo>
                    <a:pt x="763" y="41"/>
                  </a:lnTo>
                  <a:lnTo>
                    <a:pt x="772" y="73"/>
                  </a:lnTo>
                  <a:lnTo>
                    <a:pt x="768" y="80"/>
                  </a:lnTo>
                  <a:lnTo>
                    <a:pt x="751" y="71"/>
                  </a:lnTo>
                  <a:lnTo>
                    <a:pt x="715" y="70"/>
                  </a:lnTo>
                  <a:lnTo>
                    <a:pt x="712" y="92"/>
                  </a:lnTo>
                  <a:lnTo>
                    <a:pt x="696" y="106"/>
                  </a:lnTo>
                  <a:lnTo>
                    <a:pt x="595" y="133"/>
                  </a:lnTo>
                  <a:lnTo>
                    <a:pt x="577" y="161"/>
                  </a:lnTo>
                  <a:lnTo>
                    <a:pt x="579" y="180"/>
                  </a:lnTo>
                  <a:lnTo>
                    <a:pt x="609" y="212"/>
                  </a:lnTo>
                  <a:lnTo>
                    <a:pt x="604" y="270"/>
                  </a:lnTo>
                  <a:lnTo>
                    <a:pt x="580" y="307"/>
                  </a:lnTo>
                  <a:lnTo>
                    <a:pt x="536" y="307"/>
                  </a:lnTo>
                  <a:lnTo>
                    <a:pt x="480" y="350"/>
                  </a:lnTo>
                  <a:lnTo>
                    <a:pt x="495" y="377"/>
                  </a:lnTo>
                  <a:lnTo>
                    <a:pt x="475" y="401"/>
                  </a:lnTo>
                  <a:lnTo>
                    <a:pt x="477" y="461"/>
                  </a:lnTo>
                  <a:lnTo>
                    <a:pt x="450" y="479"/>
                  </a:lnTo>
                  <a:lnTo>
                    <a:pt x="433" y="478"/>
                  </a:lnTo>
                  <a:lnTo>
                    <a:pt x="411" y="448"/>
                  </a:lnTo>
                  <a:lnTo>
                    <a:pt x="388" y="445"/>
                  </a:lnTo>
                  <a:lnTo>
                    <a:pt x="382" y="430"/>
                  </a:lnTo>
                  <a:lnTo>
                    <a:pt x="368" y="429"/>
                  </a:lnTo>
                  <a:lnTo>
                    <a:pt x="363" y="450"/>
                  </a:lnTo>
                  <a:lnTo>
                    <a:pt x="342" y="451"/>
                  </a:lnTo>
                  <a:lnTo>
                    <a:pt x="290" y="351"/>
                  </a:lnTo>
                  <a:lnTo>
                    <a:pt x="276" y="349"/>
                  </a:lnTo>
                  <a:lnTo>
                    <a:pt x="232" y="424"/>
                  </a:lnTo>
                  <a:lnTo>
                    <a:pt x="146" y="420"/>
                  </a:lnTo>
                  <a:lnTo>
                    <a:pt x="122" y="393"/>
                  </a:lnTo>
                  <a:lnTo>
                    <a:pt x="108" y="420"/>
                  </a:lnTo>
                  <a:lnTo>
                    <a:pt x="34" y="415"/>
                  </a:lnTo>
                  <a:lnTo>
                    <a:pt x="0" y="381"/>
                  </a:lnTo>
                  <a:lnTo>
                    <a:pt x="9" y="490"/>
                  </a:lnTo>
                  <a:lnTo>
                    <a:pt x="66" y="631"/>
                  </a:lnTo>
                  <a:lnTo>
                    <a:pt x="89" y="651"/>
                  </a:lnTo>
                  <a:lnTo>
                    <a:pt x="117" y="648"/>
                  </a:lnTo>
                  <a:lnTo>
                    <a:pt x="220" y="461"/>
                  </a:lnTo>
                  <a:lnTo>
                    <a:pt x="281" y="487"/>
                  </a:lnTo>
                  <a:lnTo>
                    <a:pt x="320" y="539"/>
                  </a:lnTo>
                  <a:lnTo>
                    <a:pt x="336" y="540"/>
                  </a:lnTo>
                  <a:lnTo>
                    <a:pt x="355" y="572"/>
                  </a:lnTo>
                  <a:lnTo>
                    <a:pt x="366" y="625"/>
                  </a:lnTo>
                  <a:lnTo>
                    <a:pt x="362" y="699"/>
                  </a:lnTo>
                  <a:lnTo>
                    <a:pt x="397" y="785"/>
                  </a:lnTo>
                  <a:lnTo>
                    <a:pt x="499" y="875"/>
                  </a:lnTo>
                  <a:lnTo>
                    <a:pt x="444" y="884"/>
                  </a:lnTo>
                  <a:lnTo>
                    <a:pt x="427" y="906"/>
                  </a:lnTo>
                  <a:lnTo>
                    <a:pt x="429" y="934"/>
                  </a:lnTo>
                  <a:lnTo>
                    <a:pt x="480" y="1012"/>
                  </a:lnTo>
                  <a:lnTo>
                    <a:pt x="620" y="1117"/>
                  </a:lnTo>
                  <a:lnTo>
                    <a:pt x="648" y="1204"/>
                  </a:lnTo>
                  <a:lnTo>
                    <a:pt x="806" y="1216"/>
                  </a:lnTo>
                  <a:lnTo>
                    <a:pt x="1077" y="1426"/>
                  </a:lnTo>
                  <a:lnTo>
                    <a:pt x="1116" y="1405"/>
                  </a:lnTo>
                  <a:lnTo>
                    <a:pt x="1002" y="1276"/>
                  </a:lnTo>
                  <a:lnTo>
                    <a:pt x="996" y="1216"/>
                  </a:lnTo>
                  <a:lnTo>
                    <a:pt x="975" y="1195"/>
                  </a:lnTo>
                  <a:lnTo>
                    <a:pt x="947" y="1183"/>
                  </a:lnTo>
                  <a:lnTo>
                    <a:pt x="849" y="1072"/>
                  </a:lnTo>
                  <a:lnTo>
                    <a:pt x="846" y="1048"/>
                  </a:lnTo>
                  <a:lnTo>
                    <a:pt x="799" y="976"/>
                  </a:lnTo>
                  <a:lnTo>
                    <a:pt x="763" y="964"/>
                  </a:lnTo>
                  <a:lnTo>
                    <a:pt x="725" y="895"/>
                  </a:lnTo>
                  <a:lnTo>
                    <a:pt x="701" y="893"/>
                  </a:lnTo>
                  <a:lnTo>
                    <a:pt x="706" y="855"/>
                  </a:lnTo>
                  <a:lnTo>
                    <a:pt x="719" y="845"/>
                  </a:lnTo>
                  <a:lnTo>
                    <a:pt x="700" y="815"/>
                  </a:lnTo>
                  <a:lnTo>
                    <a:pt x="700" y="786"/>
                  </a:lnTo>
                  <a:lnTo>
                    <a:pt x="675" y="753"/>
                  </a:lnTo>
                  <a:lnTo>
                    <a:pt x="656" y="690"/>
                  </a:lnTo>
                  <a:lnTo>
                    <a:pt x="633" y="685"/>
                  </a:lnTo>
                  <a:lnTo>
                    <a:pt x="597" y="649"/>
                  </a:lnTo>
                  <a:lnTo>
                    <a:pt x="599" y="638"/>
                  </a:lnTo>
                  <a:lnTo>
                    <a:pt x="617" y="627"/>
                  </a:lnTo>
                  <a:lnTo>
                    <a:pt x="613" y="606"/>
                  </a:lnTo>
                  <a:lnTo>
                    <a:pt x="619" y="510"/>
                  </a:lnTo>
                  <a:lnTo>
                    <a:pt x="649" y="481"/>
                  </a:lnTo>
                  <a:lnTo>
                    <a:pt x="693" y="492"/>
                  </a:lnTo>
                  <a:lnTo>
                    <a:pt x="695" y="508"/>
                  </a:lnTo>
                  <a:lnTo>
                    <a:pt x="759" y="583"/>
                  </a:lnTo>
                  <a:lnTo>
                    <a:pt x="774" y="585"/>
                  </a:lnTo>
                  <a:lnTo>
                    <a:pt x="825" y="500"/>
                  </a:lnTo>
                  <a:lnTo>
                    <a:pt x="918" y="515"/>
                  </a:lnTo>
                  <a:lnTo>
                    <a:pt x="939" y="489"/>
                  </a:lnTo>
                  <a:lnTo>
                    <a:pt x="947" y="489"/>
                  </a:lnTo>
                  <a:lnTo>
                    <a:pt x="1007" y="538"/>
                  </a:lnTo>
                  <a:lnTo>
                    <a:pt x="1027" y="539"/>
                  </a:lnTo>
                  <a:lnTo>
                    <a:pt x="1039" y="525"/>
                  </a:lnTo>
                  <a:lnTo>
                    <a:pt x="1058" y="546"/>
                  </a:lnTo>
                  <a:lnTo>
                    <a:pt x="1135" y="559"/>
                  </a:lnTo>
                  <a:lnTo>
                    <a:pt x="1142" y="551"/>
                  </a:lnTo>
                  <a:lnTo>
                    <a:pt x="1152" y="552"/>
                  </a:lnTo>
                  <a:lnTo>
                    <a:pt x="1194" y="587"/>
                  </a:lnTo>
                  <a:lnTo>
                    <a:pt x="1208" y="585"/>
                  </a:lnTo>
                  <a:lnTo>
                    <a:pt x="1239" y="551"/>
                  </a:lnTo>
                  <a:lnTo>
                    <a:pt x="1257" y="554"/>
                  </a:lnTo>
                  <a:lnTo>
                    <a:pt x="1275" y="578"/>
                  </a:lnTo>
                  <a:lnTo>
                    <a:pt x="1290" y="582"/>
                  </a:lnTo>
                  <a:lnTo>
                    <a:pt x="1305" y="561"/>
                  </a:lnTo>
                  <a:lnTo>
                    <a:pt x="1360" y="569"/>
                  </a:lnTo>
                  <a:lnTo>
                    <a:pt x="1380" y="598"/>
                  </a:lnTo>
                  <a:lnTo>
                    <a:pt x="1391" y="590"/>
                  </a:lnTo>
                  <a:lnTo>
                    <a:pt x="1391" y="578"/>
                  </a:lnTo>
                  <a:lnTo>
                    <a:pt x="1426" y="581"/>
                  </a:lnTo>
                  <a:lnTo>
                    <a:pt x="1461" y="621"/>
                  </a:lnTo>
                  <a:lnTo>
                    <a:pt x="1453" y="641"/>
                  </a:lnTo>
                  <a:lnTo>
                    <a:pt x="1454" y="653"/>
                  </a:lnTo>
                  <a:lnTo>
                    <a:pt x="1480" y="675"/>
                  </a:lnTo>
                  <a:lnTo>
                    <a:pt x="1522" y="673"/>
                  </a:lnTo>
                  <a:lnTo>
                    <a:pt x="1555" y="649"/>
                  </a:lnTo>
                  <a:lnTo>
                    <a:pt x="1560" y="626"/>
                  </a:lnTo>
                  <a:lnTo>
                    <a:pt x="1550" y="618"/>
                  </a:lnTo>
                  <a:lnTo>
                    <a:pt x="1543" y="570"/>
                  </a:lnTo>
                  <a:lnTo>
                    <a:pt x="1556" y="555"/>
                  </a:lnTo>
                  <a:lnTo>
                    <a:pt x="1562" y="531"/>
                  </a:lnTo>
                  <a:lnTo>
                    <a:pt x="1573" y="529"/>
                  </a:lnTo>
                  <a:lnTo>
                    <a:pt x="1611" y="538"/>
                  </a:lnTo>
                  <a:lnTo>
                    <a:pt x="1630" y="527"/>
                  </a:lnTo>
                  <a:lnTo>
                    <a:pt x="1628" y="517"/>
                  </a:lnTo>
                  <a:lnTo>
                    <a:pt x="1616" y="511"/>
                  </a:lnTo>
                  <a:lnTo>
                    <a:pt x="1595" y="512"/>
                  </a:lnTo>
                  <a:lnTo>
                    <a:pt x="1577" y="503"/>
                  </a:lnTo>
                  <a:lnTo>
                    <a:pt x="1553" y="504"/>
                  </a:lnTo>
                  <a:lnTo>
                    <a:pt x="1530" y="481"/>
                  </a:lnTo>
                  <a:lnTo>
                    <a:pt x="1511" y="481"/>
                  </a:lnTo>
                  <a:lnTo>
                    <a:pt x="1504" y="472"/>
                  </a:lnTo>
                  <a:lnTo>
                    <a:pt x="1511" y="449"/>
                  </a:lnTo>
                  <a:lnTo>
                    <a:pt x="1505" y="438"/>
                  </a:lnTo>
                  <a:lnTo>
                    <a:pt x="1508" y="425"/>
                  </a:lnTo>
                  <a:lnTo>
                    <a:pt x="1519" y="425"/>
                  </a:lnTo>
                  <a:lnTo>
                    <a:pt x="1528" y="417"/>
                  </a:lnTo>
                  <a:lnTo>
                    <a:pt x="1528" y="410"/>
                  </a:lnTo>
                  <a:lnTo>
                    <a:pt x="1513" y="398"/>
                  </a:lnTo>
                  <a:lnTo>
                    <a:pt x="1504" y="398"/>
                  </a:lnTo>
                  <a:lnTo>
                    <a:pt x="1492" y="409"/>
                  </a:lnTo>
                  <a:lnTo>
                    <a:pt x="1476" y="400"/>
                  </a:lnTo>
                  <a:lnTo>
                    <a:pt x="1473" y="387"/>
                  </a:lnTo>
                  <a:lnTo>
                    <a:pt x="1489" y="368"/>
                  </a:lnTo>
                  <a:lnTo>
                    <a:pt x="1487" y="351"/>
                  </a:lnTo>
                  <a:lnTo>
                    <a:pt x="1475" y="340"/>
                  </a:lnTo>
                  <a:lnTo>
                    <a:pt x="1483" y="328"/>
                  </a:lnTo>
                  <a:lnTo>
                    <a:pt x="1480" y="311"/>
                  </a:lnTo>
                  <a:lnTo>
                    <a:pt x="1442" y="274"/>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2" name="Freeform 128"/>
            <p:cNvSpPr>
              <a:spLocks/>
            </p:cNvSpPr>
            <p:nvPr/>
          </p:nvSpPr>
          <p:spPr bwMode="auto">
            <a:xfrm>
              <a:off x="7317748" y="4748790"/>
              <a:ext cx="218313" cy="476139"/>
            </a:xfrm>
            <a:custGeom>
              <a:avLst/>
              <a:gdLst>
                <a:gd name="T0" fmla="*/ 0 w 533"/>
                <a:gd name="T1" fmla="*/ 0 h 1170"/>
                <a:gd name="T2" fmla="*/ 0 w 533"/>
                <a:gd name="T3" fmla="*/ 0 h 1170"/>
                <a:gd name="T4" fmla="*/ 0 w 533"/>
                <a:gd name="T5" fmla="*/ 0 h 1170"/>
                <a:gd name="T6" fmla="*/ 0 w 533"/>
                <a:gd name="T7" fmla="*/ 0 h 1170"/>
                <a:gd name="T8" fmla="*/ 0 w 533"/>
                <a:gd name="T9" fmla="*/ 0 h 1170"/>
                <a:gd name="T10" fmla="*/ 0 w 533"/>
                <a:gd name="T11" fmla="*/ 0 h 1170"/>
                <a:gd name="T12" fmla="*/ 0 w 533"/>
                <a:gd name="T13" fmla="*/ 0 h 1170"/>
                <a:gd name="T14" fmla="*/ 0 w 533"/>
                <a:gd name="T15" fmla="*/ 0 h 1170"/>
                <a:gd name="T16" fmla="*/ 0 w 533"/>
                <a:gd name="T17" fmla="*/ 0 h 1170"/>
                <a:gd name="T18" fmla="*/ 0 w 533"/>
                <a:gd name="T19" fmla="*/ 0 h 1170"/>
                <a:gd name="T20" fmla="*/ 0 w 533"/>
                <a:gd name="T21" fmla="*/ 0 h 1170"/>
                <a:gd name="T22" fmla="*/ 0 w 533"/>
                <a:gd name="T23" fmla="*/ 0 h 1170"/>
                <a:gd name="T24" fmla="*/ 0 w 533"/>
                <a:gd name="T25" fmla="*/ 0 h 1170"/>
                <a:gd name="T26" fmla="*/ 0 w 533"/>
                <a:gd name="T27" fmla="*/ 0 h 1170"/>
                <a:gd name="T28" fmla="*/ 0 w 533"/>
                <a:gd name="T29" fmla="*/ 0 h 1170"/>
                <a:gd name="T30" fmla="*/ 0 w 533"/>
                <a:gd name="T31" fmla="*/ 0 h 1170"/>
                <a:gd name="T32" fmla="*/ 0 w 533"/>
                <a:gd name="T33" fmla="*/ 0 h 1170"/>
                <a:gd name="T34" fmla="*/ 0 w 533"/>
                <a:gd name="T35" fmla="*/ 0 h 1170"/>
                <a:gd name="T36" fmla="*/ 0 w 533"/>
                <a:gd name="T37" fmla="*/ 0 h 1170"/>
                <a:gd name="T38" fmla="*/ 0 w 533"/>
                <a:gd name="T39" fmla="*/ 0 h 1170"/>
                <a:gd name="T40" fmla="*/ 0 w 533"/>
                <a:gd name="T41" fmla="*/ 0 h 1170"/>
                <a:gd name="T42" fmla="*/ 0 w 533"/>
                <a:gd name="T43" fmla="*/ 0 h 1170"/>
                <a:gd name="T44" fmla="*/ 0 w 533"/>
                <a:gd name="T45" fmla="*/ 0 h 1170"/>
                <a:gd name="T46" fmla="*/ 0 w 533"/>
                <a:gd name="T47" fmla="*/ 0 h 1170"/>
                <a:gd name="T48" fmla="*/ 0 w 533"/>
                <a:gd name="T49" fmla="*/ 0 h 1170"/>
                <a:gd name="T50" fmla="*/ 0 w 533"/>
                <a:gd name="T51" fmla="*/ 0 h 1170"/>
                <a:gd name="T52" fmla="*/ 0 w 533"/>
                <a:gd name="T53" fmla="*/ 0 h 1170"/>
                <a:gd name="T54" fmla="*/ 0 w 533"/>
                <a:gd name="T55" fmla="*/ 0 h 1170"/>
                <a:gd name="T56" fmla="*/ 0 w 533"/>
                <a:gd name="T57" fmla="*/ 0 h 1170"/>
                <a:gd name="T58" fmla="*/ 0 w 533"/>
                <a:gd name="T59" fmla="*/ 0 h 1170"/>
                <a:gd name="T60" fmla="*/ 0 w 533"/>
                <a:gd name="T61" fmla="*/ 0 h 1170"/>
                <a:gd name="T62" fmla="*/ 0 w 533"/>
                <a:gd name="T63" fmla="*/ 0 h 1170"/>
                <a:gd name="T64" fmla="*/ 0 w 533"/>
                <a:gd name="T65" fmla="*/ 0 h 1170"/>
                <a:gd name="T66" fmla="*/ 0 w 533"/>
                <a:gd name="T67" fmla="*/ 0 h 1170"/>
                <a:gd name="T68" fmla="*/ 0 w 533"/>
                <a:gd name="T69" fmla="*/ 0 h 1170"/>
                <a:gd name="T70" fmla="*/ 0 w 533"/>
                <a:gd name="T71" fmla="*/ 0 h 1170"/>
                <a:gd name="T72" fmla="*/ 0 w 533"/>
                <a:gd name="T73" fmla="*/ 0 h 1170"/>
                <a:gd name="T74" fmla="*/ 0 w 533"/>
                <a:gd name="T75" fmla="*/ 0 h 11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3"/>
                <a:gd name="T115" fmla="*/ 0 h 1170"/>
                <a:gd name="T116" fmla="*/ 533 w 533"/>
                <a:gd name="T117" fmla="*/ 1170 h 117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3" h="1170">
                  <a:moveTo>
                    <a:pt x="268" y="1166"/>
                  </a:moveTo>
                  <a:lnTo>
                    <a:pt x="217" y="1143"/>
                  </a:lnTo>
                  <a:lnTo>
                    <a:pt x="208" y="1083"/>
                  </a:lnTo>
                  <a:lnTo>
                    <a:pt x="170" y="1030"/>
                  </a:lnTo>
                  <a:lnTo>
                    <a:pt x="73" y="992"/>
                  </a:lnTo>
                  <a:lnTo>
                    <a:pt x="0" y="861"/>
                  </a:lnTo>
                  <a:lnTo>
                    <a:pt x="41" y="870"/>
                  </a:lnTo>
                  <a:lnTo>
                    <a:pt x="41" y="822"/>
                  </a:lnTo>
                  <a:lnTo>
                    <a:pt x="21" y="747"/>
                  </a:lnTo>
                  <a:lnTo>
                    <a:pt x="42" y="677"/>
                  </a:lnTo>
                  <a:lnTo>
                    <a:pt x="52" y="666"/>
                  </a:lnTo>
                  <a:lnTo>
                    <a:pt x="49" y="612"/>
                  </a:lnTo>
                  <a:lnTo>
                    <a:pt x="59" y="566"/>
                  </a:lnTo>
                  <a:lnTo>
                    <a:pt x="36" y="508"/>
                  </a:lnTo>
                  <a:lnTo>
                    <a:pt x="86" y="341"/>
                  </a:lnTo>
                  <a:lnTo>
                    <a:pt x="62" y="312"/>
                  </a:lnTo>
                  <a:lnTo>
                    <a:pt x="15" y="303"/>
                  </a:lnTo>
                  <a:lnTo>
                    <a:pt x="45" y="218"/>
                  </a:lnTo>
                  <a:lnTo>
                    <a:pt x="36" y="160"/>
                  </a:lnTo>
                  <a:lnTo>
                    <a:pt x="59" y="83"/>
                  </a:lnTo>
                  <a:lnTo>
                    <a:pt x="99" y="51"/>
                  </a:lnTo>
                  <a:lnTo>
                    <a:pt x="133" y="0"/>
                  </a:lnTo>
                  <a:lnTo>
                    <a:pt x="173" y="40"/>
                  </a:lnTo>
                  <a:lnTo>
                    <a:pt x="249" y="48"/>
                  </a:lnTo>
                  <a:lnTo>
                    <a:pt x="282" y="109"/>
                  </a:lnTo>
                  <a:lnTo>
                    <a:pt x="336" y="131"/>
                  </a:lnTo>
                  <a:lnTo>
                    <a:pt x="399" y="215"/>
                  </a:lnTo>
                  <a:lnTo>
                    <a:pt x="378" y="501"/>
                  </a:lnTo>
                  <a:lnTo>
                    <a:pt x="424" y="609"/>
                  </a:lnTo>
                  <a:lnTo>
                    <a:pt x="522" y="700"/>
                  </a:lnTo>
                  <a:lnTo>
                    <a:pt x="533" y="831"/>
                  </a:lnTo>
                  <a:lnTo>
                    <a:pt x="464" y="897"/>
                  </a:lnTo>
                  <a:lnTo>
                    <a:pt x="415" y="992"/>
                  </a:lnTo>
                  <a:lnTo>
                    <a:pt x="362" y="1032"/>
                  </a:lnTo>
                  <a:lnTo>
                    <a:pt x="344" y="1097"/>
                  </a:lnTo>
                  <a:lnTo>
                    <a:pt x="321" y="1133"/>
                  </a:lnTo>
                  <a:lnTo>
                    <a:pt x="275" y="1170"/>
                  </a:lnTo>
                  <a:lnTo>
                    <a:pt x="268" y="116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3" name="Freeform 134"/>
            <p:cNvSpPr>
              <a:spLocks/>
            </p:cNvSpPr>
            <p:nvPr/>
          </p:nvSpPr>
          <p:spPr bwMode="auto">
            <a:xfrm>
              <a:off x="7233782" y="2303071"/>
              <a:ext cx="77669" cy="153120"/>
            </a:xfrm>
            <a:custGeom>
              <a:avLst/>
              <a:gdLst>
                <a:gd name="T0" fmla="*/ 0 w 193"/>
                <a:gd name="T1" fmla="*/ 0 h 383"/>
                <a:gd name="T2" fmla="*/ 0 w 193"/>
                <a:gd name="T3" fmla="*/ 0 h 383"/>
                <a:gd name="T4" fmla="*/ 0 w 193"/>
                <a:gd name="T5" fmla="*/ 0 h 383"/>
                <a:gd name="T6" fmla="*/ 0 w 193"/>
                <a:gd name="T7" fmla="*/ 0 h 383"/>
                <a:gd name="T8" fmla="*/ 0 w 193"/>
                <a:gd name="T9" fmla="*/ 0 h 383"/>
                <a:gd name="T10" fmla="*/ 0 w 193"/>
                <a:gd name="T11" fmla="*/ 0 h 383"/>
                <a:gd name="T12" fmla="*/ 0 w 193"/>
                <a:gd name="T13" fmla="*/ 0 h 383"/>
                <a:gd name="T14" fmla="*/ 0 w 193"/>
                <a:gd name="T15" fmla="*/ 0 h 383"/>
                <a:gd name="T16" fmla="*/ 0 w 193"/>
                <a:gd name="T17" fmla="*/ 0 h 383"/>
                <a:gd name="T18" fmla="*/ 0 w 193"/>
                <a:gd name="T19" fmla="*/ 0 h 383"/>
                <a:gd name="T20" fmla="*/ 0 w 193"/>
                <a:gd name="T21" fmla="*/ 0 h 383"/>
                <a:gd name="T22" fmla="*/ 0 w 193"/>
                <a:gd name="T23" fmla="*/ 0 h 383"/>
                <a:gd name="T24" fmla="*/ 0 w 193"/>
                <a:gd name="T25" fmla="*/ 0 h 383"/>
                <a:gd name="T26" fmla="*/ 0 w 193"/>
                <a:gd name="T27" fmla="*/ 0 h 383"/>
                <a:gd name="T28" fmla="*/ 0 w 193"/>
                <a:gd name="T29" fmla="*/ 0 h 383"/>
                <a:gd name="T30" fmla="*/ 0 w 193"/>
                <a:gd name="T31" fmla="*/ 0 h 383"/>
                <a:gd name="T32" fmla="*/ 0 w 193"/>
                <a:gd name="T33" fmla="*/ 0 h 383"/>
                <a:gd name="T34" fmla="*/ 0 w 193"/>
                <a:gd name="T35" fmla="*/ 0 h 383"/>
                <a:gd name="T36" fmla="*/ 0 w 193"/>
                <a:gd name="T37" fmla="*/ 0 h 383"/>
                <a:gd name="T38" fmla="*/ 0 w 193"/>
                <a:gd name="T39" fmla="*/ 0 h 3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3"/>
                <a:gd name="T61" fmla="*/ 0 h 383"/>
                <a:gd name="T62" fmla="*/ 193 w 193"/>
                <a:gd name="T63" fmla="*/ 383 h 3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3" h="383">
                  <a:moveTo>
                    <a:pt x="1" y="383"/>
                  </a:moveTo>
                  <a:lnTo>
                    <a:pt x="28" y="368"/>
                  </a:lnTo>
                  <a:lnTo>
                    <a:pt x="62" y="307"/>
                  </a:lnTo>
                  <a:lnTo>
                    <a:pt x="123" y="252"/>
                  </a:lnTo>
                  <a:lnTo>
                    <a:pt x="124" y="236"/>
                  </a:lnTo>
                  <a:lnTo>
                    <a:pt x="167" y="202"/>
                  </a:lnTo>
                  <a:lnTo>
                    <a:pt x="156" y="86"/>
                  </a:lnTo>
                  <a:lnTo>
                    <a:pt x="167" y="70"/>
                  </a:lnTo>
                  <a:lnTo>
                    <a:pt x="190" y="56"/>
                  </a:lnTo>
                  <a:lnTo>
                    <a:pt x="193" y="10"/>
                  </a:lnTo>
                  <a:lnTo>
                    <a:pt x="173" y="0"/>
                  </a:lnTo>
                  <a:lnTo>
                    <a:pt x="148" y="24"/>
                  </a:lnTo>
                  <a:lnTo>
                    <a:pt x="118" y="8"/>
                  </a:lnTo>
                  <a:lnTo>
                    <a:pt x="17" y="142"/>
                  </a:lnTo>
                  <a:lnTo>
                    <a:pt x="0" y="276"/>
                  </a:lnTo>
                  <a:lnTo>
                    <a:pt x="11" y="296"/>
                  </a:lnTo>
                  <a:lnTo>
                    <a:pt x="8" y="327"/>
                  </a:lnTo>
                  <a:lnTo>
                    <a:pt x="29" y="325"/>
                  </a:lnTo>
                  <a:lnTo>
                    <a:pt x="24" y="349"/>
                  </a:lnTo>
                  <a:lnTo>
                    <a:pt x="1" y="38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4" name="Freeform 136"/>
            <p:cNvSpPr>
              <a:spLocks/>
            </p:cNvSpPr>
            <p:nvPr/>
          </p:nvSpPr>
          <p:spPr bwMode="auto">
            <a:xfrm>
              <a:off x="5940695" y="2909256"/>
              <a:ext cx="39884" cy="44048"/>
            </a:xfrm>
            <a:custGeom>
              <a:avLst/>
              <a:gdLst>
                <a:gd name="T0" fmla="*/ 0 w 95"/>
                <a:gd name="T1" fmla="*/ 0 h 109"/>
                <a:gd name="T2" fmla="*/ 0 w 95"/>
                <a:gd name="T3" fmla="*/ 0 h 109"/>
                <a:gd name="T4" fmla="*/ 0 w 95"/>
                <a:gd name="T5" fmla="*/ 0 h 109"/>
                <a:gd name="T6" fmla="*/ 0 w 95"/>
                <a:gd name="T7" fmla="*/ 0 h 109"/>
                <a:gd name="T8" fmla="*/ 0 w 95"/>
                <a:gd name="T9" fmla="*/ 0 h 109"/>
                <a:gd name="T10" fmla="*/ 0 w 95"/>
                <a:gd name="T11" fmla="*/ 0 h 109"/>
                <a:gd name="T12" fmla="*/ 0 w 95"/>
                <a:gd name="T13" fmla="*/ 0 h 109"/>
                <a:gd name="T14" fmla="*/ 0 60000 65536"/>
                <a:gd name="T15" fmla="*/ 0 60000 65536"/>
                <a:gd name="T16" fmla="*/ 0 60000 65536"/>
                <a:gd name="T17" fmla="*/ 0 60000 65536"/>
                <a:gd name="T18" fmla="*/ 0 60000 65536"/>
                <a:gd name="T19" fmla="*/ 0 60000 65536"/>
                <a:gd name="T20" fmla="*/ 0 60000 65536"/>
                <a:gd name="T21" fmla="*/ 0 w 95"/>
                <a:gd name="T22" fmla="*/ 0 h 109"/>
                <a:gd name="T23" fmla="*/ 95 w 95"/>
                <a:gd name="T24" fmla="*/ 109 h 1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5" h="109">
                  <a:moveTo>
                    <a:pt x="82" y="39"/>
                  </a:moveTo>
                  <a:lnTo>
                    <a:pt x="95" y="0"/>
                  </a:lnTo>
                  <a:lnTo>
                    <a:pt x="94" y="4"/>
                  </a:lnTo>
                  <a:lnTo>
                    <a:pt x="0" y="109"/>
                  </a:lnTo>
                  <a:lnTo>
                    <a:pt x="38" y="94"/>
                  </a:lnTo>
                  <a:lnTo>
                    <a:pt x="63" y="55"/>
                  </a:lnTo>
                  <a:lnTo>
                    <a:pt x="82" y="39"/>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5" name="Freeform 137"/>
            <p:cNvSpPr>
              <a:spLocks/>
            </p:cNvSpPr>
            <p:nvPr/>
          </p:nvSpPr>
          <p:spPr bwMode="auto">
            <a:xfrm>
              <a:off x="5940695" y="2909256"/>
              <a:ext cx="39884" cy="44048"/>
            </a:xfrm>
            <a:custGeom>
              <a:avLst/>
              <a:gdLst>
                <a:gd name="T0" fmla="*/ 0 w 95"/>
                <a:gd name="T1" fmla="*/ 0 h 109"/>
                <a:gd name="T2" fmla="*/ 0 w 95"/>
                <a:gd name="T3" fmla="*/ 0 h 109"/>
                <a:gd name="T4" fmla="*/ 0 w 95"/>
                <a:gd name="T5" fmla="*/ 0 h 109"/>
                <a:gd name="T6" fmla="*/ 0 w 95"/>
                <a:gd name="T7" fmla="*/ 0 h 109"/>
                <a:gd name="T8" fmla="*/ 0 w 95"/>
                <a:gd name="T9" fmla="*/ 0 h 109"/>
                <a:gd name="T10" fmla="*/ 0 w 95"/>
                <a:gd name="T11" fmla="*/ 0 h 109"/>
                <a:gd name="T12" fmla="*/ 0 w 95"/>
                <a:gd name="T13" fmla="*/ 0 h 109"/>
                <a:gd name="T14" fmla="*/ 0 60000 65536"/>
                <a:gd name="T15" fmla="*/ 0 60000 65536"/>
                <a:gd name="T16" fmla="*/ 0 60000 65536"/>
                <a:gd name="T17" fmla="*/ 0 60000 65536"/>
                <a:gd name="T18" fmla="*/ 0 60000 65536"/>
                <a:gd name="T19" fmla="*/ 0 60000 65536"/>
                <a:gd name="T20" fmla="*/ 0 60000 65536"/>
                <a:gd name="T21" fmla="*/ 0 w 95"/>
                <a:gd name="T22" fmla="*/ 0 h 109"/>
                <a:gd name="T23" fmla="*/ 95 w 95"/>
                <a:gd name="T24" fmla="*/ 109 h 1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5" h="109">
                  <a:moveTo>
                    <a:pt x="82" y="39"/>
                  </a:moveTo>
                  <a:lnTo>
                    <a:pt x="95" y="0"/>
                  </a:lnTo>
                  <a:lnTo>
                    <a:pt x="94" y="4"/>
                  </a:lnTo>
                  <a:lnTo>
                    <a:pt x="0" y="109"/>
                  </a:lnTo>
                  <a:lnTo>
                    <a:pt x="38" y="94"/>
                  </a:lnTo>
                  <a:lnTo>
                    <a:pt x="63" y="55"/>
                  </a:lnTo>
                  <a:lnTo>
                    <a:pt x="82" y="39"/>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6" name="Freeform 138"/>
            <p:cNvSpPr>
              <a:spLocks/>
            </p:cNvSpPr>
            <p:nvPr/>
          </p:nvSpPr>
          <p:spPr bwMode="auto">
            <a:xfrm>
              <a:off x="5831538" y="3119009"/>
              <a:ext cx="27289" cy="25170"/>
            </a:xfrm>
            <a:custGeom>
              <a:avLst/>
              <a:gdLst>
                <a:gd name="T0" fmla="*/ 0 w 66"/>
                <a:gd name="T1" fmla="*/ 0 h 63"/>
                <a:gd name="T2" fmla="*/ 0 w 66"/>
                <a:gd name="T3" fmla="*/ 0 h 63"/>
                <a:gd name="T4" fmla="*/ 0 w 66"/>
                <a:gd name="T5" fmla="*/ 0 h 63"/>
                <a:gd name="T6" fmla="*/ 0 w 66"/>
                <a:gd name="T7" fmla="*/ 0 h 63"/>
                <a:gd name="T8" fmla="*/ 0 w 66"/>
                <a:gd name="T9" fmla="*/ 0 h 63"/>
                <a:gd name="T10" fmla="*/ 0 w 66"/>
                <a:gd name="T11" fmla="*/ 0 h 63"/>
                <a:gd name="T12" fmla="*/ 0 60000 65536"/>
                <a:gd name="T13" fmla="*/ 0 60000 65536"/>
                <a:gd name="T14" fmla="*/ 0 60000 65536"/>
                <a:gd name="T15" fmla="*/ 0 60000 65536"/>
                <a:gd name="T16" fmla="*/ 0 60000 65536"/>
                <a:gd name="T17" fmla="*/ 0 60000 65536"/>
                <a:gd name="T18" fmla="*/ 0 w 66"/>
                <a:gd name="T19" fmla="*/ 0 h 63"/>
                <a:gd name="T20" fmla="*/ 66 w 66"/>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6" h="63">
                  <a:moveTo>
                    <a:pt x="8" y="12"/>
                  </a:moveTo>
                  <a:lnTo>
                    <a:pt x="0" y="0"/>
                  </a:lnTo>
                  <a:lnTo>
                    <a:pt x="31" y="3"/>
                  </a:lnTo>
                  <a:lnTo>
                    <a:pt x="64" y="50"/>
                  </a:lnTo>
                  <a:lnTo>
                    <a:pt x="66" y="63"/>
                  </a:lnTo>
                  <a:lnTo>
                    <a:pt x="8" y="1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7" name="Freeform 139"/>
            <p:cNvSpPr>
              <a:spLocks/>
            </p:cNvSpPr>
            <p:nvPr/>
          </p:nvSpPr>
          <p:spPr bwMode="auto">
            <a:xfrm>
              <a:off x="5831538" y="3119009"/>
              <a:ext cx="27289" cy="25170"/>
            </a:xfrm>
            <a:custGeom>
              <a:avLst/>
              <a:gdLst>
                <a:gd name="T0" fmla="*/ 0 w 66"/>
                <a:gd name="T1" fmla="*/ 0 h 63"/>
                <a:gd name="T2" fmla="*/ 0 w 66"/>
                <a:gd name="T3" fmla="*/ 0 h 63"/>
                <a:gd name="T4" fmla="*/ 0 w 66"/>
                <a:gd name="T5" fmla="*/ 0 h 63"/>
                <a:gd name="T6" fmla="*/ 0 w 66"/>
                <a:gd name="T7" fmla="*/ 0 h 63"/>
                <a:gd name="T8" fmla="*/ 0 w 66"/>
                <a:gd name="T9" fmla="*/ 0 h 63"/>
                <a:gd name="T10" fmla="*/ 0 w 66"/>
                <a:gd name="T11" fmla="*/ 0 h 63"/>
                <a:gd name="T12" fmla="*/ 0 60000 65536"/>
                <a:gd name="T13" fmla="*/ 0 60000 65536"/>
                <a:gd name="T14" fmla="*/ 0 60000 65536"/>
                <a:gd name="T15" fmla="*/ 0 60000 65536"/>
                <a:gd name="T16" fmla="*/ 0 60000 65536"/>
                <a:gd name="T17" fmla="*/ 0 60000 65536"/>
                <a:gd name="T18" fmla="*/ 0 w 66"/>
                <a:gd name="T19" fmla="*/ 0 h 63"/>
                <a:gd name="T20" fmla="*/ 66 w 66"/>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6" h="63">
                  <a:moveTo>
                    <a:pt x="8" y="12"/>
                  </a:moveTo>
                  <a:lnTo>
                    <a:pt x="0" y="0"/>
                  </a:lnTo>
                  <a:lnTo>
                    <a:pt x="31" y="3"/>
                  </a:lnTo>
                  <a:lnTo>
                    <a:pt x="64" y="50"/>
                  </a:lnTo>
                  <a:lnTo>
                    <a:pt x="66" y="63"/>
                  </a:lnTo>
                  <a:lnTo>
                    <a:pt x="8" y="12"/>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8" name="Freeform 140"/>
            <p:cNvSpPr>
              <a:spLocks/>
            </p:cNvSpPr>
            <p:nvPr/>
          </p:nvSpPr>
          <p:spPr bwMode="auto">
            <a:xfrm>
              <a:off x="5810546" y="3127400"/>
              <a:ext cx="23091" cy="16780"/>
            </a:xfrm>
            <a:custGeom>
              <a:avLst/>
              <a:gdLst>
                <a:gd name="T0" fmla="*/ 0 w 61"/>
                <a:gd name="T1" fmla="*/ 0 h 42"/>
                <a:gd name="T2" fmla="*/ 0 w 61"/>
                <a:gd name="T3" fmla="*/ 0 h 42"/>
                <a:gd name="T4" fmla="*/ 0 w 61"/>
                <a:gd name="T5" fmla="*/ 0 h 42"/>
                <a:gd name="T6" fmla="*/ 0 w 61"/>
                <a:gd name="T7" fmla="*/ 0 h 42"/>
                <a:gd name="T8" fmla="*/ 0 w 61"/>
                <a:gd name="T9" fmla="*/ 0 h 42"/>
                <a:gd name="T10" fmla="*/ 0 60000 65536"/>
                <a:gd name="T11" fmla="*/ 0 60000 65536"/>
                <a:gd name="T12" fmla="*/ 0 60000 65536"/>
                <a:gd name="T13" fmla="*/ 0 60000 65536"/>
                <a:gd name="T14" fmla="*/ 0 60000 65536"/>
                <a:gd name="T15" fmla="*/ 0 w 61"/>
                <a:gd name="T16" fmla="*/ 0 h 42"/>
                <a:gd name="T17" fmla="*/ 61 w 61"/>
                <a:gd name="T18" fmla="*/ 42 h 42"/>
              </a:gdLst>
              <a:ahLst/>
              <a:cxnLst>
                <a:cxn ang="T10">
                  <a:pos x="T0" y="T1"/>
                </a:cxn>
                <a:cxn ang="T11">
                  <a:pos x="T2" y="T3"/>
                </a:cxn>
                <a:cxn ang="T12">
                  <a:pos x="T4" y="T5"/>
                </a:cxn>
                <a:cxn ang="T13">
                  <a:pos x="T6" y="T7"/>
                </a:cxn>
                <a:cxn ang="T14">
                  <a:pos x="T8" y="T9"/>
                </a:cxn>
              </a:cxnLst>
              <a:rect l="T15" t="T16" r="T17" b="T18"/>
              <a:pathLst>
                <a:path w="61" h="42">
                  <a:moveTo>
                    <a:pt x="0" y="6"/>
                  </a:moveTo>
                  <a:lnTo>
                    <a:pt x="26" y="0"/>
                  </a:lnTo>
                  <a:lnTo>
                    <a:pt x="61" y="27"/>
                  </a:lnTo>
                  <a:lnTo>
                    <a:pt x="61" y="42"/>
                  </a:lnTo>
                  <a:lnTo>
                    <a:pt x="0" y="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69" name="Freeform 141"/>
            <p:cNvSpPr>
              <a:spLocks/>
            </p:cNvSpPr>
            <p:nvPr/>
          </p:nvSpPr>
          <p:spPr bwMode="auto">
            <a:xfrm>
              <a:off x="5810546" y="3127400"/>
              <a:ext cx="23091" cy="16780"/>
            </a:xfrm>
            <a:custGeom>
              <a:avLst/>
              <a:gdLst>
                <a:gd name="T0" fmla="*/ 0 w 61"/>
                <a:gd name="T1" fmla="*/ 0 h 42"/>
                <a:gd name="T2" fmla="*/ 0 w 61"/>
                <a:gd name="T3" fmla="*/ 0 h 42"/>
                <a:gd name="T4" fmla="*/ 0 w 61"/>
                <a:gd name="T5" fmla="*/ 0 h 42"/>
                <a:gd name="T6" fmla="*/ 0 w 61"/>
                <a:gd name="T7" fmla="*/ 0 h 42"/>
                <a:gd name="T8" fmla="*/ 0 w 61"/>
                <a:gd name="T9" fmla="*/ 0 h 42"/>
                <a:gd name="T10" fmla="*/ 0 60000 65536"/>
                <a:gd name="T11" fmla="*/ 0 60000 65536"/>
                <a:gd name="T12" fmla="*/ 0 60000 65536"/>
                <a:gd name="T13" fmla="*/ 0 60000 65536"/>
                <a:gd name="T14" fmla="*/ 0 60000 65536"/>
                <a:gd name="T15" fmla="*/ 0 w 61"/>
                <a:gd name="T16" fmla="*/ 0 h 42"/>
                <a:gd name="T17" fmla="*/ 61 w 61"/>
                <a:gd name="T18" fmla="*/ 42 h 42"/>
              </a:gdLst>
              <a:ahLst/>
              <a:cxnLst>
                <a:cxn ang="T10">
                  <a:pos x="T0" y="T1"/>
                </a:cxn>
                <a:cxn ang="T11">
                  <a:pos x="T2" y="T3"/>
                </a:cxn>
                <a:cxn ang="T12">
                  <a:pos x="T4" y="T5"/>
                </a:cxn>
                <a:cxn ang="T13">
                  <a:pos x="T6" y="T7"/>
                </a:cxn>
                <a:cxn ang="T14">
                  <a:pos x="T8" y="T9"/>
                </a:cxn>
              </a:cxnLst>
              <a:rect l="T15" t="T16" r="T17" b="T18"/>
              <a:pathLst>
                <a:path w="61" h="42">
                  <a:moveTo>
                    <a:pt x="0" y="6"/>
                  </a:moveTo>
                  <a:lnTo>
                    <a:pt x="26" y="0"/>
                  </a:lnTo>
                  <a:lnTo>
                    <a:pt x="61" y="27"/>
                  </a:lnTo>
                  <a:lnTo>
                    <a:pt x="61" y="42"/>
                  </a:lnTo>
                  <a:lnTo>
                    <a:pt x="0" y="6"/>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0" name="Freeform 142"/>
            <p:cNvSpPr>
              <a:spLocks/>
            </p:cNvSpPr>
            <p:nvPr/>
          </p:nvSpPr>
          <p:spPr bwMode="auto">
            <a:xfrm>
              <a:off x="5781158" y="3150472"/>
              <a:ext cx="14694" cy="16780"/>
            </a:xfrm>
            <a:custGeom>
              <a:avLst/>
              <a:gdLst>
                <a:gd name="T0" fmla="*/ 0 w 32"/>
                <a:gd name="T1" fmla="*/ 0 h 43"/>
                <a:gd name="T2" fmla="*/ 0 w 32"/>
                <a:gd name="T3" fmla="*/ 0 h 43"/>
                <a:gd name="T4" fmla="*/ 0 w 32"/>
                <a:gd name="T5" fmla="*/ 0 h 43"/>
                <a:gd name="T6" fmla="*/ 0 w 32"/>
                <a:gd name="T7" fmla="*/ 0 h 43"/>
                <a:gd name="T8" fmla="*/ 0 w 32"/>
                <a:gd name="T9" fmla="*/ 0 h 43"/>
                <a:gd name="T10" fmla="*/ 0 w 32"/>
                <a:gd name="T11" fmla="*/ 0 h 43"/>
                <a:gd name="T12" fmla="*/ 0 60000 65536"/>
                <a:gd name="T13" fmla="*/ 0 60000 65536"/>
                <a:gd name="T14" fmla="*/ 0 60000 65536"/>
                <a:gd name="T15" fmla="*/ 0 60000 65536"/>
                <a:gd name="T16" fmla="*/ 0 60000 65536"/>
                <a:gd name="T17" fmla="*/ 0 60000 65536"/>
                <a:gd name="T18" fmla="*/ 0 w 32"/>
                <a:gd name="T19" fmla="*/ 0 h 43"/>
                <a:gd name="T20" fmla="*/ 32 w 32"/>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32" h="43">
                  <a:moveTo>
                    <a:pt x="13" y="0"/>
                  </a:moveTo>
                  <a:lnTo>
                    <a:pt x="0" y="39"/>
                  </a:lnTo>
                  <a:lnTo>
                    <a:pt x="12" y="43"/>
                  </a:lnTo>
                  <a:lnTo>
                    <a:pt x="29" y="32"/>
                  </a:lnTo>
                  <a:lnTo>
                    <a:pt x="32" y="16"/>
                  </a:lnTo>
                  <a:lnTo>
                    <a:pt x="13"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1" name="Freeform 143"/>
            <p:cNvSpPr>
              <a:spLocks/>
            </p:cNvSpPr>
            <p:nvPr/>
          </p:nvSpPr>
          <p:spPr bwMode="auto">
            <a:xfrm>
              <a:off x="5781158" y="3150472"/>
              <a:ext cx="14694" cy="16780"/>
            </a:xfrm>
            <a:custGeom>
              <a:avLst/>
              <a:gdLst>
                <a:gd name="T0" fmla="*/ 0 w 32"/>
                <a:gd name="T1" fmla="*/ 0 h 43"/>
                <a:gd name="T2" fmla="*/ 0 w 32"/>
                <a:gd name="T3" fmla="*/ 0 h 43"/>
                <a:gd name="T4" fmla="*/ 0 w 32"/>
                <a:gd name="T5" fmla="*/ 0 h 43"/>
                <a:gd name="T6" fmla="*/ 0 w 32"/>
                <a:gd name="T7" fmla="*/ 0 h 43"/>
                <a:gd name="T8" fmla="*/ 0 w 32"/>
                <a:gd name="T9" fmla="*/ 0 h 43"/>
                <a:gd name="T10" fmla="*/ 0 w 32"/>
                <a:gd name="T11" fmla="*/ 0 h 43"/>
                <a:gd name="T12" fmla="*/ 0 60000 65536"/>
                <a:gd name="T13" fmla="*/ 0 60000 65536"/>
                <a:gd name="T14" fmla="*/ 0 60000 65536"/>
                <a:gd name="T15" fmla="*/ 0 60000 65536"/>
                <a:gd name="T16" fmla="*/ 0 60000 65536"/>
                <a:gd name="T17" fmla="*/ 0 60000 65536"/>
                <a:gd name="T18" fmla="*/ 0 w 32"/>
                <a:gd name="T19" fmla="*/ 0 h 43"/>
                <a:gd name="T20" fmla="*/ 32 w 32"/>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32" h="43">
                  <a:moveTo>
                    <a:pt x="13" y="0"/>
                  </a:moveTo>
                  <a:lnTo>
                    <a:pt x="0" y="39"/>
                  </a:lnTo>
                  <a:lnTo>
                    <a:pt x="12" y="43"/>
                  </a:lnTo>
                  <a:lnTo>
                    <a:pt x="29" y="32"/>
                  </a:lnTo>
                  <a:lnTo>
                    <a:pt x="32" y="16"/>
                  </a:lnTo>
                  <a:lnTo>
                    <a:pt x="13" y="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2" name="Freeform 144"/>
            <p:cNvSpPr>
              <a:spLocks/>
            </p:cNvSpPr>
            <p:nvPr/>
          </p:nvSpPr>
          <p:spPr bwMode="auto">
            <a:xfrm>
              <a:off x="6054050" y="4604060"/>
              <a:ext cx="111256" cy="260094"/>
            </a:xfrm>
            <a:custGeom>
              <a:avLst/>
              <a:gdLst>
                <a:gd name="T0" fmla="*/ 0 w 277"/>
                <a:gd name="T1" fmla="*/ 0 h 640"/>
                <a:gd name="T2" fmla="*/ 0 w 277"/>
                <a:gd name="T3" fmla="*/ 0 h 640"/>
                <a:gd name="T4" fmla="*/ 0 w 277"/>
                <a:gd name="T5" fmla="*/ 0 h 640"/>
                <a:gd name="T6" fmla="*/ 0 w 277"/>
                <a:gd name="T7" fmla="*/ 0 h 640"/>
                <a:gd name="T8" fmla="*/ 0 w 277"/>
                <a:gd name="T9" fmla="*/ 0 h 640"/>
                <a:gd name="T10" fmla="*/ 0 w 277"/>
                <a:gd name="T11" fmla="*/ 0 h 640"/>
                <a:gd name="T12" fmla="*/ 0 w 277"/>
                <a:gd name="T13" fmla="*/ 0 h 640"/>
                <a:gd name="T14" fmla="*/ 0 w 277"/>
                <a:gd name="T15" fmla="*/ 0 h 640"/>
                <a:gd name="T16" fmla="*/ 0 w 277"/>
                <a:gd name="T17" fmla="*/ 0 h 640"/>
                <a:gd name="T18" fmla="*/ 0 w 277"/>
                <a:gd name="T19" fmla="*/ 0 h 640"/>
                <a:gd name="T20" fmla="*/ 0 w 277"/>
                <a:gd name="T21" fmla="*/ 0 h 640"/>
                <a:gd name="T22" fmla="*/ 0 w 277"/>
                <a:gd name="T23" fmla="*/ 0 h 640"/>
                <a:gd name="T24" fmla="*/ 0 w 277"/>
                <a:gd name="T25" fmla="*/ 0 h 640"/>
                <a:gd name="T26" fmla="*/ 0 w 277"/>
                <a:gd name="T27" fmla="*/ 0 h 640"/>
                <a:gd name="T28" fmla="*/ 0 w 277"/>
                <a:gd name="T29" fmla="*/ 0 h 640"/>
                <a:gd name="T30" fmla="*/ 0 w 277"/>
                <a:gd name="T31" fmla="*/ 0 h 640"/>
                <a:gd name="T32" fmla="*/ 0 w 277"/>
                <a:gd name="T33" fmla="*/ 0 h 640"/>
                <a:gd name="T34" fmla="*/ 0 w 277"/>
                <a:gd name="T35" fmla="*/ 0 h 640"/>
                <a:gd name="T36" fmla="*/ 0 w 277"/>
                <a:gd name="T37" fmla="*/ 0 h 640"/>
                <a:gd name="T38" fmla="*/ 0 w 277"/>
                <a:gd name="T39" fmla="*/ 0 h 6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7"/>
                <a:gd name="T61" fmla="*/ 0 h 640"/>
                <a:gd name="T62" fmla="*/ 277 w 277"/>
                <a:gd name="T63" fmla="*/ 640 h 6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7" h="640">
                  <a:moveTo>
                    <a:pt x="252" y="0"/>
                  </a:moveTo>
                  <a:lnTo>
                    <a:pt x="277" y="16"/>
                  </a:lnTo>
                  <a:lnTo>
                    <a:pt x="272" y="322"/>
                  </a:lnTo>
                  <a:lnTo>
                    <a:pt x="128" y="640"/>
                  </a:lnTo>
                  <a:lnTo>
                    <a:pt x="109" y="595"/>
                  </a:lnTo>
                  <a:lnTo>
                    <a:pt x="80" y="584"/>
                  </a:lnTo>
                  <a:lnTo>
                    <a:pt x="46" y="560"/>
                  </a:lnTo>
                  <a:lnTo>
                    <a:pt x="34" y="527"/>
                  </a:lnTo>
                  <a:lnTo>
                    <a:pt x="44" y="483"/>
                  </a:lnTo>
                  <a:lnTo>
                    <a:pt x="10" y="465"/>
                  </a:lnTo>
                  <a:lnTo>
                    <a:pt x="15" y="318"/>
                  </a:lnTo>
                  <a:lnTo>
                    <a:pt x="0" y="288"/>
                  </a:lnTo>
                  <a:lnTo>
                    <a:pt x="11" y="203"/>
                  </a:lnTo>
                  <a:lnTo>
                    <a:pt x="46" y="137"/>
                  </a:lnTo>
                  <a:lnTo>
                    <a:pt x="68" y="146"/>
                  </a:lnTo>
                  <a:lnTo>
                    <a:pt x="104" y="138"/>
                  </a:lnTo>
                  <a:lnTo>
                    <a:pt x="168" y="102"/>
                  </a:lnTo>
                  <a:lnTo>
                    <a:pt x="218" y="95"/>
                  </a:lnTo>
                  <a:lnTo>
                    <a:pt x="234" y="73"/>
                  </a:lnTo>
                  <a:lnTo>
                    <a:pt x="252"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3" name="Freeform 146"/>
            <p:cNvSpPr>
              <a:spLocks/>
            </p:cNvSpPr>
            <p:nvPr/>
          </p:nvSpPr>
          <p:spPr bwMode="auto">
            <a:xfrm>
              <a:off x="4492269" y="2259022"/>
              <a:ext cx="505899" cy="513895"/>
            </a:xfrm>
            <a:custGeom>
              <a:avLst/>
              <a:gdLst>
                <a:gd name="T0" fmla="*/ 0 w 1250"/>
                <a:gd name="T1" fmla="*/ 0 h 1267"/>
                <a:gd name="T2" fmla="*/ 0 w 1250"/>
                <a:gd name="T3" fmla="*/ 0 h 1267"/>
                <a:gd name="T4" fmla="*/ 0 w 1250"/>
                <a:gd name="T5" fmla="*/ 0 h 1267"/>
                <a:gd name="T6" fmla="*/ 0 w 1250"/>
                <a:gd name="T7" fmla="*/ 0 h 1267"/>
                <a:gd name="T8" fmla="*/ 0 w 1250"/>
                <a:gd name="T9" fmla="*/ 0 h 1267"/>
                <a:gd name="T10" fmla="*/ 0 w 1250"/>
                <a:gd name="T11" fmla="*/ 0 h 1267"/>
                <a:gd name="T12" fmla="*/ 0 w 1250"/>
                <a:gd name="T13" fmla="*/ 0 h 1267"/>
                <a:gd name="T14" fmla="*/ 0 w 1250"/>
                <a:gd name="T15" fmla="*/ 0 h 1267"/>
                <a:gd name="T16" fmla="*/ 0 w 1250"/>
                <a:gd name="T17" fmla="*/ 0 h 1267"/>
                <a:gd name="T18" fmla="*/ 0 w 1250"/>
                <a:gd name="T19" fmla="*/ 0 h 1267"/>
                <a:gd name="T20" fmla="*/ 0 w 1250"/>
                <a:gd name="T21" fmla="*/ 0 h 1267"/>
                <a:gd name="T22" fmla="*/ 0 w 1250"/>
                <a:gd name="T23" fmla="*/ 0 h 1267"/>
                <a:gd name="T24" fmla="*/ 0 w 1250"/>
                <a:gd name="T25" fmla="*/ 0 h 1267"/>
                <a:gd name="T26" fmla="*/ 0 w 1250"/>
                <a:gd name="T27" fmla="*/ 0 h 1267"/>
                <a:gd name="T28" fmla="*/ 0 w 1250"/>
                <a:gd name="T29" fmla="*/ 0 h 1267"/>
                <a:gd name="T30" fmla="*/ 0 w 1250"/>
                <a:gd name="T31" fmla="*/ 0 h 1267"/>
                <a:gd name="T32" fmla="*/ 0 w 1250"/>
                <a:gd name="T33" fmla="*/ 0 h 1267"/>
                <a:gd name="T34" fmla="*/ 0 w 1250"/>
                <a:gd name="T35" fmla="*/ 0 h 1267"/>
                <a:gd name="T36" fmla="*/ 0 w 1250"/>
                <a:gd name="T37" fmla="*/ 0 h 1267"/>
                <a:gd name="T38" fmla="*/ 0 w 1250"/>
                <a:gd name="T39" fmla="*/ 0 h 1267"/>
                <a:gd name="T40" fmla="*/ 0 w 1250"/>
                <a:gd name="T41" fmla="*/ 0 h 1267"/>
                <a:gd name="T42" fmla="*/ 0 w 1250"/>
                <a:gd name="T43" fmla="*/ 0 h 1267"/>
                <a:gd name="T44" fmla="*/ 0 w 1250"/>
                <a:gd name="T45" fmla="*/ 0 h 1267"/>
                <a:gd name="T46" fmla="*/ 0 w 1250"/>
                <a:gd name="T47" fmla="*/ 0 h 1267"/>
                <a:gd name="T48" fmla="*/ 0 w 1250"/>
                <a:gd name="T49" fmla="*/ 0 h 1267"/>
                <a:gd name="T50" fmla="*/ 0 w 1250"/>
                <a:gd name="T51" fmla="*/ 0 h 1267"/>
                <a:gd name="T52" fmla="*/ 0 w 1250"/>
                <a:gd name="T53" fmla="*/ 0 h 1267"/>
                <a:gd name="T54" fmla="*/ 0 w 1250"/>
                <a:gd name="T55" fmla="*/ 0 h 1267"/>
                <a:gd name="T56" fmla="*/ 0 w 1250"/>
                <a:gd name="T57" fmla="*/ 0 h 1267"/>
                <a:gd name="T58" fmla="*/ 0 w 1250"/>
                <a:gd name="T59" fmla="*/ 0 h 1267"/>
                <a:gd name="T60" fmla="*/ 0 w 1250"/>
                <a:gd name="T61" fmla="*/ 0 h 1267"/>
                <a:gd name="T62" fmla="*/ 0 w 1250"/>
                <a:gd name="T63" fmla="*/ 0 h 1267"/>
                <a:gd name="T64" fmla="*/ 0 w 1250"/>
                <a:gd name="T65" fmla="*/ 0 h 1267"/>
                <a:gd name="T66" fmla="*/ 0 w 1250"/>
                <a:gd name="T67" fmla="*/ 0 h 1267"/>
                <a:gd name="T68" fmla="*/ 0 w 1250"/>
                <a:gd name="T69" fmla="*/ 0 h 1267"/>
                <a:gd name="T70" fmla="*/ 0 w 1250"/>
                <a:gd name="T71" fmla="*/ 0 h 1267"/>
                <a:gd name="T72" fmla="*/ 0 w 1250"/>
                <a:gd name="T73" fmla="*/ 0 h 1267"/>
                <a:gd name="T74" fmla="*/ 0 w 1250"/>
                <a:gd name="T75" fmla="*/ 0 h 1267"/>
                <a:gd name="T76" fmla="*/ 0 w 1250"/>
                <a:gd name="T77" fmla="*/ 0 h 1267"/>
                <a:gd name="T78" fmla="*/ 0 w 1250"/>
                <a:gd name="T79" fmla="*/ 0 h 1267"/>
                <a:gd name="T80" fmla="*/ 0 w 1250"/>
                <a:gd name="T81" fmla="*/ 0 h 1267"/>
                <a:gd name="T82" fmla="*/ 0 w 1250"/>
                <a:gd name="T83" fmla="*/ 0 h 12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0"/>
                <a:gd name="T127" fmla="*/ 0 h 1267"/>
                <a:gd name="T128" fmla="*/ 1250 w 1250"/>
                <a:gd name="T129" fmla="*/ 1267 h 12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0" h="1267">
                  <a:moveTo>
                    <a:pt x="1227" y="593"/>
                  </a:moveTo>
                  <a:lnTo>
                    <a:pt x="1224" y="570"/>
                  </a:lnTo>
                  <a:lnTo>
                    <a:pt x="1248" y="510"/>
                  </a:lnTo>
                  <a:lnTo>
                    <a:pt x="1250" y="480"/>
                  </a:lnTo>
                  <a:lnTo>
                    <a:pt x="1217" y="402"/>
                  </a:lnTo>
                  <a:lnTo>
                    <a:pt x="1088" y="384"/>
                  </a:lnTo>
                  <a:lnTo>
                    <a:pt x="1047" y="421"/>
                  </a:lnTo>
                  <a:lnTo>
                    <a:pt x="981" y="447"/>
                  </a:lnTo>
                  <a:lnTo>
                    <a:pt x="945" y="406"/>
                  </a:lnTo>
                  <a:lnTo>
                    <a:pt x="945" y="325"/>
                  </a:lnTo>
                  <a:lnTo>
                    <a:pt x="899" y="256"/>
                  </a:lnTo>
                  <a:lnTo>
                    <a:pt x="958" y="241"/>
                  </a:lnTo>
                  <a:lnTo>
                    <a:pt x="978" y="191"/>
                  </a:lnTo>
                  <a:lnTo>
                    <a:pt x="1019" y="203"/>
                  </a:lnTo>
                  <a:lnTo>
                    <a:pt x="1055" y="173"/>
                  </a:lnTo>
                  <a:lnTo>
                    <a:pt x="1118" y="28"/>
                  </a:lnTo>
                  <a:lnTo>
                    <a:pt x="1117" y="16"/>
                  </a:lnTo>
                  <a:lnTo>
                    <a:pt x="1091" y="12"/>
                  </a:lnTo>
                  <a:lnTo>
                    <a:pt x="1046" y="19"/>
                  </a:lnTo>
                  <a:lnTo>
                    <a:pt x="1037" y="0"/>
                  </a:lnTo>
                  <a:lnTo>
                    <a:pt x="940" y="30"/>
                  </a:lnTo>
                  <a:lnTo>
                    <a:pt x="920" y="29"/>
                  </a:lnTo>
                  <a:lnTo>
                    <a:pt x="892" y="63"/>
                  </a:lnTo>
                  <a:lnTo>
                    <a:pt x="894" y="82"/>
                  </a:lnTo>
                  <a:lnTo>
                    <a:pt x="885" y="93"/>
                  </a:lnTo>
                  <a:lnTo>
                    <a:pt x="847" y="112"/>
                  </a:lnTo>
                  <a:lnTo>
                    <a:pt x="790" y="124"/>
                  </a:lnTo>
                  <a:lnTo>
                    <a:pt x="789" y="152"/>
                  </a:lnTo>
                  <a:lnTo>
                    <a:pt x="822" y="166"/>
                  </a:lnTo>
                  <a:lnTo>
                    <a:pt x="840" y="181"/>
                  </a:lnTo>
                  <a:lnTo>
                    <a:pt x="863" y="183"/>
                  </a:lnTo>
                  <a:lnTo>
                    <a:pt x="899" y="197"/>
                  </a:lnTo>
                  <a:lnTo>
                    <a:pt x="894" y="214"/>
                  </a:lnTo>
                  <a:lnTo>
                    <a:pt x="866" y="243"/>
                  </a:lnTo>
                  <a:lnTo>
                    <a:pt x="778" y="262"/>
                  </a:lnTo>
                  <a:lnTo>
                    <a:pt x="774" y="279"/>
                  </a:lnTo>
                  <a:lnTo>
                    <a:pt x="760" y="301"/>
                  </a:lnTo>
                  <a:lnTo>
                    <a:pt x="626" y="257"/>
                  </a:lnTo>
                  <a:lnTo>
                    <a:pt x="622" y="226"/>
                  </a:lnTo>
                  <a:lnTo>
                    <a:pt x="530" y="175"/>
                  </a:lnTo>
                  <a:lnTo>
                    <a:pt x="459" y="224"/>
                  </a:lnTo>
                  <a:lnTo>
                    <a:pt x="447" y="292"/>
                  </a:lnTo>
                  <a:lnTo>
                    <a:pt x="427" y="272"/>
                  </a:lnTo>
                  <a:lnTo>
                    <a:pt x="389" y="263"/>
                  </a:lnTo>
                  <a:lnTo>
                    <a:pt x="403" y="307"/>
                  </a:lnTo>
                  <a:lnTo>
                    <a:pt x="481" y="352"/>
                  </a:lnTo>
                  <a:lnTo>
                    <a:pt x="477" y="380"/>
                  </a:lnTo>
                  <a:lnTo>
                    <a:pt x="399" y="392"/>
                  </a:lnTo>
                  <a:lnTo>
                    <a:pt x="371" y="416"/>
                  </a:lnTo>
                  <a:lnTo>
                    <a:pt x="331" y="425"/>
                  </a:lnTo>
                  <a:lnTo>
                    <a:pt x="316" y="453"/>
                  </a:lnTo>
                  <a:lnTo>
                    <a:pt x="331" y="491"/>
                  </a:lnTo>
                  <a:lnTo>
                    <a:pt x="348" y="504"/>
                  </a:lnTo>
                  <a:lnTo>
                    <a:pt x="338" y="527"/>
                  </a:lnTo>
                  <a:lnTo>
                    <a:pt x="390" y="545"/>
                  </a:lnTo>
                  <a:lnTo>
                    <a:pt x="385" y="575"/>
                  </a:lnTo>
                  <a:lnTo>
                    <a:pt x="513" y="636"/>
                  </a:lnTo>
                  <a:lnTo>
                    <a:pt x="515" y="663"/>
                  </a:lnTo>
                  <a:lnTo>
                    <a:pt x="493" y="671"/>
                  </a:lnTo>
                  <a:lnTo>
                    <a:pt x="433" y="671"/>
                  </a:lnTo>
                  <a:lnTo>
                    <a:pt x="390" y="691"/>
                  </a:lnTo>
                  <a:lnTo>
                    <a:pt x="357" y="746"/>
                  </a:lnTo>
                  <a:lnTo>
                    <a:pt x="325" y="777"/>
                  </a:lnTo>
                  <a:lnTo>
                    <a:pt x="235" y="811"/>
                  </a:lnTo>
                  <a:lnTo>
                    <a:pt x="375" y="848"/>
                  </a:lnTo>
                  <a:lnTo>
                    <a:pt x="466" y="808"/>
                  </a:lnTo>
                  <a:lnTo>
                    <a:pt x="449" y="855"/>
                  </a:lnTo>
                  <a:lnTo>
                    <a:pt x="481" y="874"/>
                  </a:lnTo>
                  <a:lnTo>
                    <a:pt x="481" y="883"/>
                  </a:lnTo>
                  <a:lnTo>
                    <a:pt x="266" y="839"/>
                  </a:lnTo>
                  <a:lnTo>
                    <a:pt x="193" y="889"/>
                  </a:lnTo>
                  <a:lnTo>
                    <a:pt x="178" y="916"/>
                  </a:lnTo>
                  <a:lnTo>
                    <a:pt x="160" y="924"/>
                  </a:lnTo>
                  <a:lnTo>
                    <a:pt x="138" y="907"/>
                  </a:lnTo>
                  <a:lnTo>
                    <a:pt x="109" y="906"/>
                  </a:lnTo>
                  <a:lnTo>
                    <a:pt x="85" y="890"/>
                  </a:lnTo>
                  <a:lnTo>
                    <a:pt x="50" y="902"/>
                  </a:lnTo>
                  <a:lnTo>
                    <a:pt x="25" y="933"/>
                  </a:lnTo>
                  <a:lnTo>
                    <a:pt x="131" y="964"/>
                  </a:lnTo>
                  <a:lnTo>
                    <a:pt x="130" y="987"/>
                  </a:lnTo>
                  <a:lnTo>
                    <a:pt x="68" y="989"/>
                  </a:lnTo>
                  <a:lnTo>
                    <a:pt x="17" y="1015"/>
                  </a:lnTo>
                  <a:lnTo>
                    <a:pt x="0" y="1037"/>
                  </a:lnTo>
                  <a:lnTo>
                    <a:pt x="28" y="1047"/>
                  </a:lnTo>
                  <a:lnTo>
                    <a:pt x="31" y="1076"/>
                  </a:lnTo>
                  <a:lnTo>
                    <a:pt x="39" y="1079"/>
                  </a:lnTo>
                  <a:lnTo>
                    <a:pt x="143" y="1088"/>
                  </a:lnTo>
                  <a:lnTo>
                    <a:pt x="135" y="1114"/>
                  </a:lnTo>
                  <a:lnTo>
                    <a:pt x="91" y="1115"/>
                  </a:lnTo>
                  <a:lnTo>
                    <a:pt x="14" y="1139"/>
                  </a:lnTo>
                  <a:lnTo>
                    <a:pt x="32" y="1147"/>
                  </a:lnTo>
                  <a:lnTo>
                    <a:pt x="152" y="1154"/>
                  </a:lnTo>
                  <a:lnTo>
                    <a:pt x="155" y="1171"/>
                  </a:lnTo>
                  <a:lnTo>
                    <a:pt x="135" y="1191"/>
                  </a:lnTo>
                  <a:lnTo>
                    <a:pt x="108" y="1182"/>
                  </a:lnTo>
                  <a:lnTo>
                    <a:pt x="77" y="1187"/>
                  </a:lnTo>
                  <a:lnTo>
                    <a:pt x="80" y="1201"/>
                  </a:lnTo>
                  <a:lnTo>
                    <a:pt x="72" y="1218"/>
                  </a:lnTo>
                  <a:lnTo>
                    <a:pt x="117" y="1217"/>
                  </a:lnTo>
                  <a:lnTo>
                    <a:pt x="152" y="1226"/>
                  </a:lnTo>
                  <a:lnTo>
                    <a:pt x="163" y="1242"/>
                  </a:lnTo>
                  <a:lnTo>
                    <a:pt x="181" y="1254"/>
                  </a:lnTo>
                  <a:lnTo>
                    <a:pt x="221" y="1246"/>
                  </a:lnTo>
                  <a:lnTo>
                    <a:pt x="244" y="1259"/>
                  </a:lnTo>
                  <a:lnTo>
                    <a:pt x="379" y="1267"/>
                  </a:lnTo>
                  <a:lnTo>
                    <a:pt x="419" y="1253"/>
                  </a:lnTo>
                  <a:lnTo>
                    <a:pt x="445" y="1196"/>
                  </a:lnTo>
                  <a:lnTo>
                    <a:pt x="458" y="1208"/>
                  </a:lnTo>
                  <a:lnTo>
                    <a:pt x="456" y="1233"/>
                  </a:lnTo>
                  <a:lnTo>
                    <a:pt x="470" y="1248"/>
                  </a:lnTo>
                  <a:lnTo>
                    <a:pt x="534" y="1244"/>
                  </a:lnTo>
                  <a:lnTo>
                    <a:pt x="559" y="1222"/>
                  </a:lnTo>
                  <a:lnTo>
                    <a:pt x="595" y="1241"/>
                  </a:lnTo>
                  <a:lnTo>
                    <a:pt x="617" y="1230"/>
                  </a:lnTo>
                  <a:lnTo>
                    <a:pt x="639" y="1203"/>
                  </a:lnTo>
                  <a:lnTo>
                    <a:pt x="654" y="1193"/>
                  </a:lnTo>
                  <a:lnTo>
                    <a:pt x="870" y="1232"/>
                  </a:lnTo>
                  <a:lnTo>
                    <a:pt x="895" y="1256"/>
                  </a:lnTo>
                  <a:lnTo>
                    <a:pt x="924" y="1267"/>
                  </a:lnTo>
                  <a:lnTo>
                    <a:pt x="947" y="1245"/>
                  </a:lnTo>
                  <a:lnTo>
                    <a:pt x="947" y="1198"/>
                  </a:lnTo>
                  <a:lnTo>
                    <a:pt x="1103" y="1009"/>
                  </a:lnTo>
                  <a:lnTo>
                    <a:pt x="1137" y="841"/>
                  </a:lnTo>
                  <a:lnTo>
                    <a:pt x="1155" y="840"/>
                  </a:lnTo>
                  <a:lnTo>
                    <a:pt x="1187" y="779"/>
                  </a:lnTo>
                  <a:lnTo>
                    <a:pt x="1184" y="627"/>
                  </a:lnTo>
                  <a:lnTo>
                    <a:pt x="1199" y="596"/>
                  </a:lnTo>
                  <a:lnTo>
                    <a:pt x="1227" y="59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4" name="Freeform 148"/>
            <p:cNvSpPr>
              <a:spLocks/>
            </p:cNvSpPr>
            <p:nvPr/>
          </p:nvSpPr>
          <p:spPr bwMode="auto">
            <a:xfrm>
              <a:off x="6662808" y="518073"/>
              <a:ext cx="1013898" cy="2168845"/>
            </a:xfrm>
            <a:custGeom>
              <a:avLst/>
              <a:gdLst>
                <a:gd name="T0" fmla="*/ 0 w 2499"/>
                <a:gd name="T1" fmla="*/ 0 h 5343"/>
                <a:gd name="T2" fmla="*/ 0 w 2499"/>
                <a:gd name="T3" fmla="*/ 0 h 5343"/>
                <a:gd name="T4" fmla="*/ 0 w 2499"/>
                <a:gd name="T5" fmla="*/ 0 h 5343"/>
                <a:gd name="T6" fmla="*/ 0 w 2499"/>
                <a:gd name="T7" fmla="*/ 0 h 5343"/>
                <a:gd name="T8" fmla="*/ 0 w 2499"/>
                <a:gd name="T9" fmla="*/ 0 h 5343"/>
                <a:gd name="T10" fmla="*/ 0 w 2499"/>
                <a:gd name="T11" fmla="*/ 0 h 5343"/>
                <a:gd name="T12" fmla="*/ 0 w 2499"/>
                <a:gd name="T13" fmla="*/ 0 h 5343"/>
                <a:gd name="T14" fmla="*/ 0 w 2499"/>
                <a:gd name="T15" fmla="*/ 0 h 5343"/>
                <a:gd name="T16" fmla="*/ 0 w 2499"/>
                <a:gd name="T17" fmla="*/ 0 h 5343"/>
                <a:gd name="T18" fmla="*/ 0 w 2499"/>
                <a:gd name="T19" fmla="*/ 0 h 5343"/>
                <a:gd name="T20" fmla="*/ 0 w 2499"/>
                <a:gd name="T21" fmla="*/ 0 h 5343"/>
                <a:gd name="T22" fmla="*/ 0 w 2499"/>
                <a:gd name="T23" fmla="*/ 0 h 5343"/>
                <a:gd name="T24" fmla="*/ 0 w 2499"/>
                <a:gd name="T25" fmla="*/ 0 h 5343"/>
                <a:gd name="T26" fmla="*/ 0 w 2499"/>
                <a:gd name="T27" fmla="*/ 0 h 5343"/>
                <a:gd name="T28" fmla="*/ 0 w 2499"/>
                <a:gd name="T29" fmla="*/ 0 h 5343"/>
                <a:gd name="T30" fmla="*/ 0 w 2499"/>
                <a:gd name="T31" fmla="*/ 0 h 5343"/>
                <a:gd name="T32" fmla="*/ 0 w 2499"/>
                <a:gd name="T33" fmla="*/ 0 h 5343"/>
                <a:gd name="T34" fmla="*/ 0 w 2499"/>
                <a:gd name="T35" fmla="*/ 0 h 5343"/>
                <a:gd name="T36" fmla="*/ 0 w 2499"/>
                <a:gd name="T37" fmla="*/ 0 h 5343"/>
                <a:gd name="T38" fmla="*/ 0 w 2499"/>
                <a:gd name="T39" fmla="*/ 0 h 5343"/>
                <a:gd name="T40" fmla="*/ 0 w 2499"/>
                <a:gd name="T41" fmla="*/ 0 h 5343"/>
                <a:gd name="T42" fmla="*/ 0 w 2499"/>
                <a:gd name="T43" fmla="*/ 0 h 5343"/>
                <a:gd name="T44" fmla="*/ 0 w 2499"/>
                <a:gd name="T45" fmla="*/ 0 h 5343"/>
                <a:gd name="T46" fmla="*/ 0 w 2499"/>
                <a:gd name="T47" fmla="*/ 0 h 5343"/>
                <a:gd name="T48" fmla="*/ 0 w 2499"/>
                <a:gd name="T49" fmla="*/ 0 h 5343"/>
                <a:gd name="T50" fmla="*/ 0 w 2499"/>
                <a:gd name="T51" fmla="*/ 0 h 5343"/>
                <a:gd name="T52" fmla="*/ 0 w 2499"/>
                <a:gd name="T53" fmla="*/ 0 h 5343"/>
                <a:gd name="T54" fmla="*/ 0 w 2499"/>
                <a:gd name="T55" fmla="*/ 0 h 5343"/>
                <a:gd name="T56" fmla="*/ 0 w 2499"/>
                <a:gd name="T57" fmla="*/ 0 h 5343"/>
                <a:gd name="T58" fmla="*/ 0 w 2499"/>
                <a:gd name="T59" fmla="*/ 0 h 5343"/>
                <a:gd name="T60" fmla="*/ 0 w 2499"/>
                <a:gd name="T61" fmla="*/ 0 h 5343"/>
                <a:gd name="T62" fmla="*/ 0 w 2499"/>
                <a:gd name="T63" fmla="*/ 0 h 5343"/>
                <a:gd name="T64" fmla="*/ 0 w 2499"/>
                <a:gd name="T65" fmla="*/ 0 h 5343"/>
                <a:gd name="T66" fmla="*/ 0 w 2499"/>
                <a:gd name="T67" fmla="*/ 0 h 5343"/>
                <a:gd name="T68" fmla="*/ 0 w 2499"/>
                <a:gd name="T69" fmla="*/ 0 h 5343"/>
                <a:gd name="T70" fmla="*/ 0 w 2499"/>
                <a:gd name="T71" fmla="*/ 0 h 5343"/>
                <a:gd name="T72" fmla="*/ 0 w 2499"/>
                <a:gd name="T73" fmla="*/ 0 h 5343"/>
                <a:gd name="T74" fmla="*/ 0 w 2499"/>
                <a:gd name="T75" fmla="*/ 0 h 5343"/>
                <a:gd name="T76" fmla="*/ 0 w 2499"/>
                <a:gd name="T77" fmla="*/ 0 h 5343"/>
                <a:gd name="T78" fmla="*/ 0 w 2499"/>
                <a:gd name="T79" fmla="*/ 0 h 5343"/>
                <a:gd name="T80" fmla="*/ 0 w 2499"/>
                <a:gd name="T81" fmla="*/ 0 h 5343"/>
                <a:gd name="T82" fmla="*/ 0 w 2499"/>
                <a:gd name="T83" fmla="*/ 0 h 5343"/>
                <a:gd name="T84" fmla="*/ 0 w 2499"/>
                <a:gd name="T85" fmla="*/ 0 h 5343"/>
                <a:gd name="T86" fmla="*/ 0 w 2499"/>
                <a:gd name="T87" fmla="*/ 0 h 5343"/>
                <a:gd name="T88" fmla="*/ 0 w 2499"/>
                <a:gd name="T89" fmla="*/ 0 h 5343"/>
                <a:gd name="T90" fmla="*/ 0 w 2499"/>
                <a:gd name="T91" fmla="*/ 0 h 5343"/>
                <a:gd name="T92" fmla="*/ 0 w 2499"/>
                <a:gd name="T93" fmla="*/ 0 h 5343"/>
                <a:gd name="T94" fmla="*/ 0 w 2499"/>
                <a:gd name="T95" fmla="*/ 0 h 5343"/>
                <a:gd name="T96" fmla="*/ 0 w 2499"/>
                <a:gd name="T97" fmla="*/ 0 h 5343"/>
                <a:gd name="T98" fmla="*/ 0 w 2499"/>
                <a:gd name="T99" fmla="*/ 0 h 5343"/>
                <a:gd name="T100" fmla="*/ 0 w 2499"/>
                <a:gd name="T101" fmla="*/ 0 h 5343"/>
                <a:gd name="T102" fmla="*/ 0 w 2499"/>
                <a:gd name="T103" fmla="*/ 0 h 5343"/>
                <a:gd name="T104" fmla="*/ 0 w 2499"/>
                <a:gd name="T105" fmla="*/ 0 h 5343"/>
                <a:gd name="T106" fmla="*/ 0 w 2499"/>
                <a:gd name="T107" fmla="*/ 0 h 5343"/>
                <a:gd name="T108" fmla="*/ 0 w 2499"/>
                <a:gd name="T109" fmla="*/ 0 h 5343"/>
                <a:gd name="T110" fmla="*/ 0 w 2499"/>
                <a:gd name="T111" fmla="*/ 0 h 5343"/>
                <a:gd name="T112" fmla="*/ 0 w 2499"/>
                <a:gd name="T113" fmla="*/ 0 h 5343"/>
                <a:gd name="T114" fmla="*/ 0 w 2499"/>
                <a:gd name="T115" fmla="*/ 0 h 534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99"/>
                <a:gd name="T175" fmla="*/ 0 h 5343"/>
                <a:gd name="T176" fmla="*/ 2499 w 2499"/>
                <a:gd name="T177" fmla="*/ 5343 h 534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99" h="5343">
                  <a:moveTo>
                    <a:pt x="32" y="3830"/>
                  </a:moveTo>
                  <a:lnTo>
                    <a:pt x="0" y="3873"/>
                  </a:lnTo>
                  <a:lnTo>
                    <a:pt x="0" y="4088"/>
                  </a:lnTo>
                  <a:lnTo>
                    <a:pt x="18" y="4095"/>
                  </a:lnTo>
                  <a:lnTo>
                    <a:pt x="22" y="4111"/>
                  </a:lnTo>
                  <a:lnTo>
                    <a:pt x="21" y="4140"/>
                  </a:lnTo>
                  <a:lnTo>
                    <a:pt x="14" y="4154"/>
                  </a:lnTo>
                  <a:lnTo>
                    <a:pt x="41" y="4129"/>
                  </a:lnTo>
                  <a:lnTo>
                    <a:pt x="51" y="4103"/>
                  </a:lnTo>
                  <a:lnTo>
                    <a:pt x="65" y="4121"/>
                  </a:lnTo>
                  <a:lnTo>
                    <a:pt x="50" y="4155"/>
                  </a:lnTo>
                  <a:lnTo>
                    <a:pt x="66" y="4157"/>
                  </a:lnTo>
                  <a:lnTo>
                    <a:pt x="74" y="4166"/>
                  </a:lnTo>
                  <a:lnTo>
                    <a:pt x="54" y="4177"/>
                  </a:lnTo>
                  <a:lnTo>
                    <a:pt x="21" y="4213"/>
                  </a:lnTo>
                  <a:lnTo>
                    <a:pt x="79" y="4242"/>
                  </a:lnTo>
                  <a:lnTo>
                    <a:pt x="86" y="4282"/>
                  </a:lnTo>
                  <a:lnTo>
                    <a:pt x="66" y="4342"/>
                  </a:lnTo>
                  <a:lnTo>
                    <a:pt x="109" y="4337"/>
                  </a:lnTo>
                  <a:lnTo>
                    <a:pt x="113" y="4384"/>
                  </a:lnTo>
                  <a:lnTo>
                    <a:pt x="84" y="4414"/>
                  </a:lnTo>
                  <a:lnTo>
                    <a:pt x="88" y="4473"/>
                  </a:lnTo>
                  <a:lnTo>
                    <a:pt x="78" y="4518"/>
                  </a:lnTo>
                  <a:lnTo>
                    <a:pt x="112" y="4523"/>
                  </a:lnTo>
                  <a:lnTo>
                    <a:pt x="144" y="4698"/>
                  </a:lnTo>
                  <a:lnTo>
                    <a:pt x="182" y="4743"/>
                  </a:lnTo>
                  <a:lnTo>
                    <a:pt x="198" y="4791"/>
                  </a:lnTo>
                  <a:lnTo>
                    <a:pt x="240" y="4825"/>
                  </a:lnTo>
                  <a:lnTo>
                    <a:pt x="266" y="4869"/>
                  </a:lnTo>
                  <a:lnTo>
                    <a:pt x="262" y="4901"/>
                  </a:lnTo>
                  <a:lnTo>
                    <a:pt x="237" y="4912"/>
                  </a:lnTo>
                  <a:lnTo>
                    <a:pt x="208" y="4905"/>
                  </a:lnTo>
                  <a:lnTo>
                    <a:pt x="200" y="4918"/>
                  </a:lnTo>
                  <a:lnTo>
                    <a:pt x="222" y="4986"/>
                  </a:lnTo>
                  <a:lnTo>
                    <a:pt x="190" y="4981"/>
                  </a:lnTo>
                  <a:lnTo>
                    <a:pt x="165" y="4964"/>
                  </a:lnTo>
                  <a:lnTo>
                    <a:pt x="160" y="4990"/>
                  </a:lnTo>
                  <a:lnTo>
                    <a:pt x="246" y="5224"/>
                  </a:lnTo>
                  <a:lnTo>
                    <a:pt x="232" y="5246"/>
                  </a:lnTo>
                  <a:lnTo>
                    <a:pt x="223" y="5291"/>
                  </a:lnTo>
                  <a:lnTo>
                    <a:pt x="210" y="5295"/>
                  </a:lnTo>
                  <a:lnTo>
                    <a:pt x="203" y="5314"/>
                  </a:lnTo>
                  <a:lnTo>
                    <a:pt x="255" y="5317"/>
                  </a:lnTo>
                  <a:lnTo>
                    <a:pt x="300" y="5336"/>
                  </a:lnTo>
                  <a:lnTo>
                    <a:pt x="377" y="5316"/>
                  </a:lnTo>
                  <a:lnTo>
                    <a:pt x="445" y="5319"/>
                  </a:lnTo>
                  <a:lnTo>
                    <a:pt x="486" y="5343"/>
                  </a:lnTo>
                  <a:lnTo>
                    <a:pt x="508" y="5327"/>
                  </a:lnTo>
                  <a:lnTo>
                    <a:pt x="529" y="5273"/>
                  </a:lnTo>
                  <a:lnTo>
                    <a:pt x="524" y="5185"/>
                  </a:lnTo>
                  <a:lnTo>
                    <a:pt x="576" y="5086"/>
                  </a:lnTo>
                  <a:lnTo>
                    <a:pt x="615" y="5101"/>
                  </a:lnTo>
                  <a:lnTo>
                    <a:pt x="635" y="5062"/>
                  </a:lnTo>
                  <a:lnTo>
                    <a:pt x="678" y="5039"/>
                  </a:lnTo>
                  <a:lnTo>
                    <a:pt x="736" y="5044"/>
                  </a:lnTo>
                  <a:lnTo>
                    <a:pt x="771" y="5061"/>
                  </a:lnTo>
                  <a:lnTo>
                    <a:pt x="816" y="5052"/>
                  </a:lnTo>
                  <a:lnTo>
                    <a:pt x="864" y="5070"/>
                  </a:lnTo>
                  <a:lnTo>
                    <a:pt x="910" y="5072"/>
                  </a:lnTo>
                  <a:lnTo>
                    <a:pt x="1014" y="4842"/>
                  </a:lnTo>
                  <a:lnTo>
                    <a:pt x="1041" y="4655"/>
                  </a:lnTo>
                  <a:lnTo>
                    <a:pt x="1083" y="4570"/>
                  </a:lnTo>
                  <a:lnTo>
                    <a:pt x="1083" y="4527"/>
                  </a:lnTo>
                  <a:lnTo>
                    <a:pt x="1068" y="4502"/>
                  </a:lnTo>
                  <a:lnTo>
                    <a:pt x="1093" y="4463"/>
                  </a:lnTo>
                  <a:lnTo>
                    <a:pt x="1089" y="4429"/>
                  </a:lnTo>
                  <a:lnTo>
                    <a:pt x="1071" y="4401"/>
                  </a:lnTo>
                  <a:lnTo>
                    <a:pt x="1068" y="4381"/>
                  </a:lnTo>
                  <a:lnTo>
                    <a:pt x="1072" y="4365"/>
                  </a:lnTo>
                  <a:lnTo>
                    <a:pt x="1096" y="4378"/>
                  </a:lnTo>
                  <a:lnTo>
                    <a:pt x="1114" y="4377"/>
                  </a:lnTo>
                  <a:lnTo>
                    <a:pt x="1104" y="4350"/>
                  </a:lnTo>
                  <a:lnTo>
                    <a:pt x="1107" y="4334"/>
                  </a:lnTo>
                  <a:lnTo>
                    <a:pt x="1120" y="4312"/>
                  </a:lnTo>
                  <a:lnTo>
                    <a:pt x="1118" y="4293"/>
                  </a:lnTo>
                  <a:lnTo>
                    <a:pt x="1130" y="4230"/>
                  </a:lnTo>
                  <a:lnTo>
                    <a:pt x="1127" y="4211"/>
                  </a:lnTo>
                  <a:lnTo>
                    <a:pt x="1063" y="4164"/>
                  </a:lnTo>
                  <a:lnTo>
                    <a:pt x="1072" y="4161"/>
                  </a:lnTo>
                  <a:lnTo>
                    <a:pt x="1106" y="4174"/>
                  </a:lnTo>
                  <a:lnTo>
                    <a:pt x="1142" y="4171"/>
                  </a:lnTo>
                  <a:lnTo>
                    <a:pt x="1152" y="4153"/>
                  </a:lnTo>
                  <a:lnTo>
                    <a:pt x="1118" y="4120"/>
                  </a:lnTo>
                  <a:lnTo>
                    <a:pt x="1013" y="4099"/>
                  </a:lnTo>
                  <a:lnTo>
                    <a:pt x="1021" y="4088"/>
                  </a:lnTo>
                  <a:lnTo>
                    <a:pt x="1106" y="4082"/>
                  </a:lnTo>
                  <a:lnTo>
                    <a:pt x="1152" y="4101"/>
                  </a:lnTo>
                  <a:lnTo>
                    <a:pt x="1180" y="4088"/>
                  </a:lnTo>
                  <a:lnTo>
                    <a:pt x="1190" y="4055"/>
                  </a:lnTo>
                  <a:lnTo>
                    <a:pt x="1239" y="4055"/>
                  </a:lnTo>
                  <a:lnTo>
                    <a:pt x="1305" y="3987"/>
                  </a:lnTo>
                  <a:lnTo>
                    <a:pt x="1308" y="3942"/>
                  </a:lnTo>
                  <a:lnTo>
                    <a:pt x="1336" y="3953"/>
                  </a:lnTo>
                  <a:lnTo>
                    <a:pt x="1334" y="3998"/>
                  </a:lnTo>
                  <a:lnTo>
                    <a:pt x="1380" y="3994"/>
                  </a:lnTo>
                  <a:lnTo>
                    <a:pt x="1409" y="3948"/>
                  </a:lnTo>
                  <a:lnTo>
                    <a:pt x="1463" y="3905"/>
                  </a:lnTo>
                  <a:lnTo>
                    <a:pt x="1454" y="3858"/>
                  </a:lnTo>
                  <a:lnTo>
                    <a:pt x="1471" y="3876"/>
                  </a:lnTo>
                  <a:lnTo>
                    <a:pt x="1496" y="3876"/>
                  </a:lnTo>
                  <a:lnTo>
                    <a:pt x="1496" y="3854"/>
                  </a:lnTo>
                  <a:lnTo>
                    <a:pt x="1519" y="3837"/>
                  </a:lnTo>
                  <a:lnTo>
                    <a:pt x="1515" y="3819"/>
                  </a:lnTo>
                  <a:lnTo>
                    <a:pt x="1319" y="3855"/>
                  </a:lnTo>
                  <a:lnTo>
                    <a:pt x="1274" y="3845"/>
                  </a:lnTo>
                  <a:lnTo>
                    <a:pt x="1256" y="3858"/>
                  </a:lnTo>
                  <a:lnTo>
                    <a:pt x="1249" y="3832"/>
                  </a:lnTo>
                  <a:lnTo>
                    <a:pt x="1227" y="3811"/>
                  </a:lnTo>
                  <a:lnTo>
                    <a:pt x="1140" y="3768"/>
                  </a:lnTo>
                  <a:lnTo>
                    <a:pt x="1089" y="3775"/>
                  </a:lnTo>
                  <a:lnTo>
                    <a:pt x="1068" y="3763"/>
                  </a:lnTo>
                  <a:lnTo>
                    <a:pt x="1090" y="3752"/>
                  </a:lnTo>
                  <a:lnTo>
                    <a:pt x="1106" y="3729"/>
                  </a:lnTo>
                  <a:lnTo>
                    <a:pt x="1130" y="3737"/>
                  </a:lnTo>
                  <a:lnTo>
                    <a:pt x="1159" y="3730"/>
                  </a:lnTo>
                  <a:lnTo>
                    <a:pt x="1203" y="3738"/>
                  </a:lnTo>
                  <a:lnTo>
                    <a:pt x="1208" y="3735"/>
                  </a:lnTo>
                  <a:lnTo>
                    <a:pt x="1242" y="3771"/>
                  </a:lnTo>
                  <a:lnTo>
                    <a:pt x="1267" y="3758"/>
                  </a:lnTo>
                  <a:lnTo>
                    <a:pt x="1269" y="3745"/>
                  </a:lnTo>
                  <a:lnTo>
                    <a:pt x="1293" y="3766"/>
                  </a:lnTo>
                  <a:lnTo>
                    <a:pt x="1323" y="3778"/>
                  </a:lnTo>
                  <a:lnTo>
                    <a:pt x="1334" y="3757"/>
                  </a:lnTo>
                  <a:lnTo>
                    <a:pt x="1345" y="3768"/>
                  </a:lnTo>
                  <a:lnTo>
                    <a:pt x="1359" y="3808"/>
                  </a:lnTo>
                  <a:lnTo>
                    <a:pt x="1388" y="3817"/>
                  </a:lnTo>
                  <a:lnTo>
                    <a:pt x="1507" y="3759"/>
                  </a:lnTo>
                  <a:lnTo>
                    <a:pt x="1566" y="3676"/>
                  </a:lnTo>
                  <a:lnTo>
                    <a:pt x="1580" y="3615"/>
                  </a:lnTo>
                  <a:lnTo>
                    <a:pt x="1559" y="3561"/>
                  </a:lnTo>
                  <a:lnTo>
                    <a:pt x="1514" y="3527"/>
                  </a:lnTo>
                  <a:lnTo>
                    <a:pt x="1483" y="3474"/>
                  </a:lnTo>
                  <a:lnTo>
                    <a:pt x="1512" y="3473"/>
                  </a:lnTo>
                  <a:lnTo>
                    <a:pt x="1509" y="3459"/>
                  </a:lnTo>
                  <a:lnTo>
                    <a:pt x="1433" y="3421"/>
                  </a:lnTo>
                  <a:lnTo>
                    <a:pt x="1429" y="3387"/>
                  </a:lnTo>
                  <a:lnTo>
                    <a:pt x="1416" y="3351"/>
                  </a:lnTo>
                  <a:lnTo>
                    <a:pt x="1354" y="3358"/>
                  </a:lnTo>
                  <a:lnTo>
                    <a:pt x="1332" y="3320"/>
                  </a:lnTo>
                  <a:lnTo>
                    <a:pt x="1319" y="3318"/>
                  </a:lnTo>
                  <a:lnTo>
                    <a:pt x="1319" y="3333"/>
                  </a:lnTo>
                  <a:lnTo>
                    <a:pt x="1293" y="3398"/>
                  </a:lnTo>
                  <a:lnTo>
                    <a:pt x="1263" y="3436"/>
                  </a:lnTo>
                  <a:lnTo>
                    <a:pt x="1170" y="3501"/>
                  </a:lnTo>
                  <a:lnTo>
                    <a:pt x="1137" y="3498"/>
                  </a:lnTo>
                  <a:lnTo>
                    <a:pt x="1093" y="3509"/>
                  </a:lnTo>
                  <a:lnTo>
                    <a:pt x="1068" y="3498"/>
                  </a:lnTo>
                  <a:lnTo>
                    <a:pt x="1100" y="3480"/>
                  </a:lnTo>
                  <a:lnTo>
                    <a:pt x="1143" y="3473"/>
                  </a:lnTo>
                  <a:lnTo>
                    <a:pt x="1178" y="3442"/>
                  </a:lnTo>
                  <a:lnTo>
                    <a:pt x="1213" y="3428"/>
                  </a:lnTo>
                  <a:lnTo>
                    <a:pt x="1276" y="3376"/>
                  </a:lnTo>
                  <a:lnTo>
                    <a:pt x="1289" y="3341"/>
                  </a:lnTo>
                  <a:lnTo>
                    <a:pt x="1290" y="3296"/>
                  </a:lnTo>
                  <a:lnTo>
                    <a:pt x="1260" y="3289"/>
                  </a:lnTo>
                  <a:lnTo>
                    <a:pt x="1274" y="3261"/>
                  </a:lnTo>
                  <a:lnTo>
                    <a:pt x="1278" y="3226"/>
                  </a:lnTo>
                  <a:lnTo>
                    <a:pt x="1266" y="3194"/>
                  </a:lnTo>
                  <a:lnTo>
                    <a:pt x="1258" y="2956"/>
                  </a:lnTo>
                  <a:lnTo>
                    <a:pt x="1275" y="2905"/>
                  </a:lnTo>
                  <a:lnTo>
                    <a:pt x="1272" y="2884"/>
                  </a:lnTo>
                  <a:lnTo>
                    <a:pt x="1323" y="2915"/>
                  </a:lnTo>
                  <a:lnTo>
                    <a:pt x="1326" y="2886"/>
                  </a:lnTo>
                  <a:lnTo>
                    <a:pt x="1315" y="2812"/>
                  </a:lnTo>
                  <a:lnTo>
                    <a:pt x="1352" y="2683"/>
                  </a:lnTo>
                  <a:lnTo>
                    <a:pt x="1329" y="2650"/>
                  </a:lnTo>
                  <a:lnTo>
                    <a:pt x="1320" y="2621"/>
                  </a:lnTo>
                  <a:lnTo>
                    <a:pt x="1324" y="2574"/>
                  </a:lnTo>
                  <a:lnTo>
                    <a:pt x="1377" y="2605"/>
                  </a:lnTo>
                  <a:lnTo>
                    <a:pt x="1380" y="2596"/>
                  </a:lnTo>
                  <a:lnTo>
                    <a:pt x="1395" y="2587"/>
                  </a:lnTo>
                  <a:lnTo>
                    <a:pt x="1416" y="2557"/>
                  </a:lnTo>
                  <a:lnTo>
                    <a:pt x="1418" y="2548"/>
                  </a:lnTo>
                  <a:lnTo>
                    <a:pt x="1414" y="2538"/>
                  </a:lnTo>
                  <a:lnTo>
                    <a:pt x="1425" y="2483"/>
                  </a:lnTo>
                  <a:lnTo>
                    <a:pt x="1412" y="2448"/>
                  </a:lnTo>
                  <a:lnTo>
                    <a:pt x="1414" y="2419"/>
                  </a:lnTo>
                  <a:lnTo>
                    <a:pt x="1421" y="2452"/>
                  </a:lnTo>
                  <a:lnTo>
                    <a:pt x="1451" y="2477"/>
                  </a:lnTo>
                  <a:lnTo>
                    <a:pt x="1463" y="2474"/>
                  </a:lnTo>
                  <a:lnTo>
                    <a:pt x="1483" y="2441"/>
                  </a:lnTo>
                  <a:lnTo>
                    <a:pt x="1504" y="2454"/>
                  </a:lnTo>
                  <a:lnTo>
                    <a:pt x="1508" y="2429"/>
                  </a:lnTo>
                  <a:lnTo>
                    <a:pt x="1523" y="2411"/>
                  </a:lnTo>
                  <a:lnTo>
                    <a:pt x="1485" y="2393"/>
                  </a:lnTo>
                  <a:lnTo>
                    <a:pt x="1512" y="2396"/>
                  </a:lnTo>
                  <a:lnTo>
                    <a:pt x="1541" y="2377"/>
                  </a:lnTo>
                  <a:lnTo>
                    <a:pt x="1540" y="2363"/>
                  </a:lnTo>
                  <a:lnTo>
                    <a:pt x="1565" y="2350"/>
                  </a:lnTo>
                  <a:lnTo>
                    <a:pt x="1567" y="2317"/>
                  </a:lnTo>
                  <a:lnTo>
                    <a:pt x="1588" y="2310"/>
                  </a:lnTo>
                  <a:lnTo>
                    <a:pt x="1591" y="2272"/>
                  </a:lnTo>
                  <a:lnTo>
                    <a:pt x="1613" y="2269"/>
                  </a:lnTo>
                  <a:lnTo>
                    <a:pt x="1646" y="2276"/>
                  </a:lnTo>
                  <a:lnTo>
                    <a:pt x="1683" y="2246"/>
                  </a:lnTo>
                  <a:lnTo>
                    <a:pt x="1696" y="2211"/>
                  </a:lnTo>
                  <a:lnTo>
                    <a:pt x="1741" y="2175"/>
                  </a:lnTo>
                  <a:lnTo>
                    <a:pt x="1764" y="2197"/>
                  </a:lnTo>
                  <a:lnTo>
                    <a:pt x="1799" y="2173"/>
                  </a:lnTo>
                  <a:lnTo>
                    <a:pt x="1808" y="2142"/>
                  </a:lnTo>
                  <a:lnTo>
                    <a:pt x="1834" y="2122"/>
                  </a:lnTo>
                  <a:lnTo>
                    <a:pt x="1857" y="2130"/>
                  </a:lnTo>
                  <a:lnTo>
                    <a:pt x="1871" y="2115"/>
                  </a:lnTo>
                  <a:lnTo>
                    <a:pt x="1910" y="2093"/>
                  </a:lnTo>
                  <a:lnTo>
                    <a:pt x="1927" y="2065"/>
                  </a:lnTo>
                  <a:lnTo>
                    <a:pt x="1949" y="2053"/>
                  </a:lnTo>
                  <a:lnTo>
                    <a:pt x="2068" y="1833"/>
                  </a:lnTo>
                  <a:lnTo>
                    <a:pt x="2073" y="1850"/>
                  </a:lnTo>
                  <a:lnTo>
                    <a:pt x="2069" y="1882"/>
                  </a:lnTo>
                  <a:lnTo>
                    <a:pt x="2102" y="1825"/>
                  </a:lnTo>
                  <a:lnTo>
                    <a:pt x="2084" y="1809"/>
                  </a:lnTo>
                  <a:lnTo>
                    <a:pt x="2082" y="1791"/>
                  </a:lnTo>
                  <a:lnTo>
                    <a:pt x="2036" y="1746"/>
                  </a:lnTo>
                  <a:lnTo>
                    <a:pt x="2030" y="1725"/>
                  </a:lnTo>
                  <a:lnTo>
                    <a:pt x="2038" y="1719"/>
                  </a:lnTo>
                  <a:lnTo>
                    <a:pt x="2033" y="1699"/>
                  </a:lnTo>
                  <a:lnTo>
                    <a:pt x="2018" y="1681"/>
                  </a:lnTo>
                  <a:lnTo>
                    <a:pt x="2019" y="1671"/>
                  </a:lnTo>
                  <a:lnTo>
                    <a:pt x="2032" y="1657"/>
                  </a:lnTo>
                  <a:lnTo>
                    <a:pt x="2036" y="1637"/>
                  </a:lnTo>
                  <a:lnTo>
                    <a:pt x="2063" y="1623"/>
                  </a:lnTo>
                  <a:lnTo>
                    <a:pt x="2095" y="1528"/>
                  </a:lnTo>
                  <a:lnTo>
                    <a:pt x="2062" y="1476"/>
                  </a:lnTo>
                  <a:lnTo>
                    <a:pt x="2066" y="1468"/>
                  </a:lnTo>
                  <a:lnTo>
                    <a:pt x="2098" y="1446"/>
                  </a:lnTo>
                  <a:lnTo>
                    <a:pt x="2099" y="1423"/>
                  </a:lnTo>
                  <a:lnTo>
                    <a:pt x="2112" y="1419"/>
                  </a:lnTo>
                  <a:lnTo>
                    <a:pt x="2139" y="1430"/>
                  </a:lnTo>
                  <a:lnTo>
                    <a:pt x="2148" y="1426"/>
                  </a:lnTo>
                  <a:lnTo>
                    <a:pt x="2150" y="1405"/>
                  </a:lnTo>
                  <a:lnTo>
                    <a:pt x="2141" y="1393"/>
                  </a:lnTo>
                  <a:lnTo>
                    <a:pt x="2170" y="1388"/>
                  </a:lnTo>
                  <a:lnTo>
                    <a:pt x="2174" y="1371"/>
                  </a:lnTo>
                  <a:lnTo>
                    <a:pt x="2139" y="1325"/>
                  </a:lnTo>
                  <a:lnTo>
                    <a:pt x="2139" y="1314"/>
                  </a:lnTo>
                  <a:lnTo>
                    <a:pt x="2174" y="1338"/>
                  </a:lnTo>
                  <a:lnTo>
                    <a:pt x="2190" y="1361"/>
                  </a:lnTo>
                  <a:lnTo>
                    <a:pt x="2203" y="1361"/>
                  </a:lnTo>
                  <a:lnTo>
                    <a:pt x="2197" y="1313"/>
                  </a:lnTo>
                  <a:lnTo>
                    <a:pt x="2199" y="1318"/>
                  </a:lnTo>
                  <a:lnTo>
                    <a:pt x="2210" y="1313"/>
                  </a:lnTo>
                  <a:lnTo>
                    <a:pt x="2213" y="1250"/>
                  </a:lnTo>
                  <a:lnTo>
                    <a:pt x="2223" y="1247"/>
                  </a:lnTo>
                  <a:lnTo>
                    <a:pt x="2236" y="1245"/>
                  </a:lnTo>
                  <a:lnTo>
                    <a:pt x="2236" y="1262"/>
                  </a:lnTo>
                  <a:lnTo>
                    <a:pt x="2248" y="1277"/>
                  </a:lnTo>
                  <a:lnTo>
                    <a:pt x="2262" y="1283"/>
                  </a:lnTo>
                  <a:lnTo>
                    <a:pt x="2273" y="1242"/>
                  </a:lnTo>
                  <a:lnTo>
                    <a:pt x="2291" y="1254"/>
                  </a:lnTo>
                  <a:lnTo>
                    <a:pt x="2310" y="1284"/>
                  </a:lnTo>
                  <a:lnTo>
                    <a:pt x="2321" y="1283"/>
                  </a:lnTo>
                  <a:lnTo>
                    <a:pt x="2338" y="1298"/>
                  </a:lnTo>
                  <a:lnTo>
                    <a:pt x="2351" y="1261"/>
                  </a:lnTo>
                  <a:lnTo>
                    <a:pt x="2429" y="1251"/>
                  </a:lnTo>
                  <a:lnTo>
                    <a:pt x="2456" y="1266"/>
                  </a:lnTo>
                  <a:lnTo>
                    <a:pt x="2476" y="1287"/>
                  </a:lnTo>
                  <a:lnTo>
                    <a:pt x="2487" y="1264"/>
                  </a:lnTo>
                  <a:lnTo>
                    <a:pt x="2499" y="1255"/>
                  </a:lnTo>
                  <a:lnTo>
                    <a:pt x="2425" y="1065"/>
                  </a:lnTo>
                  <a:lnTo>
                    <a:pt x="2434" y="1014"/>
                  </a:lnTo>
                  <a:lnTo>
                    <a:pt x="2456" y="972"/>
                  </a:lnTo>
                  <a:lnTo>
                    <a:pt x="2456" y="908"/>
                  </a:lnTo>
                  <a:lnTo>
                    <a:pt x="2388" y="783"/>
                  </a:lnTo>
                  <a:lnTo>
                    <a:pt x="2378" y="737"/>
                  </a:lnTo>
                  <a:lnTo>
                    <a:pt x="2393" y="679"/>
                  </a:lnTo>
                  <a:lnTo>
                    <a:pt x="2385" y="638"/>
                  </a:lnTo>
                  <a:lnTo>
                    <a:pt x="2371" y="620"/>
                  </a:lnTo>
                  <a:lnTo>
                    <a:pt x="2359" y="522"/>
                  </a:lnTo>
                  <a:lnTo>
                    <a:pt x="2373" y="444"/>
                  </a:lnTo>
                  <a:lnTo>
                    <a:pt x="2269" y="277"/>
                  </a:lnTo>
                  <a:lnTo>
                    <a:pt x="2218" y="235"/>
                  </a:lnTo>
                  <a:lnTo>
                    <a:pt x="2123" y="208"/>
                  </a:lnTo>
                  <a:lnTo>
                    <a:pt x="1927" y="14"/>
                  </a:lnTo>
                  <a:lnTo>
                    <a:pt x="1920" y="1"/>
                  </a:lnTo>
                  <a:lnTo>
                    <a:pt x="1854" y="0"/>
                  </a:lnTo>
                  <a:lnTo>
                    <a:pt x="1839" y="8"/>
                  </a:lnTo>
                  <a:lnTo>
                    <a:pt x="1842" y="32"/>
                  </a:lnTo>
                  <a:lnTo>
                    <a:pt x="1855" y="46"/>
                  </a:lnTo>
                  <a:lnTo>
                    <a:pt x="1858" y="74"/>
                  </a:lnTo>
                  <a:lnTo>
                    <a:pt x="1854" y="97"/>
                  </a:lnTo>
                  <a:lnTo>
                    <a:pt x="1842" y="111"/>
                  </a:lnTo>
                  <a:lnTo>
                    <a:pt x="1833" y="151"/>
                  </a:lnTo>
                  <a:lnTo>
                    <a:pt x="1817" y="179"/>
                  </a:lnTo>
                  <a:lnTo>
                    <a:pt x="1820" y="207"/>
                  </a:lnTo>
                  <a:lnTo>
                    <a:pt x="1846" y="231"/>
                  </a:lnTo>
                  <a:lnTo>
                    <a:pt x="1828" y="253"/>
                  </a:lnTo>
                  <a:lnTo>
                    <a:pt x="1805" y="259"/>
                  </a:lnTo>
                  <a:lnTo>
                    <a:pt x="1604" y="207"/>
                  </a:lnTo>
                  <a:lnTo>
                    <a:pt x="1580" y="211"/>
                  </a:lnTo>
                  <a:lnTo>
                    <a:pt x="1566" y="221"/>
                  </a:lnTo>
                  <a:lnTo>
                    <a:pt x="1552" y="246"/>
                  </a:lnTo>
                  <a:lnTo>
                    <a:pt x="1555" y="310"/>
                  </a:lnTo>
                  <a:lnTo>
                    <a:pt x="1533" y="393"/>
                  </a:lnTo>
                  <a:lnTo>
                    <a:pt x="1506" y="435"/>
                  </a:lnTo>
                  <a:lnTo>
                    <a:pt x="1494" y="430"/>
                  </a:lnTo>
                  <a:lnTo>
                    <a:pt x="1470" y="395"/>
                  </a:lnTo>
                  <a:lnTo>
                    <a:pt x="1438" y="376"/>
                  </a:lnTo>
                  <a:lnTo>
                    <a:pt x="1404" y="382"/>
                  </a:lnTo>
                  <a:lnTo>
                    <a:pt x="1325" y="462"/>
                  </a:lnTo>
                  <a:lnTo>
                    <a:pt x="1304" y="543"/>
                  </a:lnTo>
                  <a:lnTo>
                    <a:pt x="1244" y="616"/>
                  </a:lnTo>
                  <a:lnTo>
                    <a:pt x="1234" y="653"/>
                  </a:lnTo>
                  <a:lnTo>
                    <a:pt x="1265" y="718"/>
                  </a:lnTo>
                  <a:lnTo>
                    <a:pt x="1268" y="754"/>
                  </a:lnTo>
                  <a:lnTo>
                    <a:pt x="1105" y="968"/>
                  </a:lnTo>
                  <a:lnTo>
                    <a:pt x="1055" y="1106"/>
                  </a:lnTo>
                  <a:lnTo>
                    <a:pt x="1001" y="1141"/>
                  </a:lnTo>
                  <a:lnTo>
                    <a:pt x="967" y="1139"/>
                  </a:lnTo>
                  <a:lnTo>
                    <a:pt x="946" y="1150"/>
                  </a:lnTo>
                  <a:lnTo>
                    <a:pt x="889" y="1492"/>
                  </a:lnTo>
                  <a:lnTo>
                    <a:pt x="758" y="1692"/>
                  </a:lnTo>
                  <a:lnTo>
                    <a:pt x="759" y="1723"/>
                  </a:lnTo>
                  <a:lnTo>
                    <a:pt x="817" y="1812"/>
                  </a:lnTo>
                  <a:lnTo>
                    <a:pt x="799" y="1910"/>
                  </a:lnTo>
                  <a:lnTo>
                    <a:pt x="765" y="1945"/>
                  </a:lnTo>
                  <a:lnTo>
                    <a:pt x="664" y="1921"/>
                  </a:lnTo>
                  <a:lnTo>
                    <a:pt x="595" y="1934"/>
                  </a:lnTo>
                  <a:lnTo>
                    <a:pt x="538" y="1963"/>
                  </a:lnTo>
                  <a:lnTo>
                    <a:pt x="448" y="2052"/>
                  </a:lnTo>
                  <a:lnTo>
                    <a:pt x="400" y="2160"/>
                  </a:lnTo>
                  <a:lnTo>
                    <a:pt x="404" y="2219"/>
                  </a:lnTo>
                  <a:lnTo>
                    <a:pt x="420" y="2266"/>
                  </a:lnTo>
                  <a:lnTo>
                    <a:pt x="434" y="2285"/>
                  </a:lnTo>
                  <a:lnTo>
                    <a:pt x="409" y="2314"/>
                  </a:lnTo>
                  <a:lnTo>
                    <a:pt x="358" y="2517"/>
                  </a:lnTo>
                  <a:lnTo>
                    <a:pt x="368" y="2528"/>
                  </a:lnTo>
                  <a:lnTo>
                    <a:pt x="376" y="2579"/>
                  </a:lnTo>
                  <a:lnTo>
                    <a:pt x="351" y="2793"/>
                  </a:lnTo>
                  <a:lnTo>
                    <a:pt x="376" y="2847"/>
                  </a:lnTo>
                  <a:lnTo>
                    <a:pt x="441" y="2907"/>
                  </a:lnTo>
                  <a:lnTo>
                    <a:pt x="444" y="2980"/>
                  </a:lnTo>
                  <a:lnTo>
                    <a:pt x="416" y="3041"/>
                  </a:lnTo>
                  <a:lnTo>
                    <a:pt x="376" y="3078"/>
                  </a:lnTo>
                  <a:lnTo>
                    <a:pt x="322" y="3093"/>
                  </a:lnTo>
                  <a:lnTo>
                    <a:pt x="309" y="3114"/>
                  </a:lnTo>
                  <a:lnTo>
                    <a:pt x="340" y="3163"/>
                  </a:lnTo>
                  <a:lnTo>
                    <a:pt x="357" y="3282"/>
                  </a:lnTo>
                  <a:lnTo>
                    <a:pt x="317" y="3384"/>
                  </a:lnTo>
                  <a:lnTo>
                    <a:pt x="331" y="3416"/>
                  </a:lnTo>
                  <a:lnTo>
                    <a:pt x="318" y="3469"/>
                  </a:lnTo>
                  <a:lnTo>
                    <a:pt x="292" y="3506"/>
                  </a:lnTo>
                  <a:lnTo>
                    <a:pt x="189" y="3534"/>
                  </a:lnTo>
                  <a:lnTo>
                    <a:pt x="183" y="3583"/>
                  </a:lnTo>
                  <a:lnTo>
                    <a:pt x="128" y="3656"/>
                  </a:lnTo>
                  <a:lnTo>
                    <a:pt x="135" y="3761"/>
                  </a:lnTo>
                  <a:lnTo>
                    <a:pt x="88" y="3897"/>
                  </a:lnTo>
                  <a:lnTo>
                    <a:pt x="57" y="3913"/>
                  </a:lnTo>
                  <a:lnTo>
                    <a:pt x="44" y="3881"/>
                  </a:lnTo>
                  <a:lnTo>
                    <a:pt x="27" y="3929"/>
                  </a:lnTo>
                  <a:lnTo>
                    <a:pt x="39" y="3846"/>
                  </a:lnTo>
                  <a:lnTo>
                    <a:pt x="32" y="383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5" name="Freeform 152"/>
            <p:cNvSpPr>
              <a:spLocks/>
            </p:cNvSpPr>
            <p:nvPr/>
          </p:nvSpPr>
          <p:spPr bwMode="auto">
            <a:xfrm>
              <a:off x="6266066" y="3716805"/>
              <a:ext cx="831270" cy="400628"/>
            </a:xfrm>
            <a:custGeom>
              <a:avLst/>
              <a:gdLst>
                <a:gd name="T0" fmla="*/ 0 w 2045"/>
                <a:gd name="T1" fmla="*/ 0 h 988"/>
                <a:gd name="T2" fmla="*/ 0 w 2045"/>
                <a:gd name="T3" fmla="*/ 0 h 988"/>
                <a:gd name="T4" fmla="*/ 0 w 2045"/>
                <a:gd name="T5" fmla="*/ 0 h 988"/>
                <a:gd name="T6" fmla="*/ 0 w 2045"/>
                <a:gd name="T7" fmla="*/ 0 h 988"/>
                <a:gd name="T8" fmla="*/ 0 w 2045"/>
                <a:gd name="T9" fmla="*/ 0 h 988"/>
                <a:gd name="T10" fmla="*/ 0 w 2045"/>
                <a:gd name="T11" fmla="*/ 0 h 988"/>
                <a:gd name="T12" fmla="*/ 0 w 2045"/>
                <a:gd name="T13" fmla="*/ 0 h 988"/>
                <a:gd name="T14" fmla="*/ 0 w 2045"/>
                <a:gd name="T15" fmla="*/ 0 h 988"/>
                <a:gd name="T16" fmla="*/ 0 w 2045"/>
                <a:gd name="T17" fmla="*/ 0 h 988"/>
                <a:gd name="T18" fmla="*/ 0 w 2045"/>
                <a:gd name="T19" fmla="*/ 0 h 988"/>
                <a:gd name="T20" fmla="*/ 0 w 2045"/>
                <a:gd name="T21" fmla="*/ 0 h 988"/>
                <a:gd name="T22" fmla="*/ 0 w 2045"/>
                <a:gd name="T23" fmla="*/ 0 h 988"/>
                <a:gd name="T24" fmla="*/ 0 w 2045"/>
                <a:gd name="T25" fmla="*/ 0 h 988"/>
                <a:gd name="T26" fmla="*/ 0 w 2045"/>
                <a:gd name="T27" fmla="*/ 0 h 988"/>
                <a:gd name="T28" fmla="*/ 0 w 2045"/>
                <a:gd name="T29" fmla="*/ 0 h 988"/>
                <a:gd name="T30" fmla="*/ 0 w 2045"/>
                <a:gd name="T31" fmla="*/ 0 h 988"/>
                <a:gd name="T32" fmla="*/ 0 w 2045"/>
                <a:gd name="T33" fmla="*/ 0 h 988"/>
                <a:gd name="T34" fmla="*/ 0 w 2045"/>
                <a:gd name="T35" fmla="*/ 0 h 988"/>
                <a:gd name="T36" fmla="*/ 0 w 2045"/>
                <a:gd name="T37" fmla="*/ 0 h 988"/>
                <a:gd name="T38" fmla="*/ 0 w 2045"/>
                <a:gd name="T39" fmla="*/ 0 h 988"/>
                <a:gd name="T40" fmla="*/ 0 w 2045"/>
                <a:gd name="T41" fmla="*/ 0 h 988"/>
                <a:gd name="T42" fmla="*/ 0 w 2045"/>
                <a:gd name="T43" fmla="*/ 0 h 988"/>
                <a:gd name="T44" fmla="*/ 0 w 2045"/>
                <a:gd name="T45" fmla="*/ 0 h 988"/>
                <a:gd name="T46" fmla="*/ 0 w 2045"/>
                <a:gd name="T47" fmla="*/ 0 h 988"/>
                <a:gd name="T48" fmla="*/ 0 w 2045"/>
                <a:gd name="T49" fmla="*/ 0 h 988"/>
                <a:gd name="T50" fmla="*/ 0 w 2045"/>
                <a:gd name="T51" fmla="*/ 0 h 988"/>
                <a:gd name="T52" fmla="*/ 0 w 2045"/>
                <a:gd name="T53" fmla="*/ 0 h 988"/>
                <a:gd name="T54" fmla="*/ 0 w 2045"/>
                <a:gd name="T55" fmla="*/ 0 h 988"/>
                <a:gd name="T56" fmla="*/ 0 w 2045"/>
                <a:gd name="T57" fmla="*/ 0 h 988"/>
                <a:gd name="T58" fmla="*/ 0 w 2045"/>
                <a:gd name="T59" fmla="*/ 0 h 988"/>
                <a:gd name="T60" fmla="*/ 0 w 2045"/>
                <a:gd name="T61" fmla="*/ 0 h 988"/>
                <a:gd name="T62" fmla="*/ 0 w 2045"/>
                <a:gd name="T63" fmla="*/ 0 h 988"/>
                <a:gd name="T64" fmla="*/ 0 w 2045"/>
                <a:gd name="T65" fmla="*/ 0 h 988"/>
                <a:gd name="T66" fmla="*/ 0 w 2045"/>
                <a:gd name="T67" fmla="*/ 0 h 988"/>
                <a:gd name="T68" fmla="*/ 0 w 2045"/>
                <a:gd name="T69" fmla="*/ 0 h 988"/>
                <a:gd name="T70" fmla="*/ 0 w 2045"/>
                <a:gd name="T71" fmla="*/ 0 h 988"/>
                <a:gd name="T72" fmla="*/ 0 w 2045"/>
                <a:gd name="T73" fmla="*/ 0 h 988"/>
                <a:gd name="T74" fmla="*/ 0 w 2045"/>
                <a:gd name="T75" fmla="*/ 0 h 9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45"/>
                <a:gd name="T115" fmla="*/ 0 h 988"/>
                <a:gd name="T116" fmla="*/ 2045 w 2045"/>
                <a:gd name="T117" fmla="*/ 988 h 9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45" h="988">
                  <a:moveTo>
                    <a:pt x="1185" y="70"/>
                  </a:moveTo>
                  <a:lnTo>
                    <a:pt x="1175" y="107"/>
                  </a:lnTo>
                  <a:lnTo>
                    <a:pt x="1091" y="134"/>
                  </a:lnTo>
                  <a:lnTo>
                    <a:pt x="1048" y="217"/>
                  </a:lnTo>
                  <a:lnTo>
                    <a:pt x="937" y="251"/>
                  </a:lnTo>
                  <a:lnTo>
                    <a:pt x="909" y="303"/>
                  </a:lnTo>
                  <a:lnTo>
                    <a:pt x="906" y="382"/>
                  </a:lnTo>
                  <a:lnTo>
                    <a:pt x="932" y="462"/>
                  </a:lnTo>
                  <a:lnTo>
                    <a:pt x="932" y="499"/>
                  </a:lnTo>
                  <a:lnTo>
                    <a:pt x="891" y="513"/>
                  </a:lnTo>
                  <a:lnTo>
                    <a:pt x="875" y="473"/>
                  </a:lnTo>
                  <a:lnTo>
                    <a:pt x="804" y="466"/>
                  </a:lnTo>
                  <a:lnTo>
                    <a:pt x="751" y="443"/>
                  </a:lnTo>
                  <a:lnTo>
                    <a:pt x="728" y="465"/>
                  </a:lnTo>
                  <a:lnTo>
                    <a:pt x="566" y="468"/>
                  </a:lnTo>
                  <a:lnTo>
                    <a:pt x="465" y="519"/>
                  </a:lnTo>
                  <a:lnTo>
                    <a:pt x="400" y="510"/>
                  </a:lnTo>
                  <a:lnTo>
                    <a:pt x="341" y="465"/>
                  </a:lnTo>
                  <a:lnTo>
                    <a:pt x="286" y="452"/>
                  </a:lnTo>
                  <a:lnTo>
                    <a:pt x="250" y="480"/>
                  </a:lnTo>
                  <a:lnTo>
                    <a:pt x="231" y="510"/>
                  </a:lnTo>
                  <a:lnTo>
                    <a:pt x="203" y="523"/>
                  </a:lnTo>
                  <a:lnTo>
                    <a:pt x="159" y="493"/>
                  </a:lnTo>
                  <a:lnTo>
                    <a:pt x="139" y="449"/>
                  </a:lnTo>
                  <a:lnTo>
                    <a:pt x="98" y="432"/>
                  </a:lnTo>
                  <a:lnTo>
                    <a:pt x="52" y="428"/>
                  </a:lnTo>
                  <a:lnTo>
                    <a:pt x="0" y="441"/>
                  </a:lnTo>
                  <a:lnTo>
                    <a:pt x="31" y="484"/>
                  </a:lnTo>
                  <a:lnTo>
                    <a:pt x="65" y="512"/>
                  </a:lnTo>
                  <a:lnTo>
                    <a:pt x="60" y="603"/>
                  </a:lnTo>
                  <a:lnTo>
                    <a:pt x="25" y="637"/>
                  </a:lnTo>
                  <a:lnTo>
                    <a:pt x="101" y="692"/>
                  </a:lnTo>
                  <a:lnTo>
                    <a:pt x="146" y="705"/>
                  </a:lnTo>
                  <a:lnTo>
                    <a:pt x="185" y="689"/>
                  </a:lnTo>
                  <a:lnTo>
                    <a:pt x="220" y="720"/>
                  </a:lnTo>
                  <a:lnTo>
                    <a:pt x="279" y="748"/>
                  </a:lnTo>
                  <a:lnTo>
                    <a:pt x="622" y="705"/>
                  </a:lnTo>
                  <a:lnTo>
                    <a:pt x="648" y="690"/>
                  </a:lnTo>
                  <a:lnTo>
                    <a:pt x="679" y="688"/>
                  </a:lnTo>
                  <a:lnTo>
                    <a:pt x="690" y="698"/>
                  </a:lnTo>
                  <a:lnTo>
                    <a:pt x="692" y="762"/>
                  </a:lnTo>
                  <a:lnTo>
                    <a:pt x="706" y="800"/>
                  </a:lnTo>
                  <a:lnTo>
                    <a:pt x="761" y="844"/>
                  </a:lnTo>
                  <a:lnTo>
                    <a:pt x="782" y="850"/>
                  </a:lnTo>
                  <a:lnTo>
                    <a:pt x="826" y="887"/>
                  </a:lnTo>
                  <a:lnTo>
                    <a:pt x="1083" y="955"/>
                  </a:lnTo>
                  <a:lnTo>
                    <a:pt x="1306" y="988"/>
                  </a:lnTo>
                  <a:lnTo>
                    <a:pt x="1350" y="965"/>
                  </a:lnTo>
                  <a:lnTo>
                    <a:pt x="1396" y="915"/>
                  </a:lnTo>
                  <a:lnTo>
                    <a:pt x="1463" y="902"/>
                  </a:lnTo>
                  <a:lnTo>
                    <a:pt x="1557" y="929"/>
                  </a:lnTo>
                  <a:lnTo>
                    <a:pt x="1583" y="889"/>
                  </a:lnTo>
                  <a:lnTo>
                    <a:pt x="1690" y="904"/>
                  </a:lnTo>
                  <a:lnTo>
                    <a:pt x="1702" y="866"/>
                  </a:lnTo>
                  <a:lnTo>
                    <a:pt x="1743" y="848"/>
                  </a:lnTo>
                  <a:lnTo>
                    <a:pt x="1797" y="797"/>
                  </a:lnTo>
                  <a:lnTo>
                    <a:pt x="1851" y="785"/>
                  </a:lnTo>
                  <a:lnTo>
                    <a:pt x="1852" y="685"/>
                  </a:lnTo>
                  <a:lnTo>
                    <a:pt x="1899" y="598"/>
                  </a:lnTo>
                  <a:lnTo>
                    <a:pt x="1867" y="556"/>
                  </a:lnTo>
                  <a:lnTo>
                    <a:pt x="1889" y="520"/>
                  </a:lnTo>
                  <a:lnTo>
                    <a:pt x="2017" y="522"/>
                  </a:lnTo>
                  <a:lnTo>
                    <a:pt x="2040" y="484"/>
                  </a:lnTo>
                  <a:lnTo>
                    <a:pt x="2045" y="388"/>
                  </a:lnTo>
                  <a:lnTo>
                    <a:pt x="1988" y="215"/>
                  </a:lnTo>
                  <a:lnTo>
                    <a:pt x="1990" y="149"/>
                  </a:lnTo>
                  <a:lnTo>
                    <a:pt x="1955" y="99"/>
                  </a:lnTo>
                  <a:lnTo>
                    <a:pt x="1785" y="105"/>
                  </a:lnTo>
                  <a:lnTo>
                    <a:pt x="1722" y="41"/>
                  </a:lnTo>
                  <a:lnTo>
                    <a:pt x="1683" y="19"/>
                  </a:lnTo>
                  <a:lnTo>
                    <a:pt x="1523" y="0"/>
                  </a:lnTo>
                  <a:lnTo>
                    <a:pt x="1474" y="86"/>
                  </a:lnTo>
                  <a:lnTo>
                    <a:pt x="1427" y="122"/>
                  </a:lnTo>
                  <a:lnTo>
                    <a:pt x="1385" y="137"/>
                  </a:lnTo>
                  <a:lnTo>
                    <a:pt x="1275" y="129"/>
                  </a:lnTo>
                  <a:lnTo>
                    <a:pt x="1185" y="7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6" name="Freeform 154"/>
            <p:cNvSpPr>
              <a:spLocks/>
            </p:cNvSpPr>
            <p:nvPr/>
          </p:nvSpPr>
          <p:spPr bwMode="auto">
            <a:xfrm>
              <a:off x="5768563" y="2907159"/>
              <a:ext cx="403040" cy="413213"/>
            </a:xfrm>
            <a:custGeom>
              <a:avLst/>
              <a:gdLst>
                <a:gd name="T0" fmla="*/ 0 w 994"/>
                <a:gd name="T1" fmla="*/ 0 h 1022"/>
                <a:gd name="T2" fmla="*/ 0 w 994"/>
                <a:gd name="T3" fmla="*/ 0 h 1022"/>
                <a:gd name="T4" fmla="*/ 0 w 994"/>
                <a:gd name="T5" fmla="*/ 0 h 1022"/>
                <a:gd name="T6" fmla="*/ 0 w 994"/>
                <a:gd name="T7" fmla="*/ 0 h 1022"/>
                <a:gd name="T8" fmla="*/ 0 w 994"/>
                <a:gd name="T9" fmla="*/ 0 h 1022"/>
                <a:gd name="T10" fmla="*/ 0 w 994"/>
                <a:gd name="T11" fmla="*/ 0 h 1022"/>
                <a:gd name="T12" fmla="*/ 0 w 994"/>
                <a:gd name="T13" fmla="*/ 0 h 1022"/>
                <a:gd name="T14" fmla="*/ 0 w 994"/>
                <a:gd name="T15" fmla="*/ 0 h 1022"/>
                <a:gd name="T16" fmla="*/ 0 w 994"/>
                <a:gd name="T17" fmla="*/ 0 h 1022"/>
                <a:gd name="T18" fmla="*/ 0 w 994"/>
                <a:gd name="T19" fmla="*/ 0 h 1022"/>
                <a:gd name="T20" fmla="*/ 0 w 994"/>
                <a:gd name="T21" fmla="*/ 0 h 1022"/>
                <a:gd name="T22" fmla="*/ 0 w 994"/>
                <a:gd name="T23" fmla="*/ 0 h 1022"/>
                <a:gd name="T24" fmla="*/ 0 w 994"/>
                <a:gd name="T25" fmla="*/ 0 h 1022"/>
                <a:gd name="T26" fmla="*/ 0 w 994"/>
                <a:gd name="T27" fmla="*/ 0 h 1022"/>
                <a:gd name="T28" fmla="*/ 0 w 994"/>
                <a:gd name="T29" fmla="*/ 0 h 1022"/>
                <a:gd name="T30" fmla="*/ 0 w 994"/>
                <a:gd name="T31" fmla="*/ 0 h 1022"/>
                <a:gd name="T32" fmla="*/ 0 w 994"/>
                <a:gd name="T33" fmla="*/ 0 h 1022"/>
                <a:gd name="T34" fmla="*/ 0 w 994"/>
                <a:gd name="T35" fmla="*/ 0 h 1022"/>
                <a:gd name="T36" fmla="*/ 0 w 994"/>
                <a:gd name="T37" fmla="*/ 0 h 1022"/>
                <a:gd name="T38" fmla="*/ 0 w 994"/>
                <a:gd name="T39" fmla="*/ 0 h 1022"/>
                <a:gd name="T40" fmla="*/ 0 w 994"/>
                <a:gd name="T41" fmla="*/ 0 h 1022"/>
                <a:gd name="T42" fmla="*/ 0 w 994"/>
                <a:gd name="T43" fmla="*/ 0 h 1022"/>
                <a:gd name="T44" fmla="*/ 0 w 994"/>
                <a:gd name="T45" fmla="*/ 0 h 1022"/>
                <a:gd name="T46" fmla="*/ 0 w 994"/>
                <a:gd name="T47" fmla="*/ 0 h 1022"/>
                <a:gd name="T48" fmla="*/ 0 w 994"/>
                <a:gd name="T49" fmla="*/ 0 h 1022"/>
                <a:gd name="T50" fmla="*/ 0 w 994"/>
                <a:gd name="T51" fmla="*/ 0 h 1022"/>
                <a:gd name="T52" fmla="*/ 0 w 994"/>
                <a:gd name="T53" fmla="*/ 0 h 1022"/>
                <a:gd name="T54" fmla="*/ 0 w 994"/>
                <a:gd name="T55" fmla="*/ 0 h 1022"/>
                <a:gd name="T56" fmla="*/ 0 w 994"/>
                <a:gd name="T57" fmla="*/ 0 h 1022"/>
                <a:gd name="T58" fmla="*/ 0 w 994"/>
                <a:gd name="T59" fmla="*/ 0 h 1022"/>
                <a:gd name="T60" fmla="*/ 0 w 994"/>
                <a:gd name="T61" fmla="*/ 0 h 1022"/>
                <a:gd name="T62" fmla="*/ 0 w 994"/>
                <a:gd name="T63" fmla="*/ 0 h 1022"/>
                <a:gd name="T64" fmla="*/ 0 w 994"/>
                <a:gd name="T65" fmla="*/ 0 h 1022"/>
                <a:gd name="T66" fmla="*/ 0 w 994"/>
                <a:gd name="T67" fmla="*/ 0 h 1022"/>
                <a:gd name="T68" fmla="*/ 0 w 994"/>
                <a:gd name="T69" fmla="*/ 0 h 1022"/>
                <a:gd name="T70" fmla="*/ 0 w 994"/>
                <a:gd name="T71" fmla="*/ 0 h 1022"/>
                <a:gd name="T72" fmla="*/ 0 w 994"/>
                <a:gd name="T73" fmla="*/ 0 h 1022"/>
                <a:gd name="T74" fmla="*/ 0 w 994"/>
                <a:gd name="T75" fmla="*/ 0 h 1022"/>
                <a:gd name="T76" fmla="*/ 0 w 994"/>
                <a:gd name="T77" fmla="*/ 0 h 1022"/>
                <a:gd name="T78" fmla="*/ 0 w 994"/>
                <a:gd name="T79" fmla="*/ 0 h 1022"/>
                <a:gd name="T80" fmla="*/ 0 w 994"/>
                <a:gd name="T81" fmla="*/ 0 h 10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94"/>
                <a:gd name="T124" fmla="*/ 0 h 1022"/>
                <a:gd name="T125" fmla="*/ 994 w 994"/>
                <a:gd name="T126" fmla="*/ 1022 h 10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94" h="1022">
                  <a:moveTo>
                    <a:pt x="554" y="1022"/>
                  </a:moveTo>
                  <a:lnTo>
                    <a:pt x="503" y="1012"/>
                  </a:lnTo>
                  <a:lnTo>
                    <a:pt x="473" y="979"/>
                  </a:lnTo>
                  <a:lnTo>
                    <a:pt x="495" y="836"/>
                  </a:lnTo>
                  <a:lnTo>
                    <a:pt x="466" y="805"/>
                  </a:lnTo>
                  <a:lnTo>
                    <a:pt x="423" y="795"/>
                  </a:lnTo>
                  <a:lnTo>
                    <a:pt x="393" y="766"/>
                  </a:lnTo>
                  <a:lnTo>
                    <a:pt x="387" y="735"/>
                  </a:lnTo>
                  <a:lnTo>
                    <a:pt x="374" y="733"/>
                  </a:lnTo>
                  <a:lnTo>
                    <a:pt x="356" y="701"/>
                  </a:lnTo>
                  <a:lnTo>
                    <a:pt x="233" y="691"/>
                  </a:lnTo>
                  <a:lnTo>
                    <a:pt x="156" y="720"/>
                  </a:lnTo>
                  <a:lnTo>
                    <a:pt x="66" y="728"/>
                  </a:lnTo>
                  <a:lnTo>
                    <a:pt x="0" y="672"/>
                  </a:lnTo>
                  <a:lnTo>
                    <a:pt x="1" y="667"/>
                  </a:lnTo>
                  <a:lnTo>
                    <a:pt x="14" y="660"/>
                  </a:lnTo>
                  <a:lnTo>
                    <a:pt x="46" y="665"/>
                  </a:lnTo>
                  <a:lnTo>
                    <a:pt x="84" y="704"/>
                  </a:lnTo>
                  <a:lnTo>
                    <a:pt x="130" y="693"/>
                  </a:lnTo>
                  <a:lnTo>
                    <a:pt x="168" y="698"/>
                  </a:lnTo>
                  <a:lnTo>
                    <a:pt x="186" y="688"/>
                  </a:lnTo>
                  <a:lnTo>
                    <a:pt x="155" y="675"/>
                  </a:lnTo>
                  <a:lnTo>
                    <a:pt x="112" y="672"/>
                  </a:lnTo>
                  <a:lnTo>
                    <a:pt x="90" y="658"/>
                  </a:lnTo>
                  <a:lnTo>
                    <a:pt x="112" y="628"/>
                  </a:lnTo>
                  <a:lnTo>
                    <a:pt x="368" y="599"/>
                  </a:lnTo>
                  <a:lnTo>
                    <a:pt x="353" y="579"/>
                  </a:lnTo>
                  <a:lnTo>
                    <a:pt x="295" y="589"/>
                  </a:lnTo>
                  <a:lnTo>
                    <a:pt x="226" y="558"/>
                  </a:lnTo>
                  <a:lnTo>
                    <a:pt x="204" y="527"/>
                  </a:lnTo>
                  <a:lnTo>
                    <a:pt x="223" y="465"/>
                  </a:lnTo>
                  <a:lnTo>
                    <a:pt x="342" y="373"/>
                  </a:lnTo>
                  <a:lnTo>
                    <a:pt x="448" y="151"/>
                  </a:lnTo>
                  <a:lnTo>
                    <a:pt x="490" y="143"/>
                  </a:lnTo>
                  <a:lnTo>
                    <a:pt x="499" y="179"/>
                  </a:lnTo>
                  <a:lnTo>
                    <a:pt x="520" y="207"/>
                  </a:lnTo>
                  <a:lnTo>
                    <a:pt x="519" y="222"/>
                  </a:lnTo>
                  <a:lnTo>
                    <a:pt x="516" y="229"/>
                  </a:lnTo>
                  <a:lnTo>
                    <a:pt x="477" y="234"/>
                  </a:lnTo>
                  <a:lnTo>
                    <a:pt x="459" y="272"/>
                  </a:lnTo>
                  <a:lnTo>
                    <a:pt x="455" y="323"/>
                  </a:lnTo>
                  <a:lnTo>
                    <a:pt x="449" y="339"/>
                  </a:lnTo>
                  <a:lnTo>
                    <a:pt x="469" y="368"/>
                  </a:lnTo>
                  <a:lnTo>
                    <a:pt x="509" y="395"/>
                  </a:lnTo>
                  <a:lnTo>
                    <a:pt x="531" y="401"/>
                  </a:lnTo>
                  <a:lnTo>
                    <a:pt x="542" y="391"/>
                  </a:lnTo>
                  <a:lnTo>
                    <a:pt x="542" y="355"/>
                  </a:lnTo>
                  <a:lnTo>
                    <a:pt x="528" y="325"/>
                  </a:lnTo>
                  <a:lnTo>
                    <a:pt x="528" y="305"/>
                  </a:lnTo>
                  <a:lnTo>
                    <a:pt x="548" y="303"/>
                  </a:lnTo>
                  <a:lnTo>
                    <a:pt x="578" y="285"/>
                  </a:lnTo>
                  <a:lnTo>
                    <a:pt x="621" y="188"/>
                  </a:lnTo>
                  <a:lnTo>
                    <a:pt x="611" y="178"/>
                  </a:lnTo>
                  <a:lnTo>
                    <a:pt x="583" y="173"/>
                  </a:lnTo>
                  <a:lnTo>
                    <a:pt x="580" y="158"/>
                  </a:lnTo>
                  <a:lnTo>
                    <a:pt x="587" y="86"/>
                  </a:lnTo>
                  <a:lnTo>
                    <a:pt x="597" y="67"/>
                  </a:lnTo>
                  <a:lnTo>
                    <a:pt x="621" y="38"/>
                  </a:lnTo>
                  <a:lnTo>
                    <a:pt x="714" y="0"/>
                  </a:lnTo>
                  <a:lnTo>
                    <a:pt x="760" y="0"/>
                  </a:lnTo>
                  <a:lnTo>
                    <a:pt x="811" y="20"/>
                  </a:lnTo>
                  <a:lnTo>
                    <a:pt x="861" y="6"/>
                  </a:lnTo>
                  <a:lnTo>
                    <a:pt x="913" y="11"/>
                  </a:lnTo>
                  <a:lnTo>
                    <a:pt x="949" y="31"/>
                  </a:lnTo>
                  <a:lnTo>
                    <a:pt x="994" y="96"/>
                  </a:lnTo>
                  <a:lnTo>
                    <a:pt x="914" y="285"/>
                  </a:lnTo>
                  <a:lnTo>
                    <a:pt x="841" y="317"/>
                  </a:lnTo>
                  <a:lnTo>
                    <a:pt x="844" y="361"/>
                  </a:lnTo>
                  <a:lnTo>
                    <a:pt x="915" y="409"/>
                  </a:lnTo>
                  <a:lnTo>
                    <a:pt x="902" y="458"/>
                  </a:lnTo>
                  <a:lnTo>
                    <a:pt x="862" y="496"/>
                  </a:lnTo>
                  <a:lnTo>
                    <a:pt x="815" y="519"/>
                  </a:lnTo>
                  <a:lnTo>
                    <a:pt x="797" y="567"/>
                  </a:lnTo>
                  <a:lnTo>
                    <a:pt x="768" y="608"/>
                  </a:lnTo>
                  <a:lnTo>
                    <a:pt x="732" y="610"/>
                  </a:lnTo>
                  <a:lnTo>
                    <a:pt x="681" y="576"/>
                  </a:lnTo>
                  <a:lnTo>
                    <a:pt x="636" y="567"/>
                  </a:lnTo>
                  <a:lnTo>
                    <a:pt x="596" y="854"/>
                  </a:lnTo>
                  <a:lnTo>
                    <a:pt x="562" y="883"/>
                  </a:lnTo>
                  <a:lnTo>
                    <a:pt x="553" y="914"/>
                  </a:lnTo>
                  <a:lnTo>
                    <a:pt x="558" y="997"/>
                  </a:lnTo>
                  <a:lnTo>
                    <a:pt x="554" y="102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7" name="Freeform 156"/>
            <p:cNvSpPr>
              <a:spLocks/>
            </p:cNvSpPr>
            <p:nvPr/>
          </p:nvSpPr>
          <p:spPr bwMode="auto">
            <a:xfrm>
              <a:off x="4815541" y="3200813"/>
              <a:ext cx="1335070" cy="1375979"/>
            </a:xfrm>
            <a:custGeom>
              <a:avLst/>
              <a:gdLst>
                <a:gd name="T0" fmla="*/ 0 w 3285"/>
                <a:gd name="T1" fmla="*/ 0 h 3393"/>
                <a:gd name="T2" fmla="*/ 0 w 3285"/>
                <a:gd name="T3" fmla="*/ 0 h 3393"/>
                <a:gd name="T4" fmla="*/ 0 w 3285"/>
                <a:gd name="T5" fmla="*/ 0 h 3393"/>
                <a:gd name="T6" fmla="*/ 0 w 3285"/>
                <a:gd name="T7" fmla="*/ 0 h 3393"/>
                <a:gd name="T8" fmla="*/ 0 w 3285"/>
                <a:gd name="T9" fmla="*/ 0 h 3393"/>
                <a:gd name="T10" fmla="*/ 0 w 3285"/>
                <a:gd name="T11" fmla="*/ 0 h 3393"/>
                <a:gd name="T12" fmla="*/ 0 w 3285"/>
                <a:gd name="T13" fmla="*/ 0 h 3393"/>
                <a:gd name="T14" fmla="*/ 0 w 3285"/>
                <a:gd name="T15" fmla="*/ 0 h 3393"/>
                <a:gd name="T16" fmla="*/ 0 w 3285"/>
                <a:gd name="T17" fmla="*/ 0 h 3393"/>
                <a:gd name="T18" fmla="*/ 0 w 3285"/>
                <a:gd name="T19" fmla="*/ 0 h 3393"/>
                <a:gd name="T20" fmla="*/ 0 w 3285"/>
                <a:gd name="T21" fmla="*/ 0 h 3393"/>
                <a:gd name="T22" fmla="*/ 0 w 3285"/>
                <a:gd name="T23" fmla="*/ 0 h 3393"/>
                <a:gd name="T24" fmla="*/ 0 w 3285"/>
                <a:gd name="T25" fmla="*/ 0 h 3393"/>
                <a:gd name="T26" fmla="*/ 0 w 3285"/>
                <a:gd name="T27" fmla="*/ 0 h 3393"/>
                <a:gd name="T28" fmla="*/ 0 w 3285"/>
                <a:gd name="T29" fmla="*/ 0 h 3393"/>
                <a:gd name="T30" fmla="*/ 0 w 3285"/>
                <a:gd name="T31" fmla="*/ 0 h 3393"/>
                <a:gd name="T32" fmla="*/ 0 w 3285"/>
                <a:gd name="T33" fmla="*/ 0 h 3393"/>
                <a:gd name="T34" fmla="*/ 0 w 3285"/>
                <a:gd name="T35" fmla="*/ 0 h 3393"/>
                <a:gd name="T36" fmla="*/ 0 w 3285"/>
                <a:gd name="T37" fmla="*/ 0 h 3393"/>
                <a:gd name="T38" fmla="*/ 0 w 3285"/>
                <a:gd name="T39" fmla="*/ 0 h 3393"/>
                <a:gd name="T40" fmla="*/ 0 w 3285"/>
                <a:gd name="T41" fmla="*/ 0 h 3393"/>
                <a:gd name="T42" fmla="*/ 0 w 3285"/>
                <a:gd name="T43" fmla="*/ 0 h 3393"/>
                <a:gd name="T44" fmla="*/ 0 w 3285"/>
                <a:gd name="T45" fmla="*/ 0 h 3393"/>
                <a:gd name="T46" fmla="*/ 0 w 3285"/>
                <a:gd name="T47" fmla="*/ 0 h 3393"/>
                <a:gd name="T48" fmla="*/ 0 w 3285"/>
                <a:gd name="T49" fmla="*/ 0 h 3393"/>
                <a:gd name="T50" fmla="*/ 0 w 3285"/>
                <a:gd name="T51" fmla="*/ 0 h 3393"/>
                <a:gd name="T52" fmla="*/ 0 w 3285"/>
                <a:gd name="T53" fmla="*/ 0 h 3393"/>
                <a:gd name="T54" fmla="*/ 0 w 3285"/>
                <a:gd name="T55" fmla="*/ 0 h 3393"/>
                <a:gd name="T56" fmla="*/ 0 w 3285"/>
                <a:gd name="T57" fmla="*/ 0 h 3393"/>
                <a:gd name="T58" fmla="*/ 0 w 3285"/>
                <a:gd name="T59" fmla="*/ 0 h 3393"/>
                <a:gd name="T60" fmla="*/ 0 w 3285"/>
                <a:gd name="T61" fmla="*/ 0 h 3393"/>
                <a:gd name="T62" fmla="*/ 0 w 3285"/>
                <a:gd name="T63" fmla="*/ 0 h 3393"/>
                <a:gd name="T64" fmla="*/ 0 w 3285"/>
                <a:gd name="T65" fmla="*/ 0 h 3393"/>
                <a:gd name="T66" fmla="*/ 0 w 3285"/>
                <a:gd name="T67" fmla="*/ 0 h 3393"/>
                <a:gd name="T68" fmla="*/ 0 w 3285"/>
                <a:gd name="T69" fmla="*/ 0 h 3393"/>
                <a:gd name="T70" fmla="*/ 0 w 3285"/>
                <a:gd name="T71" fmla="*/ 0 h 3393"/>
                <a:gd name="T72" fmla="*/ 0 w 3285"/>
                <a:gd name="T73" fmla="*/ 0 h 3393"/>
                <a:gd name="T74" fmla="*/ 0 w 3285"/>
                <a:gd name="T75" fmla="*/ 0 h 3393"/>
                <a:gd name="T76" fmla="*/ 0 w 3285"/>
                <a:gd name="T77" fmla="*/ 0 h 3393"/>
                <a:gd name="T78" fmla="*/ 0 w 3285"/>
                <a:gd name="T79" fmla="*/ 0 h 3393"/>
                <a:gd name="T80" fmla="*/ 0 w 3285"/>
                <a:gd name="T81" fmla="*/ 0 h 3393"/>
                <a:gd name="T82" fmla="*/ 0 w 3285"/>
                <a:gd name="T83" fmla="*/ 0 h 3393"/>
                <a:gd name="T84" fmla="*/ 0 w 3285"/>
                <a:gd name="T85" fmla="*/ 0 h 3393"/>
                <a:gd name="T86" fmla="*/ 0 w 3285"/>
                <a:gd name="T87" fmla="*/ 0 h 3393"/>
                <a:gd name="T88" fmla="*/ 0 w 3285"/>
                <a:gd name="T89" fmla="*/ 0 h 3393"/>
                <a:gd name="T90" fmla="*/ 0 w 3285"/>
                <a:gd name="T91" fmla="*/ 0 h 3393"/>
                <a:gd name="T92" fmla="*/ 0 w 3285"/>
                <a:gd name="T93" fmla="*/ 0 h 3393"/>
                <a:gd name="T94" fmla="*/ 0 w 3285"/>
                <a:gd name="T95" fmla="*/ 0 h 3393"/>
                <a:gd name="T96" fmla="*/ 0 w 3285"/>
                <a:gd name="T97" fmla="*/ 0 h 3393"/>
                <a:gd name="T98" fmla="*/ 0 w 3285"/>
                <a:gd name="T99" fmla="*/ 0 h 33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285"/>
                <a:gd name="T151" fmla="*/ 0 h 3393"/>
                <a:gd name="T152" fmla="*/ 3285 w 3285"/>
                <a:gd name="T153" fmla="*/ 3393 h 339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285" h="3393">
                  <a:moveTo>
                    <a:pt x="2144" y="0"/>
                  </a:moveTo>
                  <a:lnTo>
                    <a:pt x="2120" y="9"/>
                  </a:lnTo>
                  <a:lnTo>
                    <a:pt x="1894" y="19"/>
                  </a:lnTo>
                  <a:lnTo>
                    <a:pt x="1793" y="226"/>
                  </a:lnTo>
                  <a:lnTo>
                    <a:pt x="1807" y="249"/>
                  </a:lnTo>
                  <a:lnTo>
                    <a:pt x="1795" y="278"/>
                  </a:lnTo>
                  <a:lnTo>
                    <a:pt x="1653" y="349"/>
                  </a:lnTo>
                  <a:lnTo>
                    <a:pt x="1417" y="385"/>
                  </a:lnTo>
                  <a:lnTo>
                    <a:pt x="1372" y="433"/>
                  </a:lnTo>
                  <a:lnTo>
                    <a:pt x="1368" y="459"/>
                  </a:lnTo>
                  <a:lnTo>
                    <a:pt x="1457" y="495"/>
                  </a:lnTo>
                  <a:lnTo>
                    <a:pt x="1446" y="508"/>
                  </a:lnTo>
                  <a:lnTo>
                    <a:pt x="1350" y="493"/>
                  </a:lnTo>
                  <a:lnTo>
                    <a:pt x="1294" y="513"/>
                  </a:lnTo>
                  <a:lnTo>
                    <a:pt x="1203" y="497"/>
                  </a:lnTo>
                  <a:lnTo>
                    <a:pt x="1077" y="431"/>
                  </a:lnTo>
                  <a:lnTo>
                    <a:pt x="1053" y="426"/>
                  </a:lnTo>
                  <a:lnTo>
                    <a:pt x="1018" y="338"/>
                  </a:lnTo>
                  <a:lnTo>
                    <a:pt x="1034" y="300"/>
                  </a:lnTo>
                  <a:lnTo>
                    <a:pt x="1020" y="287"/>
                  </a:lnTo>
                  <a:lnTo>
                    <a:pt x="925" y="264"/>
                  </a:lnTo>
                  <a:lnTo>
                    <a:pt x="886" y="238"/>
                  </a:lnTo>
                  <a:lnTo>
                    <a:pt x="869" y="375"/>
                  </a:lnTo>
                  <a:lnTo>
                    <a:pt x="892" y="407"/>
                  </a:lnTo>
                  <a:lnTo>
                    <a:pt x="866" y="636"/>
                  </a:lnTo>
                  <a:lnTo>
                    <a:pt x="891" y="665"/>
                  </a:lnTo>
                  <a:lnTo>
                    <a:pt x="865" y="681"/>
                  </a:lnTo>
                  <a:lnTo>
                    <a:pt x="812" y="670"/>
                  </a:lnTo>
                  <a:lnTo>
                    <a:pt x="801" y="646"/>
                  </a:lnTo>
                  <a:lnTo>
                    <a:pt x="784" y="630"/>
                  </a:lnTo>
                  <a:lnTo>
                    <a:pt x="709" y="634"/>
                  </a:lnTo>
                  <a:lnTo>
                    <a:pt x="671" y="615"/>
                  </a:lnTo>
                  <a:lnTo>
                    <a:pt x="580" y="618"/>
                  </a:lnTo>
                  <a:lnTo>
                    <a:pt x="498" y="484"/>
                  </a:lnTo>
                  <a:lnTo>
                    <a:pt x="416" y="465"/>
                  </a:lnTo>
                  <a:lnTo>
                    <a:pt x="399" y="450"/>
                  </a:lnTo>
                  <a:lnTo>
                    <a:pt x="371" y="455"/>
                  </a:lnTo>
                  <a:lnTo>
                    <a:pt x="357" y="479"/>
                  </a:lnTo>
                  <a:lnTo>
                    <a:pt x="52" y="466"/>
                  </a:lnTo>
                  <a:lnTo>
                    <a:pt x="21" y="505"/>
                  </a:lnTo>
                  <a:lnTo>
                    <a:pt x="13" y="530"/>
                  </a:lnTo>
                  <a:lnTo>
                    <a:pt x="109" y="550"/>
                  </a:lnTo>
                  <a:lnTo>
                    <a:pt x="93" y="570"/>
                  </a:lnTo>
                  <a:lnTo>
                    <a:pt x="68" y="564"/>
                  </a:lnTo>
                  <a:lnTo>
                    <a:pt x="40" y="585"/>
                  </a:lnTo>
                  <a:lnTo>
                    <a:pt x="40" y="611"/>
                  </a:lnTo>
                  <a:lnTo>
                    <a:pt x="122" y="630"/>
                  </a:lnTo>
                  <a:lnTo>
                    <a:pt x="100" y="663"/>
                  </a:lnTo>
                  <a:lnTo>
                    <a:pt x="0" y="649"/>
                  </a:lnTo>
                  <a:lnTo>
                    <a:pt x="15" y="680"/>
                  </a:lnTo>
                  <a:lnTo>
                    <a:pt x="68" y="722"/>
                  </a:lnTo>
                  <a:lnTo>
                    <a:pt x="52" y="770"/>
                  </a:lnTo>
                  <a:lnTo>
                    <a:pt x="102" y="795"/>
                  </a:lnTo>
                  <a:lnTo>
                    <a:pt x="109" y="765"/>
                  </a:lnTo>
                  <a:lnTo>
                    <a:pt x="152" y="775"/>
                  </a:lnTo>
                  <a:lnTo>
                    <a:pt x="310" y="919"/>
                  </a:lnTo>
                  <a:lnTo>
                    <a:pt x="316" y="950"/>
                  </a:lnTo>
                  <a:lnTo>
                    <a:pt x="339" y="967"/>
                  </a:lnTo>
                  <a:lnTo>
                    <a:pt x="400" y="964"/>
                  </a:lnTo>
                  <a:lnTo>
                    <a:pt x="430" y="986"/>
                  </a:lnTo>
                  <a:lnTo>
                    <a:pt x="403" y="997"/>
                  </a:lnTo>
                  <a:lnTo>
                    <a:pt x="451" y="1034"/>
                  </a:lnTo>
                  <a:lnTo>
                    <a:pt x="488" y="1023"/>
                  </a:lnTo>
                  <a:lnTo>
                    <a:pt x="500" y="1036"/>
                  </a:lnTo>
                  <a:lnTo>
                    <a:pt x="467" y="1113"/>
                  </a:lnTo>
                  <a:lnTo>
                    <a:pt x="529" y="1148"/>
                  </a:lnTo>
                  <a:lnTo>
                    <a:pt x="603" y="1154"/>
                  </a:lnTo>
                  <a:lnTo>
                    <a:pt x="646" y="1188"/>
                  </a:lnTo>
                  <a:lnTo>
                    <a:pt x="558" y="1191"/>
                  </a:lnTo>
                  <a:lnTo>
                    <a:pt x="551" y="1216"/>
                  </a:lnTo>
                  <a:lnTo>
                    <a:pt x="573" y="1261"/>
                  </a:lnTo>
                  <a:lnTo>
                    <a:pt x="539" y="1292"/>
                  </a:lnTo>
                  <a:lnTo>
                    <a:pt x="520" y="1257"/>
                  </a:lnTo>
                  <a:lnTo>
                    <a:pt x="506" y="1295"/>
                  </a:lnTo>
                  <a:lnTo>
                    <a:pt x="560" y="1423"/>
                  </a:lnTo>
                  <a:lnTo>
                    <a:pt x="560" y="1466"/>
                  </a:lnTo>
                  <a:lnTo>
                    <a:pt x="658" y="1573"/>
                  </a:lnTo>
                  <a:lnTo>
                    <a:pt x="720" y="1612"/>
                  </a:lnTo>
                  <a:lnTo>
                    <a:pt x="697" y="1643"/>
                  </a:lnTo>
                  <a:lnTo>
                    <a:pt x="706" y="1691"/>
                  </a:lnTo>
                  <a:lnTo>
                    <a:pt x="689" y="1755"/>
                  </a:lnTo>
                  <a:lnTo>
                    <a:pt x="647" y="1801"/>
                  </a:lnTo>
                  <a:lnTo>
                    <a:pt x="653" y="1854"/>
                  </a:lnTo>
                  <a:lnTo>
                    <a:pt x="695" y="1901"/>
                  </a:lnTo>
                  <a:lnTo>
                    <a:pt x="718" y="1961"/>
                  </a:lnTo>
                  <a:lnTo>
                    <a:pt x="716" y="2032"/>
                  </a:lnTo>
                  <a:lnTo>
                    <a:pt x="658" y="1903"/>
                  </a:lnTo>
                  <a:lnTo>
                    <a:pt x="632" y="1937"/>
                  </a:lnTo>
                  <a:lnTo>
                    <a:pt x="522" y="2225"/>
                  </a:lnTo>
                  <a:lnTo>
                    <a:pt x="560" y="2194"/>
                  </a:lnTo>
                  <a:lnTo>
                    <a:pt x="567" y="2234"/>
                  </a:lnTo>
                  <a:lnTo>
                    <a:pt x="510" y="2267"/>
                  </a:lnTo>
                  <a:lnTo>
                    <a:pt x="317" y="2663"/>
                  </a:lnTo>
                  <a:lnTo>
                    <a:pt x="255" y="2683"/>
                  </a:lnTo>
                  <a:lnTo>
                    <a:pt x="204" y="2663"/>
                  </a:lnTo>
                  <a:lnTo>
                    <a:pt x="209" y="2689"/>
                  </a:lnTo>
                  <a:lnTo>
                    <a:pt x="333" y="2847"/>
                  </a:lnTo>
                  <a:lnTo>
                    <a:pt x="385" y="2875"/>
                  </a:lnTo>
                  <a:lnTo>
                    <a:pt x="462" y="2967"/>
                  </a:lnTo>
                  <a:lnTo>
                    <a:pt x="757" y="3122"/>
                  </a:lnTo>
                  <a:lnTo>
                    <a:pt x="793" y="3124"/>
                  </a:lnTo>
                  <a:lnTo>
                    <a:pt x="855" y="3101"/>
                  </a:lnTo>
                  <a:lnTo>
                    <a:pt x="900" y="3101"/>
                  </a:lnTo>
                  <a:lnTo>
                    <a:pt x="1004" y="3197"/>
                  </a:lnTo>
                  <a:lnTo>
                    <a:pt x="1071" y="3223"/>
                  </a:lnTo>
                  <a:lnTo>
                    <a:pt x="1140" y="3317"/>
                  </a:lnTo>
                  <a:lnTo>
                    <a:pt x="1177" y="3339"/>
                  </a:lnTo>
                  <a:lnTo>
                    <a:pt x="1504" y="3393"/>
                  </a:lnTo>
                  <a:lnTo>
                    <a:pt x="1523" y="3239"/>
                  </a:lnTo>
                  <a:lnTo>
                    <a:pt x="1508" y="3212"/>
                  </a:lnTo>
                  <a:lnTo>
                    <a:pt x="1537" y="3141"/>
                  </a:lnTo>
                  <a:lnTo>
                    <a:pt x="1580" y="3091"/>
                  </a:lnTo>
                  <a:lnTo>
                    <a:pt x="1753" y="3044"/>
                  </a:lnTo>
                  <a:lnTo>
                    <a:pt x="1785" y="3021"/>
                  </a:lnTo>
                  <a:lnTo>
                    <a:pt x="1839" y="3007"/>
                  </a:lnTo>
                  <a:lnTo>
                    <a:pt x="1865" y="3013"/>
                  </a:lnTo>
                  <a:lnTo>
                    <a:pt x="1882" y="3035"/>
                  </a:lnTo>
                  <a:lnTo>
                    <a:pt x="1957" y="3064"/>
                  </a:lnTo>
                  <a:lnTo>
                    <a:pt x="1970" y="3076"/>
                  </a:lnTo>
                  <a:lnTo>
                    <a:pt x="1979" y="3098"/>
                  </a:lnTo>
                  <a:lnTo>
                    <a:pt x="2064" y="3128"/>
                  </a:lnTo>
                  <a:lnTo>
                    <a:pt x="2076" y="3111"/>
                  </a:lnTo>
                  <a:lnTo>
                    <a:pt x="2123" y="3122"/>
                  </a:lnTo>
                  <a:lnTo>
                    <a:pt x="2135" y="3136"/>
                  </a:lnTo>
                  <a:lnTo>
                    <a:pt x="2174" y="3146"/>
                  </a:lnTo>
                  <a:lnTo>
                    <a:pt x="2203" y="3165"/>
                  </a:lnTo>
                  <a:lnTo>
                    <a:pt x="2206" y="3193"/>
                  </a:lnTo>
                  <a:lnTo>
                    <a:pt x="2224" y="3204"/>
                  </a:lnTo>
                  <a:lnTo>
                    <a:pt x="2283" y="3219"/>
                  </a:lnTo>
                  <a:lnTo>
                    <a:pt x="2322" y="3272"/>
                  </a:lnTo>
                  <a:lnTo>
                    <a:pt x="2402" y="3292"/>
                  </a:lnTo>
                  <a:lnTo>
                    <a:pt x="2534" y="3261"/>
                  </a:lnTo>
                  <a:lnTo>
                    <a:pt x="2549" y="3248"/>
                  </a:lnTo>
                  <a:lnTo>
                    <a:pt x="2557" y="3217"/>
                  </a:lnTo>
                  <a:lnTo>
                    <a:pt x="2714" y="3131"/>
                  </a:lnTo>
                  <a:lnTo>
                    <a:pt x="2723" y="3111"/>
                  </a:lnTo>
                  <a:lnTo>
                    <a:pt x="2827" y="3077"/>
                  </a:lnTo>
                  <a:lnTo>
                    <a:pt x="2836" y="3068"/>
                  </a:lnTo>
                  <a:lnTo>
                    <a:pt x="2836" y="3049"/>
                  </a:lnTo>
                  <a:lnTo>
                    <a:pt x="2851" y="3017"/>
                  </a:lnTo>
                  <a:lnTo>
                    <a:pt x="2856" y="2974"/>
                  </a:lnTo>
                  <a:lnTo>
                    <a:pt x="2847" y="2930"/>
                  </a:lnTo>
                  <a:lnTo>
                    <a:pt x="2723" y="2894"/>
                  </a:lnTo>
                  <a:lnTo>
                    <a:pt x="2700" y="2845"/>
                  </a:lnTo>
                  <a:lnTo>
                    <a:pt x="2700" y="2730"/>
                  </a:lnTo>
                  <a:lnTo>
                    <a:pt x="2717" y="2684"/>
                  </a:lnTo>
                  <a:lnTo>
                    <a:pt x="2721" y="2645"/>
                  </a:lnTo>
                  <a:lnTo>
                    <a:pt x="2681" y="2620"/>
                  </a:lnTo>
                  <a:lnTo>
                    <a:pt x="2676" y="2598"/>
                  </a:lnTo>
                  <a:lnTo>
                    <a:pt x="2677" y="2573"/>
                  </a:lnTo>
                  <a:lnTo>
                    <a:pt x="2693" y="2532"/>
                  </a:lnTo>
                  <a:lnTo>
                    <a:pt x="2725" y="2503"/>
                  </a:lnTo>
                  <a:lnTo>
                    <a:pt x="2787" y="2473"/>
                  </a:lnTo>
                  <a:lnTo>
                    <a:pt x="2749" y="2259"/>
                  </a:lnTo>
                  <a:lnTo>
                    <a:pt x="2756" y="2234"/>
                  </a:lnTo>
                  <a:lnTo>
                    <a:pt x="2807" y="2241"/>
                  </a:lnTo>
                  <a:lnTo>
                    <a:pt x="2802" y="2185"/>
                  </a:lnTo>
                  <a:lnTo>
                    <a:pt x="2767" y="2169"/>
                  </a:lnTo>
                  <a:lnTo>
                    <a:pt x="2779" y="2030"/>
                  </a:lnTo>
                  <a:lnTo>
                    <a:pt x="2766" y="2019"/>
                  </a:lnTo>
                  <a:lnTo>
                    <a:pt x="2679" y="2004"/>
                  </a:lnTo>
                  <a:lnTo>
                    <a:pt x="2611" y="2077"/>
                  </a:lnTo>
                  <a:lnTo>
                    <a:pt x="2575" y="2092"/>
                  </a:lnTo>
                  <a:lnTo>
                    <a:pt x="2559" y="2077"/>
                  </a:lnTo>
                  <a:lnTo>
                    <a:pt x="2613" y="1912"/>
                  </a:lnTo>
                  <a:lnTo>
                    <a:pt x="2637" y="1897"/>
                  </a:lnTo>
                  <a:lnTo>
                    <a:pt x="2661" y="1868"/>
                  </a:lnTo>
                  <a:lnTo>
                    <a:pt x="2698" y="1853"/>
                  </a:lnTo>
                  <a:lnTo>
                    <a:pt x="2708" y="1842"/>
                  </a:lnTo>
                  <a:lnTo>
                    <a:pt x="2729" y="1795"/>
                  </a:lnTo>
                  <a:lnTo>
                    <a:pt x="2898" y="1656"/>
                  </a:lnTo>
                  <a:lnTo>
                    <a:pt x="2884" y="1627"/>
                  </a:lnTo>
                  <a:lnTo>
                    <a:pt x="2911" y="1598"/>
                  </a:lnTo>
                  <a:lnTo>
                    <a:pt x="2993" y="1619"/>
                  </a:lnTo>
                  <a:lnTo>
                    <a:pt x="3028" y="1610"/>
                  </a:lnTo>
                  <a:lnTo>
                    <a:pt x="3067" y="1585"/>
                  </a:lnTo>
                  <a:lnTo>
                    <a:pt x="3062" y="1570"/>
                  </a:lnTo>
                  <a:lnTo>
                    <a:pt x="3088" y="1391"/>
                  </a:lnTo>
                  <a:lnTo>
                    <a:pt x="3166" y="1224"/>
                  </a:lnTo>
                  <a:lnTo>
                    <a:pt x="3266" y="1130"/>
                  </a:lnTo>
                  <a:lnTo>
                    <a:pt x="3285" y="1077"/>
                  </a:lnTo>
                  <a:lnTo>
                    <a:pt x="2960" y="926"/>
                  </a:lnTo>
                  <a:lnTo>
                    <a:pt x="2941" y="873"/>
                  </a:lnTo>
                  <a:lnTo>
                    <a:pt x="2865" y="773"/>
                  </a:lnTo>
                  <a:lnTo>
                    <a:pt x="2808" y="767"/>
                  </a:lnTo>
                  <a:lnTo>
                    <a:pt x="2736" y="731"/>
                  </a:lnTo>
                  <a:lnTo>
                    <a:pt x="2696" y="732"/>
                  </a:lnTo>
                  <a:lnTo>
                    <a:pt x="2648" y="712"/>
                  </a:lnTo>
                  <a:lnTo>
                    <a:pt x="2572" y="632"/>
                  </a:lnTo>
                  <a:lnTo>
                    <a:pt x="2589" y="608"/>
                  </a:lnTo>
                  <a:lnTo>
                    <a:pt x="2569" y="592"/>
                  </a:lnTo>
                  <a:lnTo>
                    <a:pt x="2590" y="486"/>
                  </a:lnTo>
                  <a:lnTo>
                    <a:pt x="2563" y="480"/>
                  </a:lnTo>
                  <a:lnTo>
                    <a:pt x="2499" y="539"/>
                  </a:lnTo>
                  <a:lnTo>
                    <a:pt x="2453" y="528"/>
                  </a:lnTo>
                  <a:lnTo>
                    <a:pt x="2412" y="502"/>
                  </a:lnTo>
                  <a:lnTo>
                    <a:pt x="2414" y="388"/>
                  </a:lnTo>
                  <a:lnTo>
                    <a:pt x="2395" y="358"/>
                  </a:lnTo>
                  <a:lnTo>
                    <a:pt x="2244" y="251"/>
                  </a:lnTo>
                  <a:lnTo>
                    <a:pt x="2224" y="158"/>
                  </a:lnTo>
                  <a:lnTo>
                    <a:pt x="2174" y="152"/>
                  </a:lnTo>
                  <a:lnTo>
                    <a:pt x="2128" y="116"/>
                  </a:lnTo>
                  <a:lnTo>
                    <a:pt x="2144"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8" name="Freeform 158"/>
            <p:cNvSpPr>
              <a:spLocks/>
            </p:cNvSpPr>
            <p:nvPr/>
          </p:nvSpPr>
          <p:spPr bwMode="auto">
            <a:xfrm>
              <a:off x="8146919" y="4809618"/>
              <a:ext cx="361057" cy="316727"/>
            </a:xfrm>
            <a:custGeom>
              <a:avLst/>
              <a:gdLst>
                <a:gd name="T0" fmla="*/ 0 w 888"/>
                <a:gd name="T1" fmla="*/ 0 h 783"/>
                <a:gd name="T2" fmla="*/ 0 w 888"/>
                <a:gd name="T3" fmla="*/ 0 h 783"/>
                <a:gd name="T4" fmla="*/ 0 w 888"/>
                <a:gd name="T5" fmla="*/ 0 h 783"/>
                <a:gd name="T6" fmla="*/ 0 w 888"/>
                <a:gd name="T7" fmla="*/ 0 h 783"/>
                <a:gd name="T8" fmla="*/ 0 w 888"/>
                <a:gd name="T9" fmla="*/ 0 h 783"/>
                <a:gd name="T10" fmla="*/ 0 w 888"/>
                <a:gd name="T11" fmla="*/ 0 h 783"/>
                <a:gd name="T12" fmla="*/ 0 w 888"/>
                <a:gd name="T13" fmla="*/ 0 h 783"/>
                <a:gd name="T14" fmla="*/ 0 w 888"/>
                <a:gd name="T15" fmla="*/ 0 h 783"/>
                <a:gd name="T16" fmla="*/ 0 w 888"/>
                <a:gd name="T17" fmla="*/ 0 h 783"/>
                <a:gd name="T18" fmla="*/ 0 w 888"/>
                <a:gd name="T19" fmla="*/ 0 h 783"/>
                <a:gd name="T20" fmla="*/ 0 w 888"/>
                <a:gd name="T21" fmla="*/ 0 h 783"/>
                <a:gd name="T22" fmla="*/ 0 w 888"/>
                <a:gd name="T23" fmla="*/ 0 h 783"/>
                <a:gd name="T24" fmla="*/ 0 w 888"/>
                <a:gd name="T25" fmla="*/ 0 h 783"/>
                <a:gd name="T26" fmla="*/ 0 w 888"/>
                <a:gd name="T27" fmla="*/ 0 h 783"/>
                <a:gd name="T28" fmla="*/ 0 w 888"/>
                <a:gd name="T29" fmla="*/ 0 h 783"/>
                <a:gd name="T30" fmla="*/ 0 w 888"/>
                <a:gd name="T31" fmla="*/ 0 h 783"/>
                <a:gd name="T32" fmla="*/ 0 w 888"/>
                <a:gd name="T33" fmla="*/ 0 h 783"/>
                <a:gd name="T34" fmla="*/ 0 w 888"/>
                <a:gd name="T35" fmla="*/ 0 h 783"/>
                <a:gd name="T36" fmla="*/ 0 w 888"/>
                <a:gd name="T37" fmla="*/ 0 h 783"/>
                <a:gd name="T38" fmla="*/ 0 w 888"/>
                <a:gd name="T39" fmla="*/ 0 h 783"/>
                <a:gd name="T40" fmla="*/ 0 w 888"/>
                <a:gd name="T41" fmla="*/ 0 h 783"/>
                <a:gd name="T42" fmla="*/ 0 w 888"/>
                <a:gd name="T43" fmla="*/ 0 h 783"/>
                <a:gd name="T44" fmla="*/ 0 w 888"/>
                <a:gd name="T45" fmla="*/ 0 h 783"/>
                <a:gd name="T46" fmla="*/ 0 w 888"/>
                <a:gd name="T47" fmla="*/ 0 h 783"/>
                <a:gd name="T48" fmla="*/ 0 w 888"/>
                <a:gd name="T49" fmla="*/ 0 h 783"/>
                <a:gd name="T50" fmla="*/ 0 w 888"/>
                <a:gd name="T51" fmla="*/ 0 h 783"/>
                <a:gd name="T52" fmla="*/ 0 w 888"/>
                <a:gd name="T53" fmla="*/ 0 h 783"/>
                <a:gd name="T54" fmla="*/ 0 w 888"/>
                <a:gd name="T55" fmla="*/ 0 h 783"/>
                <a:gd name="T56" fmla="*/ 0 w 888"/>
                <a:gd name="T57" fmla="*/ 0 h 783"/>
                <a:gd name="T58" fmla="*/ 0 w 888"/>
                <a:gd name="T59" fmla="*/ 0 h 783"/>
                <a:gd name="T60" fmla="*/ 0 w 888"/>
                <a:gd name="T61" fmla="*/ 0 h 78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88"/>
                <a:gd name="T94" fmla="*/ 0 h 783"/>
                <a:gd name="T95" fmla="*/ 888 w 888"/>
                <a:gd name="T96" fmla="*/ 783 h 78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88" h="783">
                  <a:moveTo>
                    <a:pt x="545" y="16"/>
                  </a:moveTo>
                  <a:lnTo>
                    <a:pt x="502" y="14"/>
                  </a:lnTo>
                  <a:lnTo>
                    <a:pt x="380" y="42"/>
                  </a:lnTo>
                  <a:lnTo>
                    <a:pt x="282" y="0"/>
                  </a:lnTo>
                  <a:lnTo>
                    <a:pt x="102" y="70"/>
                  </a:lnTo>
                  <a:lnTo>
                    <a:pt x="56" y="111"/>
                  </a:lnTo>
                  <a:lnTo>
                    <a:pt x="72" y="142"/>
                  </a:lnTo>
                  <a:lnTo>
                    <a:pt x="125" y="180"/>
                  </a:lnTo>
                  <a:lnTo>
                    <a:pt x="123" y="242"/>
                  </a:lnTo>
                  <a:lnTo>
                    <a:pt x="69" y="293"/>
                  </a:lnTo>
                  <a:lnTo>
                    <a:pt x="52" y="459"/>
                  </a:lnTo>
                  <a:lnTo>
                    <a:pt x="0" y="542"/>
                  </a:lnTo>
                  <a:lnTo>
                    <a:pt x="15" y="564"/>
                  </a:lnTo>
                  <a:lnTo>
                    <a:pt x="56" y="581"/>
                  </a:lnTo>
                  <a:lnTo>
                    <a:pt x="236" y="545"/>
                  </a:lnTo>
                  <a:lnTo>
                    <a:pt x="200" y="587"/>
                  </a:lnTo>
                  <a:lnTo>
                    <a:pt x="65" y="666"/>
                  </a:lnTo>
                  <a:lnTo>
                    <a:pt x="68" y="783"/>
                  </a:lnTo>
                  <a:lnTo>
                    <a:pt x="109" y="760"/>
                  </a:lnTo>
                  <a:lnTo>
                    <a:pt x="142" y="697"/>
                  </a:lnTo>
                  <a:lnTo>
                    <a:pt x="456" y="392"/>
                  </a:lnTo>
                  <a:lnTo>
                    <a:pt x="740" y="350"/>
                  </a:lnTo>
                  <a:lnTo>
                    <a:pt x="785" y="365"/>
                  </a:lnTo>
                  <a:lnTo>
                    <a:pt x="862" y="332"/>
                  </a:lnTo>
                  <a:lnTo>
                    <a:pt x="888" y="282"/>
                  </a:lnTo>
                  <a:lnTo>
                    <a:pt x="880" y="235"/>
                  </a:lnTo>
                  <a:lnTo>
                    <a:pt x="828" y="238"/>
                  </a:lnTo>
                  <a:lnTo>
                    <a:pt x="654" y="189"/>
                  </a:lnTo>
                  <a:lnTo>
                    <a:pt x="564" y="116"/>
                  </a:lnTo>
                  <a:lnTo>
                    <a:pt x="543" y="59"/>
                  </a:lnTo>
                  <a:lnTo>
                    <a:pt x="545" y="1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79" name="Freeform 160"/>
            <p:cNvSpPr>
              <a:spLocks/>
            </p:cNvSpPr>
            <p:nvPr/>
          </p:nvSpPr>
          <p:spPr bwMode="auto">
            <a:xfrm>
              <a:off x="6671205" y="5789164"/>
              <a:ext cx="25190" cy="29365"/>
            </a:xfrm>
            <a:custGeom>
              <a:avLst/>
              <a:gdLst>
                <a:gd name="T0" fmla="*/ 0 w 67"/>
                <a:gd name="T1" fmla="*/ 0 h 74"/>
                <a:gd name="T2" fmla="*/ 0 w 67"/>
                <a:gd name="T3" fmla="*/ 0 h 74"/>
                <a:gd name="T4" fmla="*/ 0 w 67"/>
                <a:gd name="T5" fmla="*/ 0 h 74"/>
                <a:gd name="T6" fmla="*/ 0 w 67"/>
                <a:gd name="T7" fmla="*/ 0 h 74"/>
                <a:gd name="T8" fmla="*/ 0 w 67"/>
                <a:gd name="T9" fmla="*/ 0 h 74"/>
                <a:gd name="T10" fmla="*/ 0 w 67"/>
                <a:gd name="T11" fmla="*/ 0 h 74"/>
                <a:gd name="T12" fmla="*/ 0 w 67"/>
                <a:gd name="T13" fmla="*/ 0 h 74"/>
                <a:gd name="T14" fmla="*/ 0 w 67"/>
                <a:gd name="T15" fmla="*/ 0 h 74"/>
                <a:gd name="T16" fmla="*/ 0 w 67"/>
                <a:gd name="T17" fmla="*/ 0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74"/>
                <a:gd name="T29" fmla="*/ 67 w 67"/>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74">
                  <a:moveTo>
                    <a:pt x="0" y="17"/>
                  </a:moveTo>
                  <a:lnTo>
                    <a:pt x="2" y="0"/>
                  </a:lnTo>
                  <a:lnTo>
                    <a:pt x="40" y="24"/>
                  </a:lnTo>
                  <a:lnTo>
                    <a:pt x="46" y="46"/>
                  </a:lnTo>
                  <a:lnTo>
                    <a:pt x="67" y="61"/>
                  </a:lnTo>
                  <a:lnTo>
                    <a:pt x="58" y="74"/>
                  </a:lnTo>
                  <a:lnTo>
                    <a:pt x="23" y="66"/>
                  </a:lnTo>
                  <a:lnTo>
                    <a:pt x="0" y="31"/>
                  </a:lnTo>
                  <a:lnTo>
                    <a:pt x="0" y="17"/>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0" name="Freeform 161"/>
            <p:cNvSpPr>
              <a:spLocks/>
            </p:cNvSpPr>
            <p:nvPr/>
          </p:nvSpPr>
          <p:spPr bwMode="auto">
            <a:xfrm>
              <a:off x="6671205" y="5789164"/>
              <a:ext cx="25190" cy="29365"/>
            </a:xfrm>
            <a:custGeom>
              <a:avLst/>
              <a:gdLst>
                <a:gd name="T0" fmla="*/ 0 w 67"/>
                <a:gd name="T1" fmla="*/ 0 h 74"/>
                <a:gd name="T2" fmla="*/ 0 w 67"/>
                <a:gd name="T3" fmla="*/ 0 h 74"/>
                <a:gd name="T4" fmla="*/ 0 w 67"/>
                <a:gd name="T5" fmla="*/ 0 h 74"/>
                <a:gd name="T6" fmla="*/ 0 w 67"/>
                <a:gd name="T7" fmla="*/ 0 h 74"/>
                <a:gd name="T8" fmla="*/ 0 w 67"/>
                <a:gd name="T9" fmla="*/ 0 h 74"/>
                <a:gd name="T10" fmla="*/ 0 w 67"/>
                <a:gd name="T11" fmla="*/ 0 h 74"/>
                <a:gd name="T12" fmla="*/ 0 w 67"/>
                <a:gd name="T13" fmla="*/ 0 h 74"/>
                <a:gd name="T14" fmla="*/ 0 w 67"/>
                <a:gd name="T15" fmla="*/ 0 h 74"/>
                <a:gd name="T16" fmla="*/ 0 w 67"/>
                <a:gd name="T17" fmla="*/ 0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74"/>
                <a:gd name="T29" fmla="*/ 67 w 67"/>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74">
                  <a:moveTo>
                    <a:pt x="0" y="17"/>
                  </a:moveTo>
                  <a:lnTo>
                    <a:pt x="2" y="0"/>
                  </a:lnTo>
                  <a:lnTo>
                    <a:pt x="40" y="24"/>
                  </a:lnTo>
                  <a:lnTo>
                    <a:pt x="46" y="46"/>
                  </a:lnTo>
                  <a:lnTo>
                    <a:pt x="67" y="61"/>
                  </a:lnTo>
                  <a:lnTo>
                    <a:pt x="58" y="74"/>
                  </a:lnTo>
                  <a:lnTo>
                    <a:pt x="23" y="66"/>
                  </a:lnTo>
                  <a:lnTo>
                    <a:pt x="0" y="31"/>
                  </a:lnTo>
                  <a:lnTo>
                    <a:pt x="0" y="17"/>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1" name="Freeform 162"/>
            <p:cNvSpPr>
              <a:spLocks/>
            </p:cNvSpPr>
            <p:nvPr/>
          </p:nvSpPr>
          <p:spPr bwMode="auto">
            <a:xfrm>
              <a:off x="7223286" y="4174067"/>
              <a:ext cx="516395" cy="696380"/>
            </a:xfrm>
            <a:custGeom>
              <a:avLst/>
              <a:gdLst>
                <a:gd name="T0" fmla="*/ 0 w 1276"/>
                <a:gd name="T1" fmla="*/ 0 h 1716"/>
                <a:gd name="T2" fmla="*/ 0 w 1276"/>
                <a:gd name="T3" fmla="*/ 0 h 1716"/>
                <a:gd name="T4" fmla="*/ 0 w 1276"/>
                <a:gd name="T5" fmla="*/ 0 h 1716"/>
                <a:gd name="T6" fmla="*/ 0 w 1276"/>
                <a:gd name="T7" fmla="*/ 0 h 1716"/>
                <a:gd name="T8" fmla="*/ 0 w 1276"/>
                <a:gd name="T9" fmla="*/ 0 h 1716"/>
                <a:gd name="T10" fmla="*/ 0 w 1276"/>
                <a:gd name="T11" fmla="*/ 0 h 1716"/>
                <a:gd name="T12" fmla="*/ 0 w 1276"/>
                <a:gd name="T13" fmla="*/ 0 h 1716"/>
                <a:gd name="T14" fmla="*/ 0 w 1276"/>
                <a:gd name="T15" fmla="*/ 0 h 1716"/>
                <a:gd name="T16" fmla="*/ 0 w 1276"/>
                <a:gd name="T17" fmla="*/ 0 h 1716"/>
                <a:gd name="T18" fmla="*/ 0 w 1276"/>
                <a:gd name="T19" fmla="*/ 0 h 1716"/>
                <a:gd name="T20" fmla="*/ 0 w 1276"/>
                <a:gd name="T21" fmla="*/ 0 h 1716"/>
                <a:gd name="T22" fmla="*/ 0 w 1276"/>
                <a:gd name="T23" fmla="*/ 0 h 1716"/>
                <a:gd name="T24" fmla="*/ 0 w 1276"/>
                <a:gd name="T25" fmla="*/ 0 h 1716"/>
                <a:gd name="T26" fmla="*/ 0 w 1276"/>
                <a:gd name="T27" fmla="*/ 0 h 1716"/>
                <a:gd name="T28" fmla="*/ 0 w 1276"/>
                <a:gd name="T29" fmla="*/ 0 h 1716"/>
                <a:gd name="T30" fmla="*/ 0 w 1276"/>
                <a:gd name="T31" fmla="*/ 0 h 1716"/>
                <a:gd name="T32" fmla="*/ 0 w 1276"/>
                <a:gd name="T33" fmla="*/ 0 h 1716"/>
                <a:gd name="T34" fmla="*/ 0 w 1276"/>
                <a:gd name="T35" fmla="*/ 0 h 1716"/>
                <a:gd name="T36" fmla="*/ 0 w 1276"/>
                <a:gd name="T37" fmla="*/ 0 h 1716"/>
                <a:gd name="T38" fmla="*/ 0 w 1276"/>
                <a:gd name="T39" fmla="*/ 0 h 1716"/>
                <a:gd name="T40" fmla="*/ 0 w 1276"/>
                <a:gd name="T41" fmla="*/ 0 h 1716"/>
                <a:gd name="T42" fmla="*/ 0 w 1276"/>
                <a:gd name="T43" fmla="*/ 0 h 1716"/>
                <a:gd name="T44" fmla="*/ 0 w 1276"/>
                <a:gd name="T45" fmla="*/ 0 h 1716"/>
                <a:gd name="T46" fmla="*/ 0 w 1276"/>
                <a:gd name="T47" fmla="*/ 0 h 1716"/>
                <a:gd name="T48" fmla="*/ 0 w 1276"/>
                <a:gd name="T49" fmla="*/ 0 h 1716"/>
                <a:gd name="T50" fmla="*/ 0 w 1276"/>
                <a:gd name="T51" fmla="*/ 0 h 1716"/>
                <a:gd name="T52" fmla="*/ 0 w 1276"/>
                <a:gd name="T53" fmla="*/ 0 h 1716"/>
                <a:gd name="T54" fmla="*/ 0 w 1276"/>
                <a:gd name="T55" fmla="*/ 0 h 1716"/>
                <a:gd name="T56" fmla="*/ 0 w 1276"/>
                <a:gd name="T57" fmla="*/ 0 h 1716"/>
                <a:gd name="T58" fmla="*/ 0 w 1276"/>
                <a:gd name="T59" fmla="*/ 0 h 1716"/>
                <a:gd name="T60" fmla="*/ 0 w 1276"/>
                <a:gd name="T61" fmla="*/ 0 h 1716"/>
                <a:gd name="T62" fmla="*/ 0 w 1276"/>
                <a:gd name="T63" fmla="*/ 0 h 1716"/>
                <a:gd name="T64" fmla="*/ 0 w 1276"/>
                <a:gd name="T65" fmla="*/ 0 h 1716"/>
                <a:gd name="T66" fmla="*/ 0 w 1276"/>
                <a:gd name="T67" fmla="*/ 0 h 1716"/>
                <a:gd name="T68" fmla="*/ 0 w 1276"/>
                <a:gd name="T69" fmla="*/ 0 h 1716"/>
                <a:gd name="T70" fmla="*/ 0 w 1276"/>
                <a:gd name="T71" fmla="*/ 0 h 1716"/>
                <a:gd name="T72" fmla="*/ 0 w 1276"/>
                <a:gd name="T73" fmla="*/ 0 h 1716"/>
                <a:gd name="T74" fmla="*/ 0 w 1276"/>
                <a:gd name="T75" fmla="*/ 0 h 1716"/>
                <a:gd name="T76" fmla="*/ 0 w 1276"/>
                <a:gd name="T77" fmla="*/ 0 h 1716"/>
                <a:gd name="T78" fmla="*/ 0 w 1276"/>
                <a:gd name="T79" fmla="*/ 0 h 1716"/>
                <a:gd name="T80" fmla="*/ 0 w 1276"/>
                <a:gd name="T81" fmla="*/ 0 h 1716"/>
                <a:gd name="T82" fmla="*/ 0 w 1276"/>
                <a:gd name="T83" fmla="*/ 0 h 1716"/>
                <a:gd name="T84" fmla="*/ 0 w 1276"/>
                <a:gd name="T85" fmla="*/ 0 h 1716"/>
                <a:gd name="T86" fmla="*/ 0 w 1276"/>
                <a:gd name="T87" fmla="*/ 0 h 1716"/>
                <a:gd name="T88" fmla="*/ 0 w 1276"/>
                <a:gd name="T89" fmla="*/ 0 h 1716"/>
                <a:gd name="T90" fmla="*/ 0 w 1276"/>
                <a:gd name="T91" fmla="*/ 0 h 1716"/>
                <a:gd name="T92" fmla="*/ 0 w 1276"/>
                <a:gd name="T93" fmla="*/ 0 h 1716"/>
                <a:gd name="T94" fmla="*/ 0 w 1276"/>
                <a:gd name="T95" fmla="*/ 0 h 1716"/>
                <a:gd name="T96" fmla="*/ 0 w 1276"/>
                <a:gd name="T97" fmla="*/ 0 h 1716"/>
                <a:gd name="T98" fmla="*/ 0 w 1276"/>
                <a:gd name="T99" fmla="*/ 0 h 1716"/>
                <a:gd name="T100" fmla="*/ 0 w 1276"/>
                <a:gd name="T101" fmla="*/ 0 h 1716"/>
                <a:gd name="T102" fmla="*/ 0 w 1276"/>
                <a:gd name="T103" fmla="*/ 0 h 17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76"/>
                <a:gd name="T157" fmla="*/ 0 h 1716"/>
                <a:gd name="T158" fmla="*/ 1276 w 1276"/>
                <a:gd name="T159" fmla="*/ 1716 h 17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76" h="1716">
                  <a:moveTo>
                    <a:pt x="98" y="110"/>
                  </a:moveTo>
                  <a:lnTo>
                    <a:pt x="136" y="147"/>
                  </a:lnTo>
                  <a:lnTo>
                    <a:pt x="139" y="164"/>
                  </a:lnTo>
                  <a:lnTo>
                    <a:pt x="131" y="176"/>
                  </a:lnTo>
                  <a:lnTo>
                    <a:pt x="143" y="187"/>
                  </a:lnTo>
                  <a:lnTo>
                    <a:pt x="145" y="204"/>
                  </a:lnTo>
                  <a:lnTo>
                    <a:pt x="129" y="223"/>
                  </a:lnTo>
                  <a:lnTo>
                    <a:pt x="132" y="236"/>
                  </a:lnTo>
                  <a:lnTo>
                    <a:pt x="148" y="245"/>
                  </a:lnTo>
                  <a:lnTo>
                    <a:pt x="160" y="234"/>
                  </a:lnTo>
                  <a:lnTo>
                    <a:pt x="169" y="234"/>
                  </a:lnTo>
                  <a:lnTo>
                    <a:pt x="184" y="246"/>
                  </a:lnTo>
                  <a:lnTo>
                    <a:pt x="184" y="253"/>
                  </a:lnTo>
                  <a:lnTo>
                    <a:pt x="175" y="261"/>
                  </a:lnTo>
                  <a:lnTo>
                    <a:pt x="164" y="261"/>
                  </a:lnTo>
                  <a:lnTo>
                    <a:pt x="161" y="274"/>
                  </a:lnTo>
                  <a:lnTo>
                    <a:pt x="167" y="285"/>
                  </a:lnTo>
                  <a:lnTo>
                    <a:pt x="160" y="308"/>
                  </a:lnTo>
                  <a:lnTo>
                    <a:pt x="167" y="317"/>
                  </a:lnTo>
                  <a:lnTo>
                    <a:pt x="186" y="317"/>
                  </a:lnTo>
                  <a:lnTo>
                    <a:pt x="209" y="340"/>
                  </a:lnTo>
                  <a:lnTo>
                    <a:pt x="233" y="339"/>
                  </a:lnTo>
                  <a:lnTo>
                    <a:pt x="251" y="348"/>
                  </a:lnTo>
                  <a:lnTo>
                    <a:pt x="272" y="347"/>
                  </a:lnTo>
                  <a:lnTo>
                    <a:pt x="284" y="353"/>
                  </a:lnTo>
                  <a:lnTo>
                    <a:pt x="286" y="363"/>
                  </a:lnTo>
                  <a:lnTo>
                    <a:pt x="267" y="374"/>
                  </a:lnTo>
                  <a:lnTo>
                    <a:pt x="229" y="365"/>
                  </a:lnTo>
                  <a:lnTo>
                    <a:pt x="218" y="367"/>
                  </a:lnTo>
                  <a:lnTo>
                    <a:pt x="212" y="391"/>
                  </a:lnTo>
                  <a:lnTo>
                    <a:pt x="199" y="406"/>
                  </a:lnTo>
                  <a:lnTo>
                    <a:pt x="206" y="454"/>
                  </a:lnTo>
                  <a:lnTo>
                    <a:pt x="216" y="462"/>
                  </a:lnTo>
                  <a:lnTo>
                    <a:pt x="211" y="485"/>
                  </a:lnTo>
                  <a:lnTo>
                    <a:pt x="271" y="491"/>
                  </a:lnTo>
                  <a:lnTo>
                    <a:pt x="284" y="506"/>
                  </a:lnTo>
                  <a:lnTo>
                    <a:pt x="274" y="523"/>
                  </a:lnTo>
                  <a:lnTo>
                    <a:pt x="274" y="545"/>
                  </a:lnTo>
                  <a:lnTo>
                    <a:pt x="224" y="637"/>
                  </a:lnTo>
                  <a:lnTo>
                    <a:pt x="213" y="644"/>
                  </a:lnTo>
                  <a:lnTo>
                    <a:pt x="213" y="659"/>
                  </a:lnTo>
                  <a:lnTo>
                    <a:pt x="220" y="669"/>
                  </a:lnTo>
                  <a:lnTo>
                    <a:pt x="202" y="696"/>
                  </a:lnTo>
                  <a:lnTo>
                    <a:pt x="213" y="730"/>
                  </a:lnTo>
                  <a:lnTo>
                    <a:pt x="230" y="734"/>
                  </a:lnTo>
                  <a:lnTo>
                    <a:pt x="243" y="744"/>
                  </a:lnTo>
                  <a:lnTo>
                    <a:pt x="263" y="739"/>
                  </a:lnTo>
                  <a:lnTo>
                    <a:pt x="271" y="754"/>
                  </a:lnTo>
                  <a:lnTo>
                    <a:pt x="275" y="771"/>
                  </a:lnTo>
                  <a:lnTo>
                    <a:pt x="296" y="793"/>
                  </a:lnTo>
                  <a:lnTo>
                    <a:pt x="310" y="791"/>
                  </a:lnTo>
                  <a:lnTo>
                    <a:pt x="316" y="797"/>
                  </a:lnTo>
                  <a:lnTo>
                    <a:pt x="315" y="810"/>
                  </a:lnTo>
                  <a:lnTo>
                    <a:pt x="336" y="824"/>
                  </a:lnTo>
                  <a:lnTo>
                    <a:pt x="349" y="826"/>
                  </a:lnTo>
                  <a:lnTo>
                    <a:pt x="351" y="843"/>
                  </a:lnTo>
                  <a:lnTo>
                    <a:pt x="329" y="865"/>
                  </a:lnTo>
                  <a:lnTo>
                    <a:pt x="288" y="866"/>
                  </a:lnTo>
                  <a:lnTo>
                    <a:pt x="263" y="850"/>
                  </a:lnTo>
                  <a:lnTo>
                    <a:pt x="249" y="850"/>
                  </a:lnTo>
                  <a:lnTo>
                    <a:pt x="243" y="857"/>
                  </a:lnTo>
                  <a:lnTo>
                    <a:pt x="313" y="950"/>
                  </a:lnTo>
                  <a:lnTo>
                    <a:pt x="323" y="956"/>
                  </a:lnTo>
                  <a:lnTo>
                    <a:pt x="320" y="995"/>
                  </a:lnTo>
                  <a:lnTo>
                    <a:pt x="314" y="1010"/>
                  </a:lnTo>
                  <a:lnTo>
                    <a:pt x="298" y="1017"/>
                  </a:lnTo>
                  <a:lnTo>
                    <a:pt x="286" y="1005"/>
                  </a:lnTo>
                  <a:lnTo>
                    <a:pt x="273" y="1004"/>
                  </a:lnTo>
                  <a:lnTo>
                    <a:pt x="259" y="1025"/>
                  </a:lnTo>
                  <a:lnTo>
                    <a:pt x="236" y="1037"/>
                  </a:lnTo>
                  <a:lnTo>
                    <a:pt x="215" y="1037"/>
                  </a:lnTo>
                  <a:lnTo>
                    <a:pt x="204" y="1045"/>
                  </a:lnTo>
                  <a:lnTo>
                    <a:pt x="191" y="1044"/>
                  </a:lnTo>
                  <a:lnTo>
                    <a:pt x="185" y="1030"/>
                  </a:lnTo>
                  <a:lnTo>
                    <a:pt x="167" y="1031"/>
                  </a:lnTo>
                  <a:lnTo>
                    <a:pt x="151" y="1048"/>
                  </a:lnTo>
                  <a:lnTo>
                    <a:pt x="158" y="1063"/>
                  </a:lnTo>
                  <a:lnTo>
                    <a:pt x="176" y="1072"/>
                  </a:lnTo>
                  <a:lnTo>
                    <a:pt x="180" y="1098"/>
                  </a:lnTo>
                  <a:lnTo>
                    <a:pt x="191" y="1113"/>
                  </a:lnTo>
                  <a:lnTo>
                    <a:pt x="191" y="1143"/>
                  </a:lnTo>
                  <a:lnTo>
                    <a:pt x="184" y="1154"/>
                  </a:lnTo>
                  <a:lnTo>
                    <a:pt x="170" y="1152"/>
                  </a:lnTo>
                  <a:lnTo>
                    <a:pt x="162" y="1143"/>
                  </a:lnTo>
                  <a:lnTo>
                    <a:pt x="155" y="1114"/>
                  </a:lnTo>
                  <a:lnTo>
                    <a:pt x="146" y="1106"/>
                  </a:lnTo>
                  <a:lnTo>
                    <a:pt x="122" y="1106"/>
                  </a:lnTo>
                  <a:lnTo>
                    <a:pt x="77" y="1146"/>
                  </a:lnTo>
                  <a:lnTo>
                    <a:pt x="70" y="1172"/>
                  </a:lnTo>
                  <a:lnTo>
                    <a:pt x="61" y="1183"/>
                  </a:lnTo>
                  <a:lnTo>
                    <a:pt x="61" y="1223"/>
                  </a:lnTo>
                  <a:lnTo>
                    <a:pt x="49" y="1234"/>
                  </a:lnTo>
                  <a:lnTo>
                    <a:pt x="26" y="1234"/>
                  </a:lnTo>
                  <a:lnTo>
                    <a:pt x="11" y="1250"/>
                  </a:lnTo>
                  <a:lnTo>
                    <a:pt x="8" y="1298"/>
                  </a:lnTo>
                  <a:lnTo>
                    <a:pt x="2" y="1302"/>
                  </a:lnTo>
                  <a:lnTo>
                    <a:pt x="3" y="1318"/>
                  </a:lnTo>
                  <a:lnTo>
                    <a:pt x="31" y="1360"/>
                  </a:lnTo>
                  <a:lnTo>
                    <a:pt x="30" y="1383"/>
                  </a:lnTo>
                  <a:lnTo>
                    <a:pt x="2" y="1424"/>
                  </a:lnTo>
                  <a:lnTo>
                    <a:pt x="0" y="1464"/>
                  </a:lnTo>
                  <a:lnTo>
                    <a:pt x="191" y="1621"/>
                  </a:lnTo>
                  <a:lnTo>
                    <a:pt x="222" y="1693"/>
                  </a:lnTo>
                  <a:lnTo>
                    <a:pt x="251" y="1716"/>
                  </a:lnTo>
                  <a:lnTo>
                    <a:pt x="281" y="1631"/>
                  </a:lnTo>
                  <a:lnTo>
                    <a:pt x="272" y="1573"/>
                  </a:lnTo>
                  <a:lnTo>
                    <a:pt x="295" y="1496"/>
                  </a:lnTo>
                  <a:lnTo>
                    <a:pt x="335" y="1464"/>
                  </a:lnTo>
                  <a:lnTo>
                    <a:pt x="369" y="1413"/>
                  </a:lnTo>
                  <a:lnTo>
                    <a:pt x="409" y="1453"/>
                  </a:lnTo>
                  <a:lnTo>
                    <a:pt x="485" y="1461"/>
                  </a:lnTo>
                  <a:lnTo>
                    <a:pt x="518" y="1522"/>
                  </a:lnTo>
                  <a:lnTo>
                    <a:pt x="572" y="1544"/>
                  </a:lnTo>
                  <a:lnTo>
                    <a:pt x="635" y="1628"/>
                  </a:lnTo>
                  <a:lnTo>
                    <a:pt x="646" y="1637"/>
                  </a:lnTo>
                  <a:lnTo>
                    <a:pt x="667" y="1638"/>
                  </a:lnTo>
                  <a:lnTo>
                    <a:pt x="687" y="1623"/>
                  </a:lnTo>
                  <a:lnTo>
                    <a:pt x="692" y="1576"/>
                  </a:lnTo>
                  <a:lnTo>
                    <a:pt x="781" y="1547"/>
                  </a:lnTo>
                  <a:lnTo>
                    <a:pt x="799" y="1550"/>
                  </a:lnTo>
                  <a:lnTo>
                    <a:pt x="832" y="1587"/>
                  </a:lnTo>
                  <a:lnTo>
                    <a:pt x="846" y="1585"/>
                  </a:lnTo>
                  <a:lnTo>
                    <a:pt x="847" y="1563"/>
                  </a:lnTo>
                  <a:lnTo>
                    <a:pt x="888" y="1537"/>
                  </a:lnTo>
                  <a:lnTo>
                    <a:pt x="973" y="1552"/>
                  </a:lnTo>
                  <a:lnTo>
                    <a:pt x="992" y="1529"/>
                  </a:lnTo>
                  <a:lnTo>
                    <a:pt x="1072" y="1542"/>
                  </a:lnTo>
                  <a:lnTo>
                    <a:pt x="1127" y="1533"/>
                  </a:lnTo>
                  <a:lnTo>
                    <a:pt x="1161" y="1547"/>
                  </a:lnTo>
                  <a:lnTo>
                    <a:pt x="1158" y="1419"/>
                  </a:lnTo>
                  <a:lnTo>
                    <a:pt x="1218" y="1282"/>
                  </a:lnTo>
                  <a:lnTo>
                    <a:pt x="1276" y="1220"/>
                  </a:lnTo>
                  <a:lnTo>
                    <a:pt x="1146" y="1059"/>
                  </a:lnTo>
                  <a:lnTo>
                    <a:pt x="1144" y="839"/>
                  </a:lnTo>
                  <a:lnTo>
                    <a:pt x="1229" y="796"/>
                  </a:lnTo>
                  <a:lnTo>
                    <a:pt x="1180" y="785"/>
                  </a:lnTo>
                  <a:lnTo>
                    <a:pt x="1136" y="702"/>
                  </a:lnTo>
                  <a:lnTo>
                    <a:pt x="1187" y="645"/>
                  </a:lnTo>
                  <a:lnTo>
                    <a:pt x="1148" y="589"/>
                  </a:lnTo>
                  <a:lnTo>
                    <a:pt x="1090" y="638"/>
                  </a:lnTo>
                  <a:lnTo>
                    <a:pt x="943" y="589"/>
                  </a:lnTo>
                  <a:lnTo>
                    <a:pt x="864" y="529"/>
                  </a:lnTo>
                  <a:lnTo>
                    <a:pt x="843" y="404"/>
                  </a:lnTo>
                  <a:lnTo>
                    <a:pt x="803" y="377"/>
                  </a:lnTo>
                  <a:lnTo>
                    <a:pt x="747" y="366"/>
                  </a:lnTo>
                  <a:lnTo>
                    <a:pt x="701" y="299"/>
                  </a:lnTo>
                  <a:lnTo>
                    <a:pt x="648" y="148"/>
                  </a:lnTo>
                  <a:lnTo>
                    <a:pt x="595" y="86"/>
                  </a:lnTo>
                  <a:lnTo>
                    <a:pt x="498" y="35"/>
                  </a:lnTo>
                  <a:lnTo>
                    <a:pt x="474" y="0"/>
                  </a:lnTo>
                  <a:lnTo>
                    <a:pt x="413" y="20"/>
                  </a:lnTo>
                  <a:lnTo>
                    <a:pt x="353" y="24"/>
                  </a:lnTo>
                  <a:lnTo>
                    <a:pt x="273" y="75"/>
                  </a:lnTo>
                  <a:lnTo>
                    <a:pt x="201" y="77"/>
                  </a:lnTo>
                  <a:lnTo>
                    <a:pt x="168" y="104"/>
                  </a:lnTo>
                  <a:lnTo>
                    <a:pt x="98" y="11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2" name="Freeform 164"/>
            <p:cNvSpPr>
              <a:spLocks/>
            </p:cNvSpPr>
            <p:nvPr/>
          </p:nvSpPr>
          <p:spPr bwMode="auto">
            <a:xfrm>
              <a:off x="7363930" y="2657553"/>
              <a:ext cx="306478" cy="224436"/>
            </a:xfrm>
            <a:custGeom>
              <a:avLst/>
              <a:gdLst>
                <a:gd name="T0" fmla="*/ 0 w 751"/>
                <a:gd name="T1" fmla="*/ 0 h 556"/>
                <a:gd name="T2" fmla="*/ 0 w 751"/>
                <a:gd name="T3" fmla="*/ 0 h 556"/>
                <a:gd name="T4" fmla="*/ 0 w 751"/>
                <a:gd name="T5" fmla="*/ 0 h 556"/>
                <a:gd name="T6" fmla="*/ 0 w 751"/>
                <a:gd name="T7" fmla="*/ 0 h 556"/>
                <a:gd name="T8" fmla="*/ 0 w 751"/>
                <a:gd name="T9" fmla="*/ 0 h 556"/>
                <a:gd name="T10" fmla="*/ 0 w 751"/>
                <a:gd name="T11" fmla="*/ 0 h 556"/>
                <a:gd name="T12" fmla="*/ 0 w 751"/>
                <a:gd name="T13" fmla="*/ 0 h 556"/>
                <a:gd name="T14" fmla="*/ 0 w 751"/>
                <a:gd name="T15" fmla="*/ 0 h 556"/>
                <a:gd name="T16" fmla="*/ 0 w 751"/>
                <a:gd name="T17" fmla="*/ 0 h 556"/>
                <a:gd name="T18" fmla="*/ 0 w 751"/>
                <a:gd name="T19" fmla="*/ 0 h 556"/>
                <a:gd name="T20" fmla="*/ 0 w 751"/>
                <a:gd name="T21" fmla="*/ 0 h 556"/>
                <a:gd name="T22" fmla="*/ 0 w 751"/>
                <a:gd name="T23" fmla="*/ 0 h 556"/>
                <a:gd name="T24" fmla="*/ 0 w 751"/>
                <a:gd name="T25" fmla="*/ 0 h 556"/>
                <a:gd name="T26" fmla="*/ 0 w 751"/>
                <a:gd name="T27" fmla="*/ 0 h 556"/>
                <a:gd name="T28" fmla="*/ 0 w 751"/>
                <a:gd name="T29" fmla="*/ 0 h 556"/>
                <a:gd name="T30" fmla="*/ 0 w 751"/>
                <a:gd name="T31" fmla="*/ 0 h 556"/>
                <a:gd name="T32" fmla="*/ 0 w 751"/>
                <a:gd name="T33" fmla="*/ 0 h 556"/>
                <a:gd name="T34" fmla="*/ 0 w 751"/>
                <a:gd name="T35" fmla="*/ 0 h 556"/>
                <a:gd name="T36" fmla="*/ 0 w 751"/>
                <a:gd name="T37" fmla="*/ 0 h 556"/>
                <a:gd name="T38" fmla="*/ 0 w 751"/>
                <a:gd name="T39" fmla="*/ 0 h 556"/>
                <a:gd name="T40" fmla="*/ 0 w 751"/>
                <a:gd name="T41" fmla="*/ 0 h 556"/>
                <a:gd name="T42" fmla="*/ 0 w 751"/>
                <a:gd name="T43" fmla="*/ 0 h 556"/>
                <a:gd name="T44" fmla="*/ 0 w 751"/>
                <a:gd name="T45" fmla="*/ 0 h 556"/>
                <a:gd name="T46" fmla="*/ 0 w 751"/>
                <a:gd name="T47" fmla="*/ 0 h 556"/>
                <a:gd name="T48" fmla="*/ 0 w 751"/>
                <a:gd name="T49" fmla="*/ 0 h 556"/>
                <a:gd name="T50" fmla="*/ 0 w 751"/>
                <a:gd name="T51" fmla="*/ 0 h 556"/>
                <a:gd name="T52" fmla="*/ 0 w 751"/>
                <a:gd name="T53" fmla="*/ 0 h 556"/>
                <a:gd name="T54" fmla="*/ 0 w 751"/>
                <a:gd name="T55" fmla="*/ 0 h 556"/>
                <a:gd name="T56" fmla="*/ 0 w 751"/>
                <a:gd name="T57" fmla="*/ 0 h 556"/>
                <a:gd name="T58" fmla="*/ 0 w 751"/>
                <a:gd name="T59" fmla="*/ 0 h 5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51"/>
                <a:gd name="T91" fmla="*/ 0 h 556"/>
                <a:gd name="T92" fmla="*/ 751 w 751"/>
                <a:gd name="T93" fmla="*/ 556 h 5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51" h="556">
                  <a:moveTo>
                    <a:pt x="0" y="491"/>
                  </a:moveTo>
                  <a:lnTo>
                    <a:pt x="9" y="479"/>
                  </a:lnTo>
                  <a:lnTo>
                    <a:pt x="48" y="447"/>
                  </a:lnTo>
                  <a:lnTo>
                    <a:pt x="82" y="366"/>
                  </a:lnTo>
                  <a:lnTo>
                    <a:pt x="84" y="316"/>
                  </a:lnTo>
                  <a:lnTo>
                    <a:pt x="104" y="294"/>
                  </a:lnTo>
                  <a:lnTo>
                    <a:pt x="192" y="288"/>
                  </a:lnTo>
                  <a:lnTo>
                    <a:pt x="318" y="135"/>
                  </a:lnTo>
                  <a:lnTo>
                    <a:pt x="343" y="0"/>
                  </a:lnTo>
                  <a:lnTo>
                    <a:pt x="328" y="115"/>
                  </a:lnTo>
                  <a:lnTo>
                    <a:pt x="237" y="266"/>
                  </a:lnTo>
                  <a:lnTo>
                    <a:pt x="252" y="297"/>
                  </a:lnTo>
                  <a:lnTo>
                    <a:pt x="280" y="293"/>
                  </a:lnTo>
                  <a:lnTo>
                    <a:pt x="315" y="310"/>
                  </a:lnTo>
                  <a:lnTo>
                    <a:pt x="362" y="309"/>
                  </a:lnTo>
                  <a:lnTo>
                    <a:pt x="368" y="206"/>
                  </a:lnTo>
                  <a:lnTo>
                    <a:pt x="383" y="186"/>
                  </a:lnTo>
                  <a:lnTo>
                    <a:pt x="386" y="169"/>
                  </a:lnTo>
                  <a:lnTo>
                    <a:pt x="426" y="156"/>
                  </a:lnTo>
                  <a:lnTo>
                    <a:pt x="451" y="179"/>
                  </a:lnTo>
                  <a:lnTo>
                    <a:pt x="483" y="187"/>
                  </a:lnTo>
                  <a:lnTo>
                    <a:pt x="509" y="208"/>
                  </a:lnTo>
                  <a:lnTo>
                    <a:pt x="607" y="228"/>
                  </a:lnTo>
                  <a:lnTo>
                    <a:pt x="674" y="220"/>
                  </a:lnTo>
                  <a:lnTo>
                    <a:pt x="702" y="237"/>
                  </a:lnTo>
                  <a:lnTo>
                    <a:pt x="751" y="328"/>
                  </a:lnTo>
                  <a:lnTo>
                    <a:pt x="729" y="393"/>
                  </a:lnTo>
                  <a:lnTo>
                    <a:pt x="743" y="506"/>
                  </a:lnTo>
                  <a:lnTo>
                    <a:pt x="329" y="556"/>
                  </a:lnTo>
                  <a:lnTo>
                    <a:pt x="0" y="49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3" name="Freeform 165"/>
            <p:cNvSpPr>
              <a:spLocks/>
            </p:cNvSpPr>
            <p:nvPr/>
          </p:nvSpPr>
          <p:spPr bwMode="auto">
            <a:xfrm>
              <a:off x="7363930" y="2657553"/>
              <a:ext cx="306478" cy="224436"/>
            </a:xfrm>
            <a:custGeom>
              <a:avLst/>
              <a:gdLst>
                <a:gd name="T0" fmla="*/ 0 w 751"/>
                <a:gd name="T1" fmla="*/ 0 h 556"/>
                <a:gd name="T2" fmla="*/ 0 w 751"/>
                <a:gd name="T3" fmla="*/ 0 h 556"/>
                <a:gd name="T4" fmla="*/ 0 w 751"/>
                <a:gd name="T5" fmla="*/ 0 h 556"/>
                <a:gd name="T6" fmla="*/ 0 w 751"/>
                <a:gd name="T7" fmla="*/ 0 h 556"/>
                <a:gd name="T8" fmla="*/ 0 w 751"/>
                <a:gd name="T9" fmla="*/ 0 h 556"/>
                <a:gd name="T10" fmla="*/ 0 w 751"/>
                <a:gd name="T11" fmla="*/ 0 h 556"/>
                <a:gd name="T12" fmla="*/ 0 w 751"/>
                <a:gd name="T13" fmla="*/ 0 h 556"/>
                <a:gd name="T14" fmla="*/ 0 w 751"/>
                <a:gd name="T15" fmla="*/ 0 h 556"/>
                <a:gd name="T16" fmla="*/ 0 w 751"/>
                <a:gd name="T17" fmla="*/ 0 h 556"/>
                <a:gd name="T18" fmla="*/ 0 w 751"/>
                <a:gd name="T19" fmla="*/ 0 h 556"/>
                <a:gd name="T20" fmla="*/ 0 w 751"/>
                <a:gd name="T21" fmla="*/ 0 h 556"/>
                <a:gd name="T22" fmla="*/ 0 w 751"/>
                <a:gd name="T23" fmla="*/ 0 h 556"/>
                <a:gd name="T24" fmla="*/ 0 w 751"/>
                <a:gd name="T25" fmla="*/ 0 h 556"/>
                <a:gd name="T26" fmla="*/ 0 w 751"/>
                <a:gd name="T27" fmla="*/ 0 h 556"/>
                <a:gd name="T28" fmla="*/ 0 w 751"/>
                <a:gd name="T29" fmla="*/ 0 h 556"/>
                <a:gd name="T30" fmla="*/ 0 w 751"/>
                <a:gd name="T31" fmla="*/ 0 h 556"/>
                <a:gd name="T32" fmla="*/ 0 w 751"/>
                <a:gd name="T33" fmla="*/ 0 h 556"/>
                <a:gd name="T34" fmla="*/ 0 w 751"/>
                <a:gd name="T35" fmla="*/ 0 h 556"/>
                <a:gd name="T36" fmla="*/ 0 w 751"/>
                <a:gd name="T37" fmla="*/ 0 h 556"/>
                <a:gd name="T38" fmla="*/ 0 w 751"/>
                <a:gd name="T39" fmla="*/ 0 h 556"/>
                <a:gd name="T40" fmla="*/ 0 w 751"/>
                <a:gd name="T41" fmla="*/ 0 h 556"/>
                <a:gd name="T42" fmla="*/ 0 w 751"/>
                <a:gd name="T43" fmla="*/ 0 h 556"/>
                <a:gd name="T44" fmla="*/ 0 w 751"/>
                <a:gd name="T45" fmla="*/ 0 h 556"/>
                <a:gd name="T46" fmla="*/ 0 w 751"/>
                <a:gd name="T47" fmla="*/ 0 h 556"/>
                <a:gd name="T48" fmla="*/ 0 w 751"/>
                <a:gd name="T49" fmla="*/ 0 h 556"/>
                <a:gd name="T50" fmla="*/ 0 w 751"/>
                <a:gd name="T51" fmla="*/ 0 h 556"/>
                <a:gd name="T52" fmla="*/ 0 w 751"/>
                <a:gd name="T53" fmla="*/ 0 h 556"/>
                <a:gd name="T54" fmla="*/ 0 w 751"/>
                <a:gd name="T55" fmla="*/ 0 h 556"/>
                <a:gd name="T56" fmla="*/ 0 w 751"/>
                <a:gd name="T57" fmla="*/ 0 h 556"/>
                <a:gd name="T58" fmla="*/ 0 w 751"/>
                <a:gd name="T59" fmla="*/ 0 h 5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51"/>
                <a:gd name="T91" fmla="*/ 0 h 556"/>
                <a:gd name="T92" fmla="*/ 751 w 751"/>
                <a:gd name="T93" fmla="*/ 556 h 5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51" h="556">
                  <a:moveTo>
                    <a:pt x="0" y="491"/>
                  </a:moveTo>
                  <a:lnTo>
                    <a:pt x="9" y="479"/>
                  </a:lnTo>
                  <a:lnTo>
                    <a:pt x="48" y="447"/>
                  </a:lnTo>
                  <a:lnTo>
                    <a:pt x="82" y="366"/>
                  </a:lnTo>
                  <a:lnTo>
                    <a:pt x="84" y="316"/>
                  </a:lnTo>
                  <a:lnTo>
                    <a:pt x="104" y="294"/>
                  </a:lnTo>
                  <a:lnTo>
                    <a:pt x="192" y="288"/>
                  </a:lnTo>
                  <a:lnTo>
                    <a:pt x="318" y="135"/>
                  </a:lnTo>
                  <a:lnTo>
                    <a:pt x="343" y="0"/>
                  </a:lnTo>
                  <a:lnTo>
                    <a:pt x="328" y="115"/>
                  </a:lnTo>
                  <a:lnTo>
                    <a:pt x="237" y="266"/>
                  </a:lnTo>
                  <a:lnTo>
                    <a:pt x="252" y="297"/>
                  </a:lnTo>
                  <a:lnTo>
                    <a:pt x="280" y="293"/>
                  </a:lnTo>
                  <a:lnTo>
                    <a:pt x="315" y="310"/>
                  </a:lnTo>
                  <a:lnTo>
                    <a:pt x="362" y="309"/>
                  </a:lnTo>
                  <a:lnTo>
                    <a:pt x="368" y="206"/>
                  </a:lnTo>
                  <a:lnTo>
                    <a:pt x="383" y="186"/>
                  </a:lnTo>
                  <a:lnTo>
                    <a:pt x="386" y="169"/>
                  </a:lnTo>
                  <a:lnTo>
                    <a:pt x="426" y="156"/>
                  </a:lnTo>
                  <a:lnTo>
                    <a:pt x="451" y="179"/>
                  </a:lnTo>
                  <a:lnTo>
                    <a:pt x="483" y="187"/>
                  </a:lnTo>
                  <a:lnTo>
                    <a:pt x="509" y="208"/>
                  </a:lnTo>
                  <a:lnTo>
                    <a:pt x="607" y="228"/>
                  </a:lnTo>
                  <a:lnTo>
                    <a:pt x="674" y="220"/>
                  </a:lnTo>
                  <a:lnTo>
                    <a:pt x="702" y="237"/>
                  </a:lnTo>
                  <a:lnTo>
                    <a:pt x="751" y="328"/>
                  </a:lnTo>
                  <a:lnTo>
                    <a:pt x="729" y="393"/>
                  </a:lnTo>
                  <a:lnTo>
                    <a:pt x="743" y="506"/>
                  </a:lnTo>
                  <a:lnTo>
                    <a:pt x="329" y="556"/>
                  </a:lnTo>
                  <a:lnTo>
                    <a:pt x="0" y="49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4" name="Freeform 166"/>
            <p:cNvSpPr>
              <a:spLocks/>
            </p:cNvSpPr>
            <p:nvPr/>
          </p:nvSpPr>
          <p:spPr bwMode="auto">
            <a:xfrm>
              <a:off x="3770156" y="4241187"/>
              <a:ext cx="554180" cy="784476"/>
            </a:xfrm>
            <a:custGeom>
              <a:avLst/>
              <a:gdLst>
                <a:gd name="T0" fmla="*/ 0 w 1363"/>
                <a:gd name="T1" fmla="*/ 0 h 1937"/>
                <a:gd name="T2" fmla="*/ 0 w 1363"/>
                <a:gd name="T3" fmla="*/ 0 h 1937"/>
                <a:gd name="T4" fmla="*/ 0 w 1363"/>
                <a:gd name="T5" fmla="*/ 0 h 1937"/>
                <a:gd name="T6" fmla="*/ 0 w 1363"/>
                <a:gd name="T7" fmla="*/ 0 h 1937"/>
                <a:gd name="T8" fmla="*/ 0 w 1363"/>
                <a:gd name="T9" fmla="*/ 0 h 1937"/>
                <a:gd name="T10" fmla="*/ 0 w 1363"/>
                <a:gd name="T11" fmla="*/ 0 h 1937"/>
                <a:gd name="T12" fmla="*/ 0 w 1363"/>
                <a:gd name="T13" fmla="*/ 0 h 1937"/>
                <a:gd name="T14" fmla="*/ 0 w 1363"/>
                <a:gd name="T15" fmla="*/ 0 h 1937"/>
                <a:gd name="T16" fmla="*/ 0 w 1363"/>
                <a:gd name="T17" fmla="*/ 0 h 1937"/>
                <a:gd name="T18" fmla="*/ 0 w 1363"/>
                <a:gd name="T19" fmla="*/ 0 h 1937"/>
                <a:gd name="T20" fmla="*/ 0 w 1363"/>
                <a:gd name="T21" fmla="*/ 0 h 1937"/>
                <a:gd name="T22" fmla="*/ 0 w 1363"/>
                <a:gd name="T23" fmla="*/ 0 h 1937"/>
                <a:gd name="T24" fmla="*/ 0 w 1363"/>
                <a:gd name="T25" fmla="*/ 0 h 1937"/>
                <a:gd name="T26" fmla="*/ 0 w 1363"/>
                <a:gd name="T27" fmla="*/ 0 h 1937"/>
                <a:gd name="T28" fmla="*/ 0 w 1363"/>
                <a:gd name="T29" fmla="*/ 0 h 1937"/>
                <a:gd name="T30" fmla="*/ 0 w 1363"/>
                <a:gd name="T31" fmla="*/ 0 h 1937"/>
                <a:gd name="T32" fmla="*/ 0 w 1363"/>
                <a:gd name="T33" fmla="*/ 0 h 1937"/>
                <a:gd name="T34" fmla="*/ 0 w 1363"/>
                <a:gd name="T35" fmla="*/ 0 h 1937"/>
                <a:gd name="T36" fmla="*/ 0 w 1363"/>
                <a:gd name="T37" fmla="*/ 0 h 1937"/>
                <a:gd name="T38" fmla="*/ 0 w 1363"/>
                <a:gd name="T39" fmla="*/ 0 h 1937"/>
                <a:gd name="T40" fmla="*/ 0 w 1363"/>
                <a:gd name="T41" fmla="*/ 0 h 1937"/>
                <a:gd name="T42" fmla="*/ 0 w 1363"/>
                <a:gd name="T43" fmla="*/ 0 h 1937"/>
                <a:gd name="T44" fmla="*/ 0 w 1363"/>
                <a:gd name="T45" fmla="*/ 0 h 1937"/>
                <a:gd name="T46" fmla="*/ 0 w 1363"/>
                <a:gd name="T47" fmla="*/ 0 h 1937"/>
                <a:gd name="T48" fmla="*/ 0 w 1363"/>
                <a:gd name="T49" fmla="*/ 0 h 1937"/>
                <a:gd name="T50" fmla="*/ 0 w 1363"/>
                <a:gd name="T51" fmla="*/ 0 h 1937"/>
                <a:gd name="T52" fmla="*/ 0 w 1363"/>
                <a:gd name="T53" fmla="*/ 0 h 1937"/>
                <a:gd name="T54" fmla="*/ 0 w 1363"/>
                <a:gd name="T55" fmla="*/ 0 h 1937"/>
                <a:gd name="T56" fmla="*/ 0 w 1363"/>
                <a:gd name="T57" fmla="*/ 0 h 1937"/>
                <a:gd name="T58" fmla="*/ 0 w 1363"/>
                <a:gd name="T59" fmla="*/ 0 h 1937"/>
                <a:gd name="T60" fmla="*/ 0 w 1363"/>
                <a:gd name="T61" fmla="*/ 0 h 1937"/>
                <a:gd name="T62" fmla="*/ 0 w 1363"/>
                <a:gd name="T63" fmla="*/ 0 h 1937"/>
                <a:gd name="T64" fmla="*/ 0 w 1363"/>
                <a:gd name="T65" fmla="*/ 0 h 1937"/>
                <a:gd name="T66" fmla="*/ 0 w 1363"/>
                <a:gd name="T67" fmla="*/ 0 h 1937"/>
                <a:gd name="T68" fmla="*/ 0 w 1363"/>
                <a:gd name="T69" fmla="*/ 0 h 1937"/>
                <a:gd name="T70" fmla="*/ 0 w 1363"/>
                <a:gd name="T71" fmla="*/ 0 h 1937"/>
                <a:gd name="T72" fmla="*/ 0 w 1363"/>
                <a:gd name="T73" fmla="*/ 0 h 1937"/>
                <a:gd name="T74" fmla="*/ 0 w 1363"/>
                <a:gd name="T75" fmla="*/ 0 h 1937"/>
                <a:gd name="T76" fmla="*/ 0 w 1363"/>
                <a:gd name="T77" fmla="*/ 0 h 1937"/>
                <a:gd name="T78" fmla="*/ 0 w 1363"/>
                <a:gd name="T79" fmla="*/ 0 h 1937"/>
                <a:gd name="T80" fmla="*/ 0 w 1363"/>
                <a:gd name="T81" fmla="*/ 0 h 1937"/>
                <a:gd name="T82" fmla="*/ 0 w 1363"/>
                <a:gd name="T83" fmla="*/ 0 h 1937"/>
                <a:gd name="T84" fmla="*/ 0 w 1363"/>
                <a:gd name="T85" fmla="*/ 0 h 1937"/>
                <a:gd name="T86" fmla="*/ 0 w 1363"/>
                <a:gd name="T87" fmla="*/ 0 h 1937"/>
                <a:gd name="T88" fmla="*/ 0 w 1363"/>
                <a:gd name="T89" fmla="*/ 0 h 1937"/>
                <a:gd name="T90" fmla="*/ 0 w 1363"/>
                <a:gd name="T91" fmla="*/ 0 h 1937"/>
                <a:gd name="T92" fmla="*/ 0 w 1363"/>
                <a:gd name="T93" fmla="*/ 0 h 193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63"/>
                <a:gd name="T142" fmla="*/ 0 h 1937"/>
                <a:gd name="T143" fmla="*/ 1363 w 1363"/>
                <a:gd name="T144" fmla="*/ 1937 h 193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63" h="1937">
                  <a:moveTo>
                    <a:pt x="1328" y="257"/>
                  </a:moveTo>
                  <a:lnTo>
                    <a:pt x="1168" y="178"/>
                  </a:lnTo>
                  <a:lnTo>
                    <a:pt x="1089" y="188"/>
                  </a:lnTo>
                  <a:lnTo>
                    <a:pt x="904" y="115"/>
                  </a:lnTo>
                  <a:lnTo>
                    <a:pt x="876" y="77"/>
                  </a:lnTo>
                  <a:lnTo>
                    <a:pt x="891" y="12"/>
                  </a:lnTo>
                  <a:lnTo>
                    <a:pt x="733" y="0"/>
                  </a:lnTo>
                  <a:lnTo>
                    <a:pt x="671" y="35"/>
                  </a:lnTo>
                  <a:lnTo>
                    <a:pt x="620" y="342"/>
                  </a:lnTo>
                  <a:lnTo>
                    <a:pt x="309" y="812"/>
                  </a:lnTo>
                  <a:lnTo>
                    <a:pt x="157" y="932"/>
                  </a:lnTo>
                  <a:lnTo>
                    <a:pt x="121" y="1029"/>
                  </a:lnTo>
                  <a:lnTo>
                    <a:pt x="71" y="1098"/>
                  </a:lnTo>
                  <a:lnTo>
                    <a:pt x="69" y="1116"/>
                  </a:lnTo>
                  <a:lnTo>
                    <a:pt x="103" y="1162"/>
                  </a:lnTo>
                  <a:lnTo>
                    <a:pt x="124" y="1267"/>
                  </a:lnTo>
                  <a:lnTo>
                    <a:pt x="250" y="1282"/>
                  </a:lnTo>
                  <a:lnTo>
                    <a:pt x="238" y="1304"/>
                  </a:lnTo>
                  <a:lnTo>
                    <a:pt x="214" y="1321"/>
                  </a:lnTo>
                  <a:lnTo>
                    <a:pt x="105" y="1631"/>
                  </a:lnTo>
                  <a:lnTo>
                    <a:pt x="24" y="1734"/>
                  </a:lnTo>
                  <a:lnTo>
                    <a:pt x="0" y="1793"/>
                  </a:lnTo>
                  <a:lnTo>
                    <a:pt x="9" y="1819"/>
                  </a:lnTo>
                  <a:lnTo>
                    <a:pt x="75" y="1825"/>
                  </a:lnTo>
                  <a:lnTo>
                    <a:pt x="208" y="1880"/>
                  </a:lnTo>
                  <a:lnTo>
                    <a:pt x="252" y="1915"/>
                  </a:lnTo>
                  <a:lnTo>
                    <a:pt x="311" y="1937"/>
                  </a:lnTo>
                  <a:lnTo>
                    <a:pt x="468" y="1926"/>
                  </a:lnTo>
                  <a:lnTo>
                    <a:pt x="496" y="1764"/>
                  </a:lnTo>
                  <a:lnTo>
                    <a:pt x="704" y="1655"/>
                  </a:lnTo>
                  <a:lnTo>
                    <a:pt x="708" y="1588"/>
                  </a:lnTo>
                  <a:lnTo>
                    <a:pt x="677" y="1515"/>
                  </a:lnTo>
                  <a:lnTo>
                    <a:pt x="681" y="1436"/>
                  </a:lnTo>
                  <a:lnTo>
                    <a:pt x="710" y="1362"/>
                  </a:lnTo>
                  <a:lnTo>
                    <a:pt x="806" y="1268"/>
                  </a:lnTo>
                  <a:lnTo>
                    <a:pt x="772" y="1114"/>
                  </a:lnTo>
                  <a:lnTo>
                    <a:pt x="783" y="1024"/>
                  </a:lnTo>
                  <a:lnTo>
                    <a:pt x="840" y="1006"/>
                  </a:lnTo>
                  <a:lnTo>
                    <a:pt x="904" y="1009"/>
                  </a:lnTo>
                  <a:lnTo>
                    <a:pt x="974" y="968"/>
                  </a:lnTo>
                  <a:lnTo>
                    <a:pt x="995" y="917"/>
                  </a:lnTo>
                  <a:lnTo>
                    <a:pt x="978" y="851"/>
                  </a:lnTo>
                  <a:lnTo>
                    <a:pt x="1134" y="554"/>
                  </a:lnTo>
                  <a:lnTo>
                    <a:pt x="1284" y="480"/>
                  </a:lnTo>
                  <a:lnTo>
                    <a:pt x="1349" y="422"/>
                  </a:lnTo>
                  <a:lnTo>
                    <a:pt x="1363" y="378"/>
                  </a:lnTo>
                  <a:lnTo>
                    <a:pt x="1328" y="257"/>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5" name="Freeform 168"/>
            <p:cNvSpPr>
              <a:spLocks/>
            </p:cNvSpPr>
            <p:nvPr/>
          </p:nvSpPr>
          <p:spPr bwMode="auto">
            <a:xfrm>
              <a:off x="7374426" y="1904540"/>
              <a:ext cx="37785" cy="65023"/>
            </a:xfrm>
            <a:custGeom>
              <a:avLst/>
              <a:gdLst>
                <a:gd name="T0" fmla="*/ 0 w 91"/>
                <a:gd name="T1" fmla="*/ 0 h 162"/>
                <a:gd name="T2" fmla="*/ 0 w 91"/>
                <a:gd name="T3" fmla="*/ 0 h 162"/>
                <a:gd name="T4" fmla="*/ 0 w 91"/>
                <a:gd name="T5" fmla="*/ 0 h 162"/>
                <a:gd name="T6" fmla="*/ 0 w 91"/>
                <a:gd name="T7" fmla="*/ 0 h 162"/>
                <a:gd name="T8" fmla="*/ 0 w 91"/>
                <a:gd name="T9" fmla="*/ 0 h 162"/>
                <a:gd name="T10" fmla="*/ 0 w 91"/>
                <a:gd name="T11" fmla="*/ 0 h 162"/>
                <a:gd name="T12" fmla="*/ 0 w 91"/>
                <a:gd name="T13" fmla="*/ 0 h 162"/>
                <a:gd name="T14" fmla="*/ 0 w 91"/>
                <a:gd name="T15" fmla="*/ 0 h 162"/>
                <a:gd name="T16" fmla="*/ 0 w 91"/>
                <a:gd name="T17" fmla="*/ 0 h 162"/>
                <a:gd name="T18" fmla="*/ 0 w 91"/>
                <a:gd name="T19" fmla="*/ 0 h 162"/>
                <a:gd name="T20" fmla="*/ 0 w 91"/>
                <a:gd name="T21" fmla="*/ 0 h 162"/>
                <a:gd name="T22" fmla="*/ 0 w 91"/>
                <a:gd name="T23" fmla="*/ 0 h 162"/>
                <a:gd name="T24" fmla="*/ 0 w 91"/>
                <a:gd name="T25" fmla="*/ 0 h 162"/>
                <a:gd name="T26" fmla="*/ 0 w 91"/>
                <a:gd name="T27" fmla="*/ 0 h 162"/>
                <a:gd name="T28" fmla="*/ 0 w 91"/>
                <a:gd name="T29" fmla="*/ 0 h 162"/>
                <a:gd name="T30" fmla="*/ 0 w 91"/>
                <a:gd name="T31" fmla="*/ 0 h 162"/>
                <a:gd name="T32" fmla="*/ 0 w 91"/>
                <a:gd name="T33" fmla="*/ 0 h 162"/>
                <a:gd name="T34" fmla="*/ 0 w 91"/>
                <a:gd name="T35" fmla="*/ 0 h 1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1"/>
                <a:gd name="T55" fmla="*/ 0 h 162"/>
                <a:gd name="T56" fmla="*/ 91 w 91"/>
                <a:gd name="T57" fmla="*/ 162 h 1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1" h="162">
                  <a:moveTo>
                    <a:pt x="74" y="17"/>
                  </a:moveTo>
                  <a:lnTo>
                    <a:pt x="47" y="10"/>
                  </a:lnTo>
                  <a:lnTo>
                    <a:pt x="37" y="0"/>
                  </a:lnTo>
                  <a:lnTo>
                    <a:pt x="15" y="17"/>
                  </a:lnTo>
                  <a:lnTo>
                    <a:pt x="27" y="33"/>
                  </a:lnTo>
                  <a:lnTo>
                    <a:pt x="25" y="58"/>
                  </a:lnTo>
                  <a:lnTo>
                    <a:pt x="4" y="52"/>
                  </a:lnTo>
                  <a:lnTo>
                    <a:pt x="0" y="84"/>
                  </a:lnTo>
                  <a:lnTo>
                    <a:pt x="3" y="117"/>
                  </a:lnTo>
                  <a:lnTo>
                    <a:pt x="52" y="132"/>
                  </a:lnTo>
                  <a:lnTo>
                    <a:pt x="77" y="162"/>
                  </a:lnTo>
                  <a:lnTo>
                    <a:pt x="91" y="137"/>
                  </a:lnTo>
                  <a:lnTo>
                    <a:pt x="67" y="123"/>
                  </a:lnTo>
                  <a:lnTo>
                    <a:pt x="59" y="92"/>
                  </a:lnTo>
                  <a:lnTo>
                    <a:pt x="77" y="84"/>
                  </a:lnTo>
                  <a:lnTo>
                    <a:pt x="89" y="60"/>
                  </a:lnTo>
                  <a:lnTo>
                    <a:pt x="91" y="43"/>
                  </a:lnTo>
                  <a:lnTo>
                    <a:pt x="74" y="17"/>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6" name="Freeform 170"/>
            <p:cNvSpPr>
              <a:spLocks/>
            </p:cNvSpPr>
            <p:nvPr/>
          </p:nvSpPr>
          <p:spPr bwMode="auto">
            <a:xfrm>
              <a:off x="7533963" y="1929710"/>
              <a:ext cx="14694" cy="20975"/>
            </a:xfrm>
            <a:custGeom>
              <a:avLst/>
              <a:gdLst>
                <a:gd name="T0" fmla="*/ 0 w 37"/>
                <a:gd name="T1" fmla="*/ 0 h 45"/>
                <a:gd name="T2" fmla="*/ 0 w 37"/>
                <a:gd name="T3" fmla="*/ 0 h 45"/>
                <a:gd name="T4" fmla="*/ 0 w 37"/>
                <a:gd name="T5" fmla="*/ 0 h 45"/>
                <a:gd name="T6" fmla="*/ 0 w 37"/>
                <a:gd name="T7" fmla="*/ 0 h 45"/>
                <a:gd name="T8" fmla="*/ 0 w 37"/>
                <a:gd name="T9" fmla="*/ 0 h 45"/>
                <a:gd name="T10" fmla="*/ 0 w 37"/>
                <a:gd name="T11" fmla="*/ 0 h 45"/>
                <a:gd name="T12" fmla="*/ 0 w 37"/>
                <a:gd name="T13" fmla="*/ 0 h 45"/>
                <a:gd name="T14" fmla="*/ 0 60000 65536"/>
                <a:gd name="T15" fmla="*/ 0 60000 65536"/>
                <a:gd name="T16" fmla="*/ 0 60000 65536"/>
                <a:gd name="T17" fmla="*/ 0 60000 65536"/>
                <a:gd name="T18" fmla="*/ 0 60000 65536"/>
                <a:gd name="T19" fmla="*/ 0 60000 65536"/>
                <a:gd name="T20" fmla="*/ 0 60000 65536"/>
                <a:gd name="T21" fmla="*/ 0 w 37"/>
                <a:gd name="T22" fmla="*/ 0 h 45"/>
                <a:gd name="T23" fmla="*/ 37 w 3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45">
                  <a:moveTo>
                    <a:pt x="37" y="16"/>
                  </a:moveTo>
                  <a:lnTo>
                    <a:pt x="27" y="0"/>
                  </a:lnTo>
                  <a:lnTo>
                    <a:pt x="5" y="5"/>
                  </a:lnTo>
                  <a:lnTo>
                    <a:pt x="0" y="29"/>
                  </a:lnTo>
                  <a:lnTo>
                    <a:pt x="16" y="45"/>
                  </a:lnTo>
                  <a:lnTo>
                    <a:pt x="36" y="45"/>
                  </a:lnTo>
                  <a:lnTo>
                    <a:pt x="37" y="1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7" name="Freeform 171"/>
            <p:cNvSpPr>
              <a:spLocks/>
            </p:cNvSpPr>
            <p:nvPr/>
          </p:nvSpPr>
          <p:spPr bwMode="auto">
            <a:xfrm>
              <a:off x="7533963" y="1929710"/>
              <a:ext cx="14694" cy="20975"/>
            </a:xfrm>
            <a:custGeom>
              <a:avLst/>
              <a:gdLst>
                <a:gd name="T0" fmla="*/ 0 w 37"/>
                <a:gd name="T1" fmla="*/ 0 h 45"/>
                <a:gd name="T2" fmla="*/ 0 w 37"/>
                <a:gd name="T3" fmla="*/ 0 h 45"/>
                <a:gd name="T4" fmla="*/ 0 w 37"/>
                <a:gd name="T5" fmla="*/ 0 h 45"/>
                <a:gd name="T6" fmla="*/ 0 w 37"/>
                <a:gd name="T7" fmla="*/ 0 h 45"/>
                <a:gd name="T8" fmla="*/ 0 w 37"/>
                <a:gd name="T9" fmla="*/ 0 h 45"/>
                <a:gd name="T10" fmla="*/ 0 w 37"/>
                <a:gd name="T11" fmla="*/ 0 h 45"/>
                <a:gd name="T12" fmla="*/ 0 w 37"/>
                <a:gd name="T13" fmla="*/ 0 h 45"/>
                <a:gd name="T14" fmla="*/ 0 60000 65536"/>
                <a:gd name="T15" fmla="*/ 0 60000 65536"/>
                <a:gd name="T16" fmla="*/ 0 60000 65536"/>
                <a:gd name="T17" fmla="*/ 0 60000 65536"/>
                <a:gd name="T18" fmla="*/ 0 60000 65536"/>
                <a:gd name="T19" fmla="*/ 0 60000 65536"/>
                <a:gd name="T20" fmla="*/ 0 60000 65536"/>
                <a:gd name="T21" fmla="*/ 0 w 37"/>
                <a:gd name="T22" fmla="*/ 0 h 45"/>
                <a:gd name="T23" fmla="*/ 37 w 3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45">
                  <a:moveTo>
                    <a:pt x="37" y="16"/>
                  </a:moveTo>
                  <a:lnTo>
                    <a:pt x="27" y="0"/>
                  </a:lnTo>
                  <a:lnTo>
                    <a:pt x="5" y="5"/>
                  </a:lnTo>
                  <a:lnTo>
                    <a:pt x="0" y="29"/>
                  </a:lnTo>
                  <a:lnTo>
                    <a:pt x="16" y="45"/>
                  </a:lnTo>
                  <a:lnTo>
                    <a:pt x="36" y="45"/>
                  </a:lnTo>
                  <a:lnTo>
                    <a:pt x="37" y="16"/>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8" name="Freeform 172"/>
            <p:cNvSpPr>
              <a:spLocks/>
            </p:cNvSpPr>
            <p:nvPr/>
          </p:nvSpPr>
          <p:spPr bwMode="auto">
            <a:xfrm>
              <a:off x="7588541" y="1921320"/>
              <a:ext cx="35686" cy="39853"/>
            </a:xfrm>
            <a:custGeom>
              <a:avLst/>
              <a:gdLst>
                <a:gd name="T0" fmla="*/ 0 w 86"/>
                <a:gd name="T1" fmla="*/ 0 h 101"/>
                <a:gd name="T2" fmla="*/ 0 w 86"/>
                <a:gd name="T3" fmla="*/ 0 h 101"/>
                <a:gd name="T4" fmla="*/ 0 w 86"/>
                <a:gd name="T5" fmla="*/ 0 h 101"/>
                <a:gd name="T6" fmla="*/ 0 w 86"/>
                <a:gd name="T7" fmla="*/ 0 h 101"/>
                <a:gd name="T8" fmla="*/ 0 w 86"/>
                <a:gd name="T9" fmla="*/ 0 h 101"/>
                <a:gd name="T10" fmla="*/ 0 w 86"/>
                <a:gd name="T11" fmla="*/ 0 h 101"/>
                <a:gd name="T12" fmla="*/ 0 w 86"/>
                <a:gd name="T13" fmla="*/ 0 h 101"/>
                <a:gd name="T14" fmla="*/ 0 w 86"/>
                <a:gd name="T15" fmla="*/ 0 h 101"/>
                <a:gd name="T16" fmla="*/ 0 w 86"/>
                <a:gd name="T17" fmla="*/ 0 h 101"/>
                <a:gd name="T18" fmla="*/ 0 w 86"/>
                <a:gd name="T19" fmla="*/ 0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
                <a:gd name="T31" fmla="*/ 0 h 101"/>
                <a:gd name="T32" fmla="*/ 86 w 86"/>
                <a:gd name="T33" fmla="*/ 101 h 1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 h="101">
                  <a:moveTo>
                    <a:pt x="60" y="101"/>
                  </a:moveTo>
                  <a:lnTo>
                    <a:pt x="72" y="87"/>
                  </a:lnTo>
                  <a:lnTo>
                    <a:pt x="86" y="0"/>
                  </a:lnTo>
                  <a:lnTo>
                    <a:pt x="74" y="13"/>
                  </a:lnTo>
                  <a:lnTo>
                    <a:pt x="24" y="38"/>
                  </a:lnTo>
                  <a:lnTo>
                    <a:pt x="23" y="65"/>
                  </a:lnTo>
                  <a:lnTo>
                    <a:pt x="9" y="77"/>
                  </a:lnTo>
                  <a:lnTo>
                    <a:pt x="0" y="96"/>
                  </a:lnTo>
                  <a:lnTo>
                    <a:pt x="34" y="89"/>
                  </a:lnTo>
                  <a:lnTo>
                    <a:pt x="60" y="10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89" name="Freeform 173"/>
            <p:cNvSpPr>
              <a:spLocks/>
            </p:cNvSpPr>
            <p:nvPr/>
          </p:nvSpPr>
          <p:spPr bwMode="auto">
            <a:xfrm>
              <a:off x="7588541" y="1921320"/>
              <a:ext cx="35686" cy="39853"/>
            </a:xfrm>
            <a:custGeom>
              <a:avLst/>
              <a:gdLst>
                <a:gd name="T0" fmla="*/ 0 w 86"/>
                <a:gd name="T1" fmla="*/ 0 h 101"/>
                <a:gd name="T2" fmla="*/ 0 w 86"/>
                <a:gd name="T3" fmla="*/ 0 h 101"/>
                <a:gd name="T4" fmla="*/ 0 w 86"/>
                <a:gd name="T5" fmla="*/ 0 h 101"/>
                <a:gd name="T6" fmla="*/ 0 w 86"/>
                <a:gd name="T7" fmla="*/ 0 h 101"/>
                <a:gd name="T8" fmla="*/ 0 w 86"/>
                <a:gd name="T9" fmla="*/ 0 h 101"/>
                <a:gd name="T10" fmla="*/ 0 w 86"/>
                <a:gd name="T11" fmla="*/ 0 h 101"/>
                <a:gd name="T12" fmla="*/ 0 w 86"/>
                <a:gd name="T13" fmla="*/ 0 h 101"/>
                <a:gd name="T14" fmla="*/ 0 w 86"/>
                <a:gd name="T15" fmla="*/ 0 h 101"/>
                <a:gd name="T16" fmla="*/ 0 w 86"/>
                <a:gd name="T17" fmla="*/ 0 h 101"/>
                <a:gd name="T18" fmla="*/ 0 w 86"/>
                <a:gd name="T19" fmla="*/ 0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
                <a:gd name="T31" fmla="*/ 0 h 101"/>
                <a:gd name="T32" fmla="*/ 86 w 86"/>
                <a:gd name="T33" fmla="*/ 101 h 1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 h="101">
                  <a:moveTo>
                    <a:pt x="60" y="101"/>
                  </a:moveTo>
                  <a:lnTo>
                    <a:pt x="72" y="87"/>
                  </a:lnTo>
                  <a:lnTo>
                    <a:pt x="86" y="0"/>
                  </a:lnTo>
                  <a:lnTo>
                    <a:pt x="74" y="13"/>
                  </a:lnTo>
                  <a:lnTo>
                    <a:pt x="24" y="38"/>
                  </a:lnTo>
                  <a:lnTo>
                    <a:pt x="23" y="65"/>
                  </a:lnTo>
                  <a:lnTo>
                    <a:pt x="9" y="77"/>
                  </a:lnTo>
                  <a:lnTo>
                    <a:pt x="0" y="96"/>
                  </a:lnTo>
                  <a:lnTo>
                    <a:pt x="34" y="89"/>
                  </a:lnTo>
                  <a:lnTo>
                    <a:pt x="60" y="10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0" name="Freeform 174"/>
            <p:cNvSpPr>
              <a:spLocks/>
            </p:cNvSpPr>
            <p:nvPr/>
          </p:nvSpPr>
          <p:spPr bwMode="auto">
            <a:xfrm>
              <a:off x="6450792" y="5422096"/>
              <a:ext cx="403040" cy="260094"/>
            </a:xfrm>
            <a:custGeom>
              <a:avLst/>
              <a:gdLst>
                <a:gd name="T0" fmla="*/ 0 w 989"/>
                <a:gd name="T1" fmla="*/ 0 h 644"/>
                <a:gd name="T2" fmla="*/ 0 w 989"/>
                <a:gd name="T3" fmla="*/ 0 h 644"/>
                <a:gd name="T4" fmla="*/ 0 w 989"/>
                <a:gd name="T5" fmla="*/ 0 h 644"/>
                <a:gd name="T6" fmla="*/ 0 w 989"/>
                <a:gd name="T7" fmla="*/ 0 h 644"/>
                <a:gd name="T8" fmla="*/ 0 w 989"/>
                <a:gd name="T9" fmla="*/ 0 h 644"/>
                <a:gd name="T10" fmla="*/ 0 w 989"/>
                <a:gd name="T11" fmla="*/ 0 h 644"/>
                <a:gd name="T12" fmla="*/ 0 w 989"/>
                <a:gd name="T13" fmla="*/ 0 h 644"/>
                <a:gd name="T14" fmla="*/ 0 w 989"/>
                <a:gd name="T15" fmla="*/ 0 h 644"/>
                <a:gd name="T16" fmla="*/ 0 w 989"/>
                <a:gd name="T17" fmla="*/ 0 h 644"/>
                <a:gd name="T18" fmla="*/ 0 w 989"/>
                <a:gd name="T19" fmla="*/ 0 h 644"/>
                <a:gd name="T20" fmla="*/ 0 w 989"/>
                <a:gd name="T21" fmla="*/ 0 h 644"/>
                <a:gd name="T22" fmla="*/ 0 w 989"/>
                <a:gd name="T23" fmla="*/ 0 h 644"/>
                <a:gd name="T24" fmla="*/ 0 w 989"/>
                <a:gd name="T25" fmla="*/ 0 h 644"/>
                <a:gd name="T26" fmla="*/ 0 w 989"/>
                <a:gd name="T27" fmla="*/ 0 h 644"/>
                <a:gd name="T28" fmla="*/ 0 w 989"/>
                <a:gd name="T29" fmla="*/ 0 h 644"/>
                <a:gd name="T30" fmla="*/ 0 w 989"/>
                <a:gd name="T31" fmla="*/ 0 h 644"/>
                <a:gd name="T32" fmla="*/ 0 w 989"/>
                <a:gd name="T33" fmla="*/ 0 h 644"/>
                <a:gd name="T34" fmla="*/ 0 w 989"/>
                <a:gd name="T35" fmla="*/ 0 h 644"/>
                <a:gd name="T36" fmla="*/ 0 w 989"/>
                <a:gd name="T37" fmla="*/ 0 h 644"/>
                <a:gd name="T38" fmla="*/ 0 w 989"/>
                <a:gd name="T39" fmla="*/ 0 h 644"/>
                <a:gd name="T40" fmla="*/ 0 w 989"/>
                <a:gd name="T41" fmla="*/ 0 h 644"/>
                <a:gd name="T42" fmla="*/ 0 w 989"/>
                <a:gd name="T43" fmla="*/ 0 h 644"/>
                <a:gd name="T44" fmla="*/ 0 w 989"/>
                <a:gd name="T45" fmla="*/ 0 h 644"/>
                <a:gd name="T46" fmla="*/ 0 w 989"/>
                <a:gd name="T47" fmla="*/ 0 h 644"/>
                <a:gd name="T48" fmla="*/ 0 w 989"/>
                <a:gd name="T49" fmla="*/ 0 h 644"/>
                <a:gd name="T50" fmla="*/ 0 w 989"/>
                <a:gd name="T51" fmla="*/ 0 h 644"/>
                <a:gd name="T52" fmla="*/ 0 w 989"/>
                <a:gd name="T53" fmla="*/ 0 h 644"/>
                <a:gd name="T54" fmla="*/ 0 w 989"/>
                <a:gd name="T55" fmla="*/ 0 h 644"/>
                <a:gd name="T56" fmla="*/ 0 w 989"/>
                <a:gd name="T57" fmla="*/ 0 h 644"/>
                <a:gd name="T58" fmla="*/ 0 w 989"/>
                <a:gd name="T59" fmla="*/ 0 h 6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89"/>
                <a:gd name="T91" fmla="*/ 0 h 644"/>
                <a:gd name="T92" fmla="*/ 989 w 989"/>
                <a:gd name="T93" fmla="*/ 644 h 6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89" h="644">
                  <a:moveTo>
                    <a:pt x="989" y="22"/>
                  </a:moveTo>
                  <a:lnTo>
                    <a:pt x="968" y="27"/>
                  </a:lnTo>
                  <a:lnTo>
                    <a:pt x="971" y="31"/>
                  </a:lnTo>
                  <a:lnTo>
                    <a:pt x="960" y="92"/>
                  </a:lnTo>
                  <a:lnTo>
                    <a:pt x="807" y="356"/>
                  </a:lnTo>
                  <a:lnTo>
                    <a:pt x="803" y="386"/>
                  </a:lnTo>
                  <a:lnTo>
                    <a:pt x="825" y="411"/>
                  </a:lnTo>
                  <a:lnTo>
                    <a:pt x="850" y="511"/>
                  </a:lnTo>
                  <a:lnTo>
                    <a:pt x="801" y="644"/>
                  </a:lnTo>
                  <a:lnTo>
                    <a:pt x="647" y="617"/>
                  </a:lnTo>
                  <a:lnTo>
                    <a:pt x="543" y="497"/>
                  </a:lnTo>
                  <a:lnTo>
                    <a:pt x="368" y="429"/>
                  </a:lnTo>
                  <a:lnTo>
                    <a:pt x="200" y="290"/>
                  </a:lnTo>
                  <a:lnTo>
                    <a:pt x="38" y="224"/>
                  </a:lnTo>
                  <a:lnTo>
                    <a:pt x="10" y="180"/>
                  </a:lnTo>
                  <a:lnTo>
                    <a:pt x="0" y="99"/>
                  </a:lnTo>
                  <a:lnTo>
                    <a:pt x="14" y="52"/>
                  </a:lnTo>
                  <a:lnTo>
                    <a:pt x="42" y="9"/>
                  </a:lnTo>
                  <a:lnTo>
                    <a:pt x="68" y="1"/>
                  </a:lnTo>
                  <a:lnTo>
                    <a:pt x="115" y="44"/>
                  </a:lnTo>
                  <a:lnTo>
                    <a:pt x="151" y="43"/>
                  </a:lnTo>
                  <a:lnTo>
                    <a:pt x="247" y="0"/>
                  </a:lnTo>
                  <a:lnTo>
                    <a:pt x="361" y="65"/>
                  </a:lnTo>
                  <a:lnTo>
                    <a:pt x="381" y="108"/>
                  </a:lnTo>
                  <a:lnTo>
                    <a:pt x="639" y="93"/>
                  </a:lnTo>
                  <a:lnTo>
                    <a:pt x="738" y="58"/>
                  </a:lnTo>
                  <a:lnTo>
                    <a:pt x="842" y="65"/>
                  </a:lnTo>
                  <a:lnTo>
                    <a:pt x="877" y="36"/>
                  </a:lnTo>
                  <a:lnTo>
                    <a:pt x="943" y="36"/>
                  </a:lnTo>
                  <a:lnTo>
                    <a:pt x="989" y="2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1" name="Freeform 176"/>
            <p:cNvSpPr>
              <a:spLocks/>
            </p:cNvSpPr>
            <p:nvPr/>
          </p:nvSpPr>
          <p:spPr bwMode="auto">
            <a:xfrm>
              <a:off x="5967984" y="4874641"/>
              <a:ext cx="180528" cy="377555"/>
            </a:xfrm>
            <a:custGeom>
              <a:avLst/>
              <a:gdLst>
                <a:gd name="T0" fmla="*/ 0 w 445"/>
                <a:gd name="T1" fmla="*/ 0 h 930"/>
                <a:gd name="T2" fmla="*/ 0 w 445"/>
                <a:gd name="T3" fmla="*/ 0 h 930"/>
                <a:gd name="T4" fmla="*/ 0 w 445"/>
                <a:gd name="T5" fmla="*/ 0 h 930"/>
                <a:gd name="T6" fmla="*/ 0 w 445"/>
                <a:gd name="T7" fmla="*/ 0 h 930"/>
                <a:gd name="T8" fmla="*/ 0 w 445"/>
                <a:gd name="T9" fmla="*/ 0 h 930"/>
                <a:gd name="T10" fmla="*/ 0 w 445"/>
                <a:gd name="T11" fmla="*/ 0 h 930"/>
                <a:gd name="T12" fmla="*/ 0 w 445"/>
                <a:gd name="T13" fmla="*/ 0 h 930"/>
                <a:gd name="T14" fmla="*/ 0 w 445"/>
                <a:gd name="T15" fmla="*/ 0 h 930"/>
                <a:gd name="T16" fmla="*/ 0 w 445"/>
                <a:gd name="T17" fmla="*/ 0 h 930"/>
                <a:gd name="T18" fmla="*/ 0 w 445"/>
                <a:gd name="T19" fmla="*/ 0 h 930"/>
                <a:gd name="T20" fmla="*/ 0 w 445"/>
                <a:gd name="T21" fmla="*/ 0 h 930"/>
                <a:gd name="T22" fmla="*/ 0 w 445"/>
                <a:gd name="T23" fmla="*/ 0 h 930"/>
                <a:gd name="T24" fmla="*/ 0 w 445"/>
                <a:gd name="T25" fmla="*/ 0 h 930"/>
                <a:gd name="T26" fmla="*/ 0 w 445"/>
                <a:gd name="T27" fmla="*/ 0 h 930"/>
                <a:gd name="T28" fmla="*/ 0 w 445"/>
                <a:gd name="T29" fmla="*/ 0 h 930"/>
                <a:gd name="T30" fmla="*/ 0 w 445"/>
                <a:gd name="T31" fmla="*/ 0 h 930"/>
                <a:gd name="T32" fmla="*/ 0 w 445"/>
                <a:gd name="T33" fmla="*/ 0 h 930"/>
                <a:gd name="T34" fmla="*/ 0 w 445"/>
                <a:gd name="T35" fmla="*/ 0 h 930"/>
                <a:gd name="T36" fmla="*/ 0 w 445"/>
                <a:gd name="T37" fmla="*/ 0 h 930"/>
                <a:gd name="T38" fmla="*/ 0 w 445"/>
                <a:gd name="T39" fmla="*/ 0 h 930"/>
                <a:gd name="T40" fmla="*/ 0 w 445"/>
                <a:gd name="T41" fmla="*/ 0 h 930"/>
                <a:gd name="T42" fmla="*/ 0 w 445"/>
                <a:gd name="T43" fmla="*/ 0 h 930"/>
                <a:gd name="T44" fmla="*/ 0 w 445"/>
                <a:gd name="T45" fmla="*/ 0 h 930"/>
                <a:gd name="T46" fmla="*/ 0 w 445"/>
                <a:gd name="T47" fmla="*/ 0 h 930"/>
                <a:gd name="T48" fmla="*/ 0 w 445"/>
                <a:gd name="T49" fmla="*/ 0 h 930"/>
                <a:gd name="T50" fmla="*/ 0 w 445"/>
                <a:gd name="T51" fmla="*/ 0 h 930"/>
                <a:gd name="T52" fmla="*/ 0 w 445"/>
                <a:gd name="T53" fmla="*/ 0 h 930"/>
                <a:gd name="T54" fmla="*/ 0 w 445"/>
                <a:gd name="T55" fmla="*/ 0 h 930"/>
                <a:gd name="T56" fmla="*/ 0 w 445"/>
                <a:gd name="T57" fmla="*/ 0 h 930"/>
                <a:gd name="T58" fmla="*/ 0 w 445"/>
                <a:gd name="T59" fmla="*/ 0 h 930"/>
                <a:gd name="T60" fmla="*/ 0 w 445"/>
                <a:gd name="T61" fmla="*/ 0 h 930"/>
                <a:gd name="T62" fmla="*/ 0 w 445"/>
                <a:gd name="T63" fmla="*/ 0 h 930"/>
                <a:gd name="T64" fmla="*/ 0 w 445"/>
                <a:gd name="T65" fmla="*/ 0 h 9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5"/>
                <a:gd name="T100" fmla="*/ 0 h 930"/>
                <a:gd name="T101" fmla="*/ 445 w 445"/>
                <a:gd name="T102" fmla="*/ 930 h 9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5" h="930">
                  <a:moveTo>
                    <a:pt x="314" y="0"/>
                  </a:moveTo>
                  <a:lnTo>
                    <a:pt x="373" y="32"/>
                  </a:lnTo>
                  <a:lnTo>
                    <a:pt x="381" y="49"/>
                  </a:lnTo>
                  <a:lnTo>
                    <a:pt x="406" y="75"/>
                  </a:lnTo>
                  <a:lnTo>
                    <a:pt x="445" y="253"/>
                  </a:lnTo>
                  <a:lnTo>
                    <a:pt x="373" y="770"/>
                  </a:lnTo>
                  <a:lnTo>
                    <a:pt x="351" y="804"/>
                  </a:lnTo>
                  <a:lnTo>
                    <a:pt x="345" y="830"/>
                  </a:lnTo>
                  <a:lnTo>
                    <a:pt x="310" y="854"/>
                  </a:lnTo>
                  <a:lnTo>
                    <a:pt x="239" y="822"/>
                  </a:lnTo>
                  <a:lnTo>
                    <a:pt x="206" y="846"/>
                  </a:lnTo>
                  <a:lnTo>
                    <a:pt x="175" y="895"/>
                  </a:lnTo>
                  <a:lnTo>
                    <a:pt x="134" y="922"/>
                  </a:lnTo>
                  <a:lnTo>
                    <a:pt x="78" y="930"/>
                  </a:lnTo>
                  <a:lnTo>
                    <a:pt x="5" y="803"/>
                  </a:lnTo>
                  <a:lnTo>
                    <a:pt x="2" y="754"/>
                  </a:lnTo>
                  <a:lnTo>
                    <a:pt x="9" y="723"/>
                  </a:lnTo>
                  <a:lnTo>
                    <a:pt x="0" y="676"/>
                  </a:lnTo>
                  <a:lnTo>
                    <a:pt x="31" y="565"/>
                  </a:lnTo>
                  <a:lnTo>
                    <a:pt x="54" y="548"/>
                  </a:lnTo>
                  <a:lnTo>
                    <a:pt x="62" y="516"/>
                  </a:lnTo>
                  <a:lnTo>
                    <a:pt x="52" y="497"/>
                  </a:lnTo>
                  <a:lnTo>
                    <a:pt x="52" y="258"/>
                  </a:lnTo>
                  <a:lnTo>
                    <a:pt x="41" y="250"/>
                  </a:lnTo>
                  <a:lnTo>
                    <a:pt x="16" y="246"/>
                  </a:lnTo>
                  <a:lnTo>
                    <a:pt x="3" y="212"/>
                  </a:lnTo>
                  <a:lnTo>
                    <a:pt x="20" y="96"/>
                  </a:lnTo>
                  <a:lnTo>
                    <a:pt x="25" y="89"/>
                  </a:lnTo>
                  <a:lnTo>
                    <a:pt x="67" y="143"/>
                  </a:lnTo>
                  <a:lnTo>
                    <a:pt x="121" y="142"/>
                  </a:lnTo>
                  <a:lnTo>
                    <a:pt x="243" y="53"/>
                  </a:lnTo>
                  <a:lnTo>
                    <a:pt x="278" y="45"/>
                  </a:lnTo>
                  <a:lnTo>
                    <a:pt x="314"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2" name="Freeform 178"/>
            <p:cNvSpPr>
              <a:spLocks/>
            </p:cNvSpPr>
            <p:nvPr/>
          </p:nvSpPr>
          <p:spPr bwMode="auto">
            <a:xfrm>
              <a:off x="7960094" y="5029858"/>
              <a:ext cx="35686" cy="33560"/>
            </a:xfrm>
            <a:custGeom>
              <a:avLst/>
              <a:gdLst>
                <a:gd name="T0" fmla="*/ 0 w 92"/>
                <a:gd name="T1" fmla="*/ 0 h 85"/>
                <a:gd name="T2" fmla="*/ 0 w 92"/>
                <a:gd name="T3" fmla="*/ 0 h 85"/>
                <a:gd name="T4" fmla="*/ 0 w 92"/>
                <a:gd name="T5" fmla="*/ 0 h 85"/>
                <a:gd name="T6" fmla="*/ 0 w 92"/>
                <a:gd name="T7" fmla="*/ 0 h 85"/>
                <a:gd name="T8" fmla="*/ 0 w 92"/>
                <a:gd name="T9" fmla="*/ 0 h 85"/>
                <a:gd name="T10" fmla="*/ 0 w 92"/>
                <a:gd name="T11" fmla="*/ 0 h 85"/>
                <a:gd name="T12" fmla="*/ 0 w 92"/>
                <a:gd name="T13" fmla="*/ 0 h 85"/>
                <a:gd name="T14" fmla="*/ 0 w 92"/>
                <a:gd name="T15" fmla="*/ 0 h 85"/>
                <a:gd name="T16" fmla="*/ 0 w 92"/>
                <a:gd name="T17" fmla="*/ 0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85"/>
                <a:gd name="T29" fmla="*/ 92 w 92"/>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85">
                  <a:moveTo>
                    <a:pt x="63" y="74"/>
                  </a:moveTo>
                  <a:lnTo>
                    <a:pt x="92" y="59"/>
                  </a:lnTo>
                  <a:lnTo>
                    <a:pt x="77" y="46"/>
                  </a:lnTo>
                  <a:lnTo>
                    <a:pt x="72" y="7"/>
                  </a:lnTo>
                  <a:lnTo>
                    <a:pt x="46" y="0"/>
                  </a:lnTo>
                  <a:lnTo>
                    <a:pt x="0" y="46"/>
                  </a:lnTo>
                  <a:lnTo>
                    <a:pt x="6" y="70"/>
                  </a:lnTo>
                  <a:lnTo>
                    <a:pt x="39" y="85"/>
                  </a:lnTo>
                  <a:lnTo>
                    <a:pt x="63" y="74"/>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3" name="Freeform 179"/>
            <p:cNvSpPr>
              <a:spLocks/>
            </p:cNvSpPr>
            <p:nvPr/>
          </p:nvSpPr>
          <p:spPr bwMode="auto">
            <a:xfrm>
              <a:off x="7960094" y="5029858"/>
              <a:ext cx="35686" cy="33560"/>
            </a:xfrm>
            <a:custGeom>
              <a:avLst/>
              <a:gdLst>
                <a:gd name="T0" fmla="*/ 0 w 92"/>
                <a:gd name="T1" fmla="*/ 0 h 85"/>
                <a:gd name="T2" fmla="*/ 0 w 92"/>
                <a:gd name="T3" fmla="*/ 0 h 85"/>
                <a:gd name="T4" fmla="*/ 0 w 92"/>
                <a:gd name="T5" fmla="*/ 0 h 85"/>
                <a:gd name="T6" fmla="*/ 0 w 92"/>
                <a:gd name="T7" fmla="*/ 0 h 85"/>
                <a:gd name="T8" fmla="*/ 0 w 92"/>
                <a:gd name="T9" fmla="*/ 0 h 85"/>
                <a:gd name="T10" fmla="*/ 0 w 92"/>
                <a:gd name="T11" fmla="*/ 0 h 85"/>
                <a:gd name="T12" fmla="*/ 0 w 92"/>
                <a:gd name="T13" fmla="*/ 0 h 85"/>
                <a:gd name="T14" fmla="*/ 0 w 92"/>
                <a:gd name="T15" fmla="*/ 0 h 85"/>
                <a:gd name="T16" fmla="*/ 0 w 92"/>
                <a:gd name="T17" fmla="*/ 0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85"/>
                <a:gd name="T29" fmla="*/ 92 w 92"/>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85">
                  <a:moveTo>
                    <a:pt x="63" y="74"/>
                  </a:moveTo>
                  <a:lnTo>
                    <a:pt x="92" y="59"/>
                  </a:lnTo>
                  <a:lnTo>
                    <a:pt x="77" y="46"/>
                  </a:lnTo>
                  <a:lnTo>
                    <a:pt x="72" y="7"/>
                  </a:lnTo>
                  <a:lnTo>
                    <a:pt x="46" y="0"/>
                  </a:lnTo>
                  <a:lnTo>
                    <a:pt x="0" y="46"/>
                  </a:lnTo>
                  <a:lnTo>
                    <a:pt x="6" y="70"/>
                  </a:lnTo>
                  <a:lnTo>
                    <a:pt x="39" y="85"/>
                  </a:lnTo>
                  <a:lnTo>
                    <a:pt x="63" y="74"/>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4" name="Freeform 180"/>
            <p:cNvSpPr>
              <a:spLocks/>
            </p:cNvSpPr>
            <p:nvPr/>
          </p:nvSpPr>
          <p:spPr bwMode="auto">
            <a:xfrm>
              <a:off x="8029366" y="5155710"/>
              <a:ext cx="41983" cy="31463"/>
            </a:xfrm>
            <a:custGeom>
              <a:avLst/>
              <a:gdLst>
                <a:gd name="T0" fmla="*/ 0 w 102"/>
                <a:gd name="T1" fmla="*/ 0 h 77"/>
                <a:gd name="T2" fmla="*/ 0 w 102"/>
                <a:gd name="T3" fmla="*/ 0 h 77"/>
                <a:gd name="T4" fmla="*/ 0 w 102"/>
                <a:gd name="T5" fmla="*/ 0 h 77"/>
                <a:gd name="T6" fmla="*/ 0 w 102"/>
                <a:gd name="T7" fmla="*/ 0 h 77"/>
                <a:gd name="T8" fmla="*/ 0 w 102"/>
                <a:gd name="T9" fmla="*/ 0 h 77"/>
                <a:gd name="T10" fmla="*/ 0 w 102"/>
                <a:gd name="T11" fmla="*/ 0 h 77"/>
                <a:gd name="T12" fmla="*/ 0 w 102"/>
                <a:gd name="T13" fmla="*/ 0 h 77"/>
                <a:gd name="T14" fmla="*/ 0 w 102"/>
                <a:gd name="T15" fmla="*/ 0 h 77"/>
                <a:gd name="T16" fmla="*/ 0 w 102"/>
                <a:gd name="T17" fmla="*/ 0 h 77"/>
                <a:gd name="T18" fmla="*/ 0 w 102"/>
                <a:gd name="T19" fmla="*/ 0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2"/>
                <a:gd name="T31" fmla="*/ 0 h 77"/>
                <a:gd name="T32" fmla="*/ 102 w 102"/>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2" h="77">
                  <a:moveTo>
                    <a:pt x="102" y="22"/>
                  </a:moveTo>
                  <a:lnTo>
                    <a:pt x="92" y="23"/>
                  </a:lnTo>
                  <a:lnTo>
                    <a:pt x="87" y="1"/>
                  </a:lnTo>
                  <a:lnTo>
                    <a:pt x="54" y="0"/>
                  </a:lnTo>
                  <a:lnTo>
                    <a:pt x="11" y="12"/>
                  </a:lnTo>
                  <a:lnTo>
                    <a:pt x="0" y="67"/>
                  </a:lnTo>
                  <a:lnTo>
                    <a:pt x="21" y="77"/>
                  </a:lnTo>
                  <a:lnTo>
                    <a:pt x="36" y="57"/>
                  </a:lnTo>
                  <a:lnTo>
                    <a:pt x="78" y="72"/>
                  </a:lnTo>
                  <a:lnTo>
                    <a:pt x="102" y="2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5" name="Freeform 181"/>
            <p:cNvSpPr>
              <a:spLocks/>
            </p:cNvSpPr>
            <p:nvPr/>
          </p:nvSpPr>
          <p:spPr bwMode="auto">
            <a:xfrm>
              <a:off x="8029366" y="5155710"/>
              <a:ext cx="41983" cy="31463"/>
            </a:xfrm>
            <a:custGeom>
              <a:avLst/>
              <a:gdLst>
                <a:gd name="T0" fmla="*/ 0 w 102"/>
                <a:gd name="T1" fmla="*/ 0 h 77"/>
                <a:gd name="T2" fmla="*/ 0 w 102"/>
                <a:gd name="T3" fmla="*/ 0 h 77"/>
                <a:gd name="T4" fmla="*/ 0 w 102"/>
                <a:gd name="T5" fmla="*/ 0 h 77"/>
                <a:gd name="T6" fmla="*/ 0 w 102"/>
                <a:gd name="T7" fmla="*/ 0 h 77"/>
                <a:gd name="T8" fmla="*/ 0 w 102"/>
                <a:gd name="T9" fmla="*/ 0 h 77"/>
                <a:gd name="T10" fmla="*/ 0 w 102"/>
                <a:gd name="T11" fmla="*/ 0 h 77"/>
                <a:gd name="T12" fmla="*/ 0 w 102"/>
                <a:gd name="T13" fmla="*/ 0 h 77"/>
                <a:gd name="T14" fmla="*/ 0 w 102"/>
                <a:gd name="T15" fmla="*/ 0 h 77"/>
                <a:gd name="T16" fmla="*/ 0 w 102"/>
                <a:gd name="T17" fmla="*/ 0 h 77"/>
                <a:gd name="T18" fmla="*/ 0 w 102"/>
                <a:gd name="T19" fmla="*/ 0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2"/>
                <a:gd name="T31" fmla="*/ 0 h 77"/>
                <a:gd name="T32" fmla="*/ 102 w 102"/>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2" h="77">
                  <a:moveTo>
                    <a:pt x="102" y="22"/>
                  </a:moveTo>
                  <a:lnTo>
                    <a:pt x="92" y="23"/>
                  </a:lnTo>
                  <a:lnTo>
                    <a:pt x="87" y="1"/>
                  </a:lnTo>
                  <a:lnTo>
                    <a:pt x="54" y="0"/>
                  </a:lnTo>
                  <a:lnTo>
                    <a:pt x="11" y="12"/>
                  </a:lnTo>
                  <a:lnTo>
                    <a:pt x="0" y="67"/>
                  </a:lnTo>
                  <a:lnTo>
                    <a:pt x="21" y="77"/>
                  </a:lnTo>
                  <a:lnTo>
                    <a:pt x="36" y="57"/>
                  </a:lnTo>
                  <a:lnTo>
                    <a:pt x="78" y="72"/>
                  </a:lnTo>
                  <a:lnTo>
                    <a:pt x="102" y="22"/>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6" name="Freeform 182"/>
            <p:cNvSpPr>
              <a:spLocks/>
            </p:cNvSpPr>
            <p:nvPr/>
          </p:nvSpPr>
          <p:spPr bwMode="auto">
            <a:xfrm>
              <a:off x="8142721" y="5231221"/>
              <a:ext cx="96562" cy="71316"/>
            </a:xfrm>
            <a:custGeom>
              <a:avLst/>
              <a:gdLst>
                <a:gd name="T0" fmla="*/ 0 w 241"/>
                <a:gd name="T1" fmla="*/ 0 h 176"/>
                <a:gd name="T2" fmla="*/ 0 w 241"/>
                <a:gd name="T3" fmla="*/ 0 h 176"/>
                <a:gd name="T4" fmla="*/ 0 w 241"/>
                <a:gd name="T5" fmla="*/ 0 h 176"/>
                <a:gd name="T6" fmla="*/ 0 w 241"/>
                <a:gd name="T7" fmla="*/ 0 h 176"/>
                <a:gd name="T8" fmla="*/ 0 w 241"/>
                <a:gd name="T9" fmla="*/ 0 h 176"/>
                <a:gd name="T10" fmla="*/ 0 w 241"/>
                <a:gd name="T11" fmla="*/ 0 h 176"/>
                <a:gd name="T12" fmla="*/ 0 w 241"/>
                <a:gd name="T13" fmla="*/ 0 h 176"/>
                <a:gd name="T14" fmla="*/ 0 w 241"/>
                <a:gd name="T15" fmla="*/ 0 h 176"/>
                <a:gd name="T16" fmla="*/ 0 w 241"/>
                <a:gd name="T17" fmla="*/ 0 h 176"/>
                <a:gd name="T18" fmla="*/ 0 w 241"/>
                <a:gd name="T19" fmla="*/ 0 h 176"/>
                <a:gd name="T20" fmla="*/ 0 w 241"/>
                <a:gd name="T21" fmla="*/ 0 h 176"/>
                <a:gd name="T22" fmla="*/ 0 w 241"/>
                <a:gd name="T23" fmla="*/ 0 h 176"/>
                <a:gd name="T24" fmla="*/ 0 w 241"/>
                <a:gd name="T25" fmla="*/ 0 h 1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1"/>
                <a:gd name="T40" fmla="*/ 0 h 176"/>
                <a:gd name="T41" fmla="*/ 241 w 241"/>
                <a:gd name="T42" fmla="*/ 176 h 1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1" h="176">
                  <a:moveTo>
                    <a:pt x="207" y="143"/>
                  </a:moveTo>
                  <a:lnTo>
                    <a:pt x="241" y="147"/>
                  </a:lnTo>
                  <a:lnTo>
                    <a:pt x="144" y="0"/>
                  </a:lnTo>
                  <a:lnTo>
                    <a:pt x="11" y="74"/>
                  </a:lnTo>
                  <a:lnTo>
                    <a:pt x="0" y="125"/>
                  </a:lnTo>
                  <a:lnTo>
                    <a:pt x="39" y="130"/>
                  </a:lnTo>
                  <a:lnTo>
                    <a:pt x="80" y="103"/>
                  </a:lnTo>
                  <a:lnTo>
                    <a:pt x="114" y="96"/>
                  </a:lnTo>
                  <a:lnTo>
                    <a:pt x="91" y="155"/>
                  </a:lnTo>
                  <a:lnTo>
                    <a:pt x="141" y="176"/>
                  </a:lnTo>
                  <a:lnTo>
                    <a:pt x="186" y="145"/>
                  </a:lnTo>
                  <a:lnTo>
                    <a:pt x="185" y="124"/>
                  </a:lnTo>
                  <a:lnTo>
                    <a:pt x="207" y="14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7" name="Freeform 183"/>
            <p:cNvSpPr>
              <a:spLocks/>
            </p:cNvSpPr>
            <p:nvPr/>
          </p:nvSpPr>
          <p:spPr bwMode="auto">
            <a:xfrm>
              <a:off x="8142721" y="5231221"/>
              <a:ext cx="96562" cy="71316"/>
            </a:xfrm>
            <a:custGeom>
              <a:avLst/>
              <a:gdLst>
                <a:gd name="T0" fmla="*/ 0 w 241"/>
                <a:gd name="T1" fmla="*/ 0 h 176"/>
                <a:gd name="T2" fmla="*/ 0 w 241"/>
                <a:gd name="T3" fmla="*/ 0 h 176"/>
                <a:gd name="T4" fmla="*/ 0 w 241"/>
                <a:gd name="T5" fmla="*/ 0 h 176"/>
                <a:gd name="T6" fmla="*/ 0 w 241"/>
                <a:gd name="T7" fmla="*/ 0 h 176"/>
                <a:gd name="T8" fmla="*/ 0 w 241"/>
                <a:gd name="T9" fmla="*/ 0 h 176"/>
                <a:gd name="T10" fmla="*/ 0 w 241"/>
                <a:gd name="T11" fmla="*/ 0 h 176"/>
                <a:gd name="T12" fmla="*/ 0 w 241"/>
                <a:gd name="T13" fmla="*/ 0 h 176"/>
                <a:gd name="T14" fmla="*/ 0 w 241"/>
                <a:gd name="T15" fmla="*/ 0 h 176"/>
                <a:gd name="T16" fmla="*/ 0 w 241"/>
                <a:gd name="T17" fmla="*/ 0 h 176"/>
                <a:gd name="T18" fmla="*/ 0 w 241"/>
                <a:gd name="T19" fmla="*/ 0 h 176"/>
                <a:gd name="T20" fmla="*/ 0 w 241"/>
                <a:gd name="T21" fmla="*/ 0 h 176"/>
                <a:gd name="T22" fmla="*/ 0 w 241"/>
                <a:gd name="T23" fmla="*/ 0 h 176"/>
                <a:gd name="T24" fmla="*/ 0 w 241"/>
                <a:gd name="T25" fmla="*/ 0 h 1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1"/>
                <a:gd name="T40" fmla="*/ 0 h 176"/>
                <a:gd name="T41" fmla="*/ 241 w 241"/>
                <a:gd name="T42" fmla="*/ 176 h 1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1" h="176">
                  <a:moveTo>
                    <a:pt x="207" y="143"/>
                  </a:moveTo>
                  <a:lnTo>
                    <a:pt x="241" y="147"/>
                  </a:lnTo>
                  <a:lnTo>
                    <a:pt x="144" y="0"/>
                  </a:lnTo>
                  <a:lnTo>
                    <a:pt x="11" y="74"/>
                  </a:lnTo>
                  <a:lnTo>
                    <a:pt x="0" y="125"/>
                  </a:lnTo>
                  <a:lnTo>
                    <a:pt x="39" y="130"/>
                  </a:lnTo>
                  <a:lnTo>
                    <a:pt x="80" y="103"/>
                  </a:lnTo>
                  <a:lnTo>
                    <a:pt x="114" y="96"/>
                  </a:lnTo>
                  <a:lnTo>
                    <a:pt x="91" y="155"/>
                  </a:lnTo>
                  <a:lnTo>
                    <a:pt x="141" y="176"/>
                  </a:lnTo>
                  <a:lnTo>
                    <a:pt x="186" y="145"/>
                  </a:lnTo>
                  <a:lnTo>
                    <a:pt x="185" y="124"/>
                  </a:lnTo>
                  <a:lnTo>
                    <a:pt x="207" y="143"/>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8" name="Freeform 184"/>
            <p:cNvSpPr>
              <a:spLocks/>
            </p:cNvSpPr>
            <p:nvPr/>
          </p:nvSpPr>
          <p:spPr bwMode="auto">
            <a:xfrm>
              <a:off x="8149019" y="5365463"/>
              <a:ext cx="31488" cy="62926"/>
            </a:xfrm>
            <a:custGeom>
              <a:avLst/>
              <a:gdLst>
                <a:gd name="T0" fmla="*/ 0 w 81"/>
                <a:gd name="T1" fmla="*/ 0 h 155"/>
                <a:gd name="T2" fmla="*/ 0 w 81"/>
                <a:gd name="T3" fmla="*/ 0 h 155"/>
                <a:gd name="T4" fmla="*/ 0 w 81"/>
                <a:gd name="T5" fmla="*/ 0 h 155"/>
                <a:gd name="T6" fmla="*/ 0 w 81"/>
                <a:gd name="T7" fmla="*/ 0 h 155"/>
                <a:gd name="T8" fmla="*/ 0 w 81"/>
                <a:gd name="T9" fmla="*/ 0 h 155"/>
                <a:gd name="T10" fmla="*/ 0 w 81"/>
                <a:gd name="T11" fmla="*/ 0 h 155"/>
                <a:gd name="T12" fmla="*/ 0 w 81"/>
                <a:gd name="T13" fmla="*/ 0 h 155"/>
                <a:gd name="T14" fmla="*/ 0 w 81"/>
                <a:gd name="T15" fmla="*/ 0 h 155"/>
                <a:gd name="T16" fmla="*/ 0 w 81"/>
                <a:gd name="T17" fmla="*/ 0 h 155"/>
                <a:gd name="T18" fmla="*/ 0 w 81"/>
                <a:gd name="T19" fmla="*/ 0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155"/>
                <a:gd name="T32" fmla="*/ 81 w 81"/>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155">
                  <a:moveTo>
                    <a:pt x="39" y="155"/>
                  </a:moveTo>
                  <a:lnTo>
                    <a:pt x="75" y="128"/>
                  </a:lnTo>
                  <a:lnTo>
                    <a:pt x="81" y="25"/>
                  </a:lnTo>
                  <a:lnTo>
                    <a:pt x="66" y="2"/>
                  </a:lnTo>
                  <a:lnTo>
                    <a:pt x="0" y="0"/>
                  </a:lnTo>
                  <a:lnTo>
                    <a:pt x="3" y="44"/>
                  </a:lnTo>
                  <a:lnTo>
                    <a:pt x="42" y="87"/>
                  </a:lnTo>
                  <a:lnTo>
                    <a:pt x="16" y="127"/>
                  </a:lnTo>
                  <a:lnTo>
                    <a:pt x="17" y="153"/>
                  </a:lnTo>
                  <a:lnTo>
                    <a:pt x="39" y="155"/>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499" name="Freeform 185"/>
            <p:cNvSpPr>
              <a:spLocks/>
            </p:cNvSpPr>
            <p:nvPr/>
          </p:nvSpPr>
          <p:spPr bwMode="auto">
            <a:xfrm>
              <a:off x="8149019" y="5365463"/>
              <a:ext cx="31488" cy="62926"/>
            </a:xfrm>
            <a:custGeom>
              <a:avLst/>
              <a:gdLst>
                <a:gd name="T0" fmla="*/ 0 w 81"/>
                <a:gd name="T1" fmla="*/ 0 h 155"/>
                <a:gd name="T2" fmla="*/ 0 w 81"/>
                <a:gd name="T3" fmla="*/ 0 h 155"/>
                <a:gd name="T4" fmla="*/ 0 w 81"/>
                <a:gd name="T5" fmla="*/ 0 h 155"/>
                <a:gd name="T6" fmla="*/ 0 w 81"/>
                <a:gd name="T7" fmla="*/ 0 h 155"/>
                <a:gd name="T8" fmla="*/ 0 w 81"/>
                <a:gd name="T9" fmla="*/ 0 h 155"/>
                <a:gd name="T10" fmla="*/ 0 w 81"/>
                <a:gd name="T11" fmla="*/ 0 h 155"/>
                <a:gd name="T12" fmla="*/ 0 w 81"/>
                <a:gd name="T13" fmla="*/ 0 h 155"/>
                <a:gd name="T14" fmla="*/ 0 w 81"/>
                <a:gd name="T15" fmla="*/ 0 h 155"/>
                <a:gd name="T16" fmla="*/ 0 w 81"/>
                <a:gd name="T17" fmla="*/ 0 h 155"/>
                <a:gd name="T18" fmla="*/ 0 w 81"/>
                <a:gd name="T19" fmla="*/ 0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155"/>
                <a:gd name="T32" fmla="*/ 81 w 81"/>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155">
                  <a:moveTo>
                    <a:pt x="39" y="155"/>
                  </a:moveTo>
                  <a:lnTo>
                    <a:pt x="75" y="128"/>
                  </a:lnTo>
                  <a:lnTo>
                    <a:pt x="81" y="25"/>
                  </a:lnTo>
                  <a:lnTo>
                    <a:pt x="66" y="2"/>
                  </a:lnTo>
                  <a:lnTo>
                    <a:pt x="0" y="0"/>
                  </a:lnTo>
                  <a:lnTo>
                    <a:pt x="3" y="44"/>
                  </a:lnTo>
                  <a:lnTo>
                    <a:pt x="42" y="87"/>
                  </a:lnTo>
                  <a:lnTo>
                    <a:pt x="16" y="127"/>
                  </a:lnTo>
                  <a:lnTo>
                    <a:pt x="17" y="153"/>
                  </a:lnTo>
                  <a:lnTo>
                    <a:pt x="39" y="155"/>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0" name="Freeform 186"/>
            <p:cNvSpPr>
              <a:spLocks/>
            </p:cNvSpPr>
            <p:nvPr/>
          </p:nvSpPr>
          <p:spPr bwMode="auto">
            <a:xfrm>
              <a:off x="8426109" y="5684288"/>
              <a:ext cx="65074" cy="92291"/>
            </a:xfrm>
            <a:custGeom>
              <a:avLst/>
              <a:gdLst>
                <a:gd name="T0" fmla="*/ 0 w 163"/>
                <a:gd name="T1" fmla="*/ 0 h 225"/>
                <a:gd name="T2" fmla="*/ 0 w 163"/>
                <a:gd name="T3" fmla="*/ 0 h 225"/>
                <a:gd name="T4" fmla="*/ 0 w 163"/>
                <a:gd name="T5" fmla="*/ 0 h 225"/>
                <a:gd name="T6" fmla="*/ 0 w 163"/>
                <a:gd name="T7" fmla="*/ 0 h 225"/>
                <a:gd name="T8" fmla="*/ 0 w 163"/>
                <a:gd name="T9" fmla="*/ 0 h 225"/>
                <a:gd name="T10" fmla="*/ 0 w 163"/>
                <a:gd name="T11" fmla="*/ 0 h 225"/>
                <a:gd name="T12" fmla="*/ 0 w 163"/>
                <a:gd name="T13" fmla="*/ 0 h 225"/>
                <a:gd name="T14" fmla="*/ 0 w 163"/>
                <a:gd name="T15" fmla="*/ 0 h 225"/>
                <a:gd name="T16" fmla="*/ 0 w 163"/>
                <a:gd name="T17" fmla="*/ 0 h 225"/>
                <a:gd name="T18" fmla="*/ 0 w 163"/>
                <a:gd name="T19" fmla="*/ 0 h 2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3"/>
                <a:gd name="T31" fmla="*/ 0 h 225"/>
                <a:gd name="T32" fmla="*/ 163 w 163"/>
                <a:gd name="T33" fmla="*/ 225 h 2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3" h="225">
                  <a:moveTo>
                    <a:pt x="107" y="159"/>
                  </a:moveTo>
                  <a:lnTo>
                    <a:pt x="131" y="145"/>
                  </a:lnTo>
                  <a:lnTo>
                    <a:pt x="135" y="113"/>
                  </a:lnTo>
                  <a:lnTo>
                    <a:pt x="155" y="69"/>
                  </a:lnTo>
                  <a:lnTo>
                    <a:pt x="163" y="0"/>
                  </a:lnTo>
                  <a:lnTo>
                    <a:pt x="82" y="45"/>
                  </a:lnTo>
                  <a:lnTo>
                    <a:pt x="3" y="127"/>
                  </a:lnTo>
                  <a:lnTo>
                    <a:pt x="0" y="158"/>
                  </a:lnTo>
                  <a:lnTo>
                    <a:pt x="9" y="225"/>
                  </a:lnTo>
                  <a:lnTo>
                    <a:pt x="107" y="159"/>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1" name="Freeform 187"/>
            <p:cNvSpPr>
              <a:spLocks/>
            </p:cNvSpPr>
            <p:nvPr/>
          </p:nvSpPr>
          <p:spPr bwMode="auto">
            <a:xfrm>
              <a:off x="8426109" y="5684288"/>
              <a:ext cx="65074" cy="92291"/>
            </a:xfrm>
            <a:custGeom>
              <a:avLst/>
              <a:gdLst>
                <a:gd name="T0" fmla="*/ 0 w 163"/>
                <a:gd name="T1" fmla="*/ 0 h 225"/>
                <a:gd name="T2" fmla="*/ 0 w 163"/>
                <a:gd name="T3" fmla="*/ 0 h 225"/>
                <a:gd name="T4" fmla="*/ 0 w 163"/>
                <a:gd name="T5" fmla="*/ 0 h 225"/>
                <a:gd name="T6" fmla="*/ 0 w 163"/>
                <a:gd name="T7" fmla="*/ 0 h 225"/>
                <a:gd name="T8" fmla="*/ 0 w 163"/>
                <a:gd name="T9" fmla="*/ 0 h 225"/>
                <a:gd name="T10" fmla="*/ 0 w 163"/>
                <a:gd name="T11" fmla="*/ 0 h 225"/>
                <a:gd name="T12" fmla="*/ 0 w 163"/>
                <a:gd name="T13" fmla="*/ 0 h 225"/>
                <a:gd name="T14" fmla="*/ 0 w 163"/>
                <a:gd name="T15" fmla="*/ 0 h 225"/>
                <a:gd name="T16" fmla="*/ 0 w 163"/>
                <a:gd name="T17" fmla="*/ 0 h 225"/>
                <a:gd name="T18" fmla="*/ 0 w 163"/>
                <a:gd name="T19" fmla="*/ 0 h 2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3"/>
                <a:gd name="T31" fmla="*/ 0 h 225"/>
                <a:gd name="T32" fmla="*/ 163 w 163"/>
                <a:gd name="T33" fmla="*/ 225 h 2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3" h="225">
                  <a:moveTo>
                    <a:pt x="107" y="159"/>
                  </a:moveTo>
                  <a:lnTo>
                    <a:pt x="131" y="145"/>
                  </a:lnTo>
                  <a:lnTo>
                    <a:pt x="135" y="113"/>
                  </a:lnTo>
                  <a:lnTo>
                    <a:pt x="155" y="69"/>
                  </a:lnTo>
                  <a:lnTo>
                    <a:pt x="163" y="0"/>
                  </a:lnTo>
                  <a:lnTo>
                    <a:pt x="82" y="45"/>
                  </a:lnTo>
                  <a:lnTo>
                    <a:pt x="3" y="127"/>
                  </a:lnTo>
                  <a:lnTo>
                    <a:pt x="0" y="158"/>
                  </a:lnTo>
                  <a:lnTo>
                    <a:pt x="9" y="225"/>
                  </a:lnTo>
                  <a:lnTo>
                    <a:pt x="107" y="159"/>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2" name="Freeform 188"/>
            <p:cNvSpPr>
              <a:spLocks/>
            </p:cNvSpPr>
            <p:nvPr/>
          </p:nvSpPr>
          <p:spPr bwMode="auto">
            <a:xfrm>
              <a:off x="7876127" y="5864675"/>
              <a:ext cx="371553" cy="106974"/>
            </a:xfrm>
            <a:custGeom>
              <a:avLst/>
              <a:gdLst>
                <a:gd name="T0" fmla="*/ 0 w 906"/>
                <a:gd name="T1" fmla="*/ 0 h 265"/>
                <a:gd name="T2" fmla="*/ 0 w 906"/>
                <a:gd name="T3" fmla="*/ 0 h 265"/>
                <a:gd name="T4" fmla="*/ 0 w 906"/>
                <a:gd name="T5" fmla="*/ 0 h 265"/>
                <a:gd name="T6" fmla="*/ 0 w 906"/>
                <a:gd name="T7" fmla="*/ 0 h 265"/>
                <a:gd name="T8" fmla="*/ 0 w 906"/>
                <a:gd name="T9" fmla="*/ 0 h 265"/>
                <a:gd name="T10" fmla="*/ 0 w 906"/>
                <a:gd name="T11" fmla="*/ 0 h 265"/>
                <a:gd name="T12" fmla="*/ 0 w 906"/>
                <a:gd name="T13" fmla="*/ 0 h 265"/>
                <a:gd name="T14" fmla="*/ 0 w 906"/>
                <a:gd name="T15" fmla="*/ 0 h 265"/>
                <a:gd name="T16" fmla="*/ 0 w 906"/>
                <a:gd name="T17" fmla="*/ 0 h 265"/>
                <a:gd name="T18" fmla="*/ 0 w 906"/>
                <a:gd name="T19" fmla="*/ 0 h 265"/>
                <a:gd name="T20" fmla="*/ 0 w 906"/>
                <a:gd name="T21" fmla="*/ 0 h 265"/>
                <a:gd name="T22" fmla="*/ 0 w 906"/>
                <a:gd name="T23" fmla="*/ 0 h 265"/>
                <a:gd name="T24" fmla="*/ 0 w 906"/>
                <a:gd name="T25" fmla="*/ 0 h 265"/>
                <a:gd name="T26" fmla="*/ 0 w 906"/>
                <a:gd name="T27" fmla="*/ 0 h 265"/>
                <a:gd name="T28" fmla="*/ 0 w 906"/>
                <a:gd name="T29" fmla="*/ 0 h 265"/>
                <a:gd name="T30" fmla="*/ 0 w 906"/>
                <a:gd name="T31" fmla="*/ 0 h 265"/>
                <a:gd name="T32" fmla="*/ 0 w 906"/>
                <a:gd name="T33" fmla="*/ 0 h 265"/>
                <a:gd name="T34" fmla="*/ 0 w 906"/>
                <a:gd name="T35" fmla="*/ 0 h 265"/>
                <a:gd name="T36" fmla="*/ 0 w 906"/>
                <a:gd name="T37" fmla="*/ 0 h 265"/>
                <a:gd name="T38" fmla="*/ 0 w 906"/>
                <a:gd name="T39" fmla="*/ 0 h 265"/>
                <a:gd name="T40" fmla="*/ 0 w 906"/>
                <a:gd name="T41" fmla="*/ 0 h 265"/>
                <a:gd name="T42" fmla="*/ 0 w 906"/>
                <a:gd name="T43" fmla="*/ 0 h 265"/>
                <a:gd name="T44" fmla="*/ 0 w 906"/>
                <a:gd name="T45" fmla="*/ 0 h 265"/>
                <a:gd name="T46" fmla="*/ 0 w 906"/>
                <a:gd name="T47" fmla="*/ 0 h 265"/>
                <a:gd name="T48" fmla="*/ 0 w 906"/>
                <a:gd name="T49" fmla="*/ 0 h 265"/>
                <a:gd name="T50" fmla="*/ 0 w 906"/>
                <a:gd name="T51" fmla="*/ 0 h 265"/>
                <a:gd name="T52" fmla="*/ 0 w 906"/>
                <a:gd name="T53" fmla="*/ 0 h 265"/>
                <a:gd name="T54" fmla="*/ 0 w 906"/>
                <a:gd name="T55" fmla="*/ 0 h 265"/>
                <a:gd name="T56" fmla="*/ 0 w 906"/>
                <a:gd name="T57" fmla="*/ 0 h 26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06"/>
                <a:gd name="T88" fmla="*/ 0 h 265"/>
                <a:gd name="T89" fmla="*/ 906 w 906"/>
                <a:gd name="T90" fmla="*/ 265 h 26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06" h="265">
                  <a:moveTo>
                    <a:pt x="493" y="72"/>
                  </a:moveTo>
                  <a:lnTo>
                    <a:pt x="445" y="57"/>
                  </a:lnTo>
                  <a:lnTo>
                    <a:pt x="267" y="96"/>
                  </a:lnTo>
                  <a:lnTo>
                    <a:pt x="226" y="66"/>
                  </a:lnTo>
                  <a:lnTo>
                    <a:pt x="192" y="64"/>
                  </a:lnTo>
                  <a:lnTo>
                    <a:pt x="206" y="28"/>
                  </a:lnTo>
                  <a:lnTo>
                    <a:pt x="180" y="1"/>
                  </a:lnTo>
                  <a:lnTo>
                    <a:pt x="145" y="35"/>
                  </a:lnTo>
                  <a:lnTo>
                    <a:pt x="80" y="2"/>
                  </a:lnTo>
                  <a:lnTo>
                    <a:pt x="58" y="0"/>
                  </a:lnTo>
                  <a:lnTo>
                    <a:pt x="45" y="48"/>
                  </a:lnTo>
                  <a:lnTo>
                    <a:pt x="13" y="37"/>
                  </a:lnTo>
                  <a:lnTo>
                    <a:pt x="0" y="169"/>
                  </a:lnTo>
                  <a:lnTo>
                    <a:pt x="302" y="169"/>
                  </a:lnTo>
                  <a:lnTo>
                    <a:pt x="337" y="192"/>
                  </a:lnTo>
                  <a:lnTo>
                    <a:pt x="388" y="207"/>
                  </a:lnTo>
                  <a:lnTo>
                    <a:pt x="421" y="265"/>
                  </a:lnTo>
                  <a:lnTo>
                    <a:pt x="796" y="185"/>
                  </a:lnTo>
                  <a:lnTo>
                    <a:pt x="859" y="210"/>
                  </a:lnTo>
                  <a:lnTo>
                    <a:pt x="906" y="117"/>
                  </a:lnTo>
                  <a:lnTo>
                    <a:pt x="894" y="89"/>
                  </a:lnTo>
                  <a:lnTo>
                    <a:pt x="855" y="114"/>
                  </a:lnTo>
                  <a:lnTo>
                    <a:pt x="823" y="121"/>
                  </a:lnTo>
                  <a:lnTo>
                    <a:pt x="781" y="140"/>
                  </a:lnTo>
                  <a:lnTo>
                    <a:pt x="730" y="128"/>
                  </a:lnTo>
                  <a:lnTo>
                    <a:pt x="699" y="83"/>
                  </a:lnTo>
                  <a:lnTo>
                    <a:pt x="533" y="97"/>
                  </a:lnTo>
                  <a:lnTo>
                    <a:pt x="494" y="89"/>
                  </a:lnTo>
                  <a:lnTo>
                    <a:pt x="493" y="7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3" name="Freeform 189"/>
            <p:cNvSpPr>
              <a:spLocks/>
            </p:cNvSpPr>
            <p:nvPr/>
          </p:nvSpPr>
          <p:spPr bwMode="auto">
            <a:xfrm>
              <a:off x="7876127" y="5864675"/>
              <a:ext cx="371553" cy="106974"/>
            </a:xfrm>
            <a:custGeom>
              <a:avLst/>
              <a:gdLst>
                <a:gd name="T0" fmla="*/ 0 w 906"/>
                <a:gd name="T1" fmla="*/ 0 h 265"/>
                <a:gd name="T2" fmla="*/ 0 w 906"/>
                <a:gd name="T3" fmla="*/ 0 h 265"/>
                <a:gd name="T4" fmla="*/ 0 w 906"/>
                <a:gd name="T5" fmla="*/ 0 h 265"/>
                <a:gd name="T6" fmla="*/ 0 w 906"/>
                <a:gd name="T7" fmla="*/ 0 h 265"/>
                <a:gd name="T8" fmla="*/ 0 w 906"/>
                <a:gd name="T9" fmla="*/ 0 h 265"/>
                <a:gd name="T10" fmla="*/ 0 w 906"/>
                <a:gd name="T11" fmla="*/ 0 h 265"/>
                <a:gd name="T12" fmla="*/ 0 w 906"/>
                <a:gd name="T13" fmla="*/ 0 h 265"/>
                <a:gd name="T14" fmla="*/ 0 w 906"/>
                <a:gd name="T15" fmla="*/ 0 h 265"/>
                <a:gd name="T16" fmla="*/ 0 w 906"/>
                <a:gd name="T17" fmla="*/ 0 h 265"/>
                <a:gd name="T18" fmla="*/ 0 w 906"/>
                <a:gd name="T19" fmla="*/ 0 h 265"/>
                <a:gd name="T20" fmla="*/ 0 w 906"/>
                <a:gd name="T21" fmla="*/ 0 h 265"/>
                <a:gd name="T22" fmla="*/ 0 w 906"/>
                <a:gd name="T23" fmla="*/ 0 h 265"/>
                <a:gd name="T24" fmla="*/ 0 w 906"/>
                <a:gd name="T25" fmla="*/ 0 h 265"/>
                <a:gd name="T26" fmla="*/ 0 w 906"/>
                <a:gd name="T27" fmla="*/ 0 h 265"/>
                <a:gd name="T28" fmla="*/ 0 w 906"/>
                <a:gd name="T29" fmla="*/ 0 h 265"/>
                <a:gd name="T30" fmla="*/ 0 w 906"/>
                <a:gd name="T31" fmla="*/ 0 h 265"/>
                <a:gd name="T32" fmla="*/ 0 w 906"/>
                <a:gd name="T33" fmla="*/ 0 h 265"/>
                <a:gd name="T34" fmla="*/ 0 w 906"/>
                <a:gd name="T35" fmla="*/ 0 h 265"/>
                <a:gd name="T36" fmla="*/ 0 w 906"/>
                <a:gd name="T37" fmla="*/ 0 h 265"/>
                <a:gd name="T38" fmla="*/ 0 w 906"/>
                <a:gd name="T39" fmla="*/ 0 h 265"/>
                <a:gd name="T40" fmla="*/ 0 w 906"/>
                <a:gd name="T41" fmla="*/ 0 h 265"/>
                <a:gd name="T42" fmla="*/ 0 w 906"/>
                <a:gd name="T43" fmla="*/ 0 h 265"/>
                <a:gd name="T44" fmla="*/ 0 w 906"/>
                <a:gd name="T45" fmla="*/ 0 h 265"/>
                <a:gd name="T46" fmla="*/ 0 w 906"/>
                <a:gd name="T47" fmla="*/ 0 h 265"/>
                <a:gd name="T48" fmla="*/ 0 w 906"/>
                <a:gd name="T49" fmla="*/ 0 h 265"/>
                <a:gd name="T50" fmla="*/ 0 w 906"/>
                <a:gd name="T51" fmla="*/ 0 h 265"/>
                <a:gd name="T52" fmla="*/ 0 w 906"/>
                <a:gd name="T53" fmla="*/ 0 h 265"/>
                <a:gd name="T54" fmla="*/ 0 w 906"/>
                <a:gd name="T55" fmla="*/ 0 h 265"/>
                <a:gd name="T56" fmla="*/ 0 w 906"/>
                <a:gd name="T57" fmla="*/ 0 h 26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06"/>
                <a:gd name="T88" fmla="*/ 0 h 265"/>
                <a:gd name="T89" fmla="*/ 906 w 906"/>
                <a:gd name="T90" fmla="*/ 265 h 26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06" h="265">
                  <a:moveTo>
                    <a:pt x="493" y="72"/>
                  </a:moveTo>
                  <a:lnTo>
                    <a:pt x="445" y="57"/>
                  </a:lnTo>
                  <a:lnTo>
                    <a:pt x="267" y="96"/>
                  </a:lnTo>
                  <a:lnTo>
                    <a:pt x="226" y="66"/>
                  </a:lnTo>
                  <a:lnTo>
                    <a:pt x="192" y="64"/>
                  </a:lnTo>
                  <a:lnTo>
                    <a:pt x="206" y="28"/>
                  </a:lnTo>
                  <a:lnTo>
                    <a:pt x="180" y="1"/>
                  </a:lnTo>
                  <a:lnTo>
                    <a:pt x="145" y="35"/>
                  </a:lnTo>
                  <a:lnTo>
                    <a:pt x="80" y="2"/>
                  </a:lnTo>
                  <a:lnTo>
                    <a:pt x="58" y="0"/>
                  </a:lnTo>
                  <a:lnTo>
                    <a:pt x="45" y="48"/>
                  </a:lnTo>
                  <a:lnTo>
                    <a:pt x="13" y="37"/>
                  </a:lnTo>
                  <a:lnTo>
                    <a:pt x="0" y="169"/>
                  </a:lnTo>
                  <a:lnTo>
                    <a:pt x="302" y="169"/>
                  </a:lnTo>
                  <a:lnTo>
                    <a:pt x="337" y="192"/>
                  </a:lnTo>
                  <a:lnTo>
                    <a:pt x="388" y="207"/>
                  </a:lnTo>
                  <a:lnTo>
                    <a:pt x="421" y="265"/>
                  </a:lnTo>
                  <a:lnTo>
                    <a:pt x="796" y="185"/>
                  </a:lnTo>
                  <a:lnTo>
                    <a:pt x="859" y="210"/>
                  </a:lnTo>
                  <a:lnTo>
                    <a:pt x="906" y="117"/>
                  </a:lnTo>
                  <a:lnTo>
                    <a:pt x="894" y="89"/>
                  </a:lnTo>
                  <a:lnTo>
                    <a:pt x="855" y="114"/>
                  </a:lnTo>
                  <a:lnTo>
                    <a:pt x="823" y="121"/>
                  </a:lnTo>
                  <a:lnTo>
                    <a:pt x="781" y="140"/>
                  </a:lnTo>
                  <a:lnTo>
                    <a:pt x="730" y="128"/>
                  </a:lnTo>
                  <a:lnTo>
                    <a:pt x="699" y="83"/>
                  </a:lnTo>
                  <a:lnTo>
                    <a:pt x="533" y="97"/>
                  </a:lnTo>
                  <a:lnTo>
                    <a:pt x="494" y="89"/>
                  </a:lnTo>
                  <a:lnTo>
                    <a:pt x="493" y="72"/>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4" name="Freeform 190"/>
            <p:cNvSpPr>
              <a:spLocks/>
            </p:cNvSpPr>
            <p:nvPr/>
          </p:nvSpPr>
          <p:spPr bwMode="auto">
            <a:xfrm>
              <a:off x="8008374" y="5482925"/>
              <a:ext cx="39884" cy="48243"/>
            </a:xfrm>
            <a:custGeom>
              <a:avLst/>
              <a:gdLst>
                <a:gd name="T0" fmla="*/ 0 w 98"/>
                <a:gd name="T1" fmla="*/ 0 h 119"/>
                <a:gd name="T2" fmla="*/ 0 w 98"/>
                <a:gd name="T3" fmla="*/ 0 h 119"/>
                <a:gd name="T4" fmla="*/ 0 w 98"/>
                <a:gd name="T5" fmla="*/ 0 h 119"/>
                <a:gd name="T6" fmla="*/ 0 w 98"/>
                <a:gd name="T7" fmla="*/ 0 h 119"/>
                <a:gd name="T8" fmla="*/ 0 w 98"/>
                <a:gd name="T9" fmla="*/ 0 h 119"/>
                <a:gd name="T10" fmla="*/ 0 w 98"/>
                <a:gd name="T11" fmla="*/ 0 h 119"/>
                <a:gd name="T12" fmla="*/ 0 w 98"/>
                <a:gd name="T13" fmla="*/ 0 h 119"/>
                <a:gd name="T14" fmla="*/ 0 w 98"/>
                <a:gd name="T15" fmla="*/ 0 h 119"/>
                <a:gd name="T16" fmla="*/ 0 w 98"/>
                <a:gd name="T17" fmla="*/ 0 h 119"/>
                <a:gd name="T18" fmla="*/ 0 w 98"/>
                <a:gd name="T19" fmla="*/ 0 h 1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119"/>
                <a:gd name="T32" fmla="*/ 98 w 98"/>
                <a:gd name="T33" fmla="*/ 119 h 1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119">
                  <a:moveTo>
                    <a:pt x="82" y="119"/>
                  </a:moveTo>
                  <a:lnTo>
                    <a:pt x="98" y="98"/>
                  </a:lnTo>
                  <a:lnTo>
                    <a:pt x="96" y="58"/>
                  </a:lnTo>
                  <a:lnTo>
                    <a:pt x="84" y="34"/>
                  </a:lnTo>
                  <a:lnTo>
                    <a:pt x="44" y="9"/>
                  </a:lnTo>
                  <a:lnTo>
                    <a:pt x="2" y="0"/>
                  </a:lnTo>
                  <a:lnTo>
                    <a:pt x="0" y="27"/>
                  </a:lnTo>
                  <a:lnTo>
                    <a:pt x="30" y="58"/>
                  </a:lnTo>
                  <a:lnTo>
                    <a:pt x="65" y="118"/>
                  </a:lnTo>
                  <a:lnTo>
                    <a:pt x="82" y="119"/>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5" name="Freeform 191"/>
            <p:cNvSpPr>
              <a:spLocks/>
            </p:cNvSpPr>
            <p:nvPr/>
          </p:nvSpPr>
          <p:spPr bwMode="auto">
            <a:xfrm>
              <a:off x="8008374" y="5482925"/>
              <a:ext cx="39884" cy="48243"/>
            </a:xfrm>
            <a:custGeom>
              <a:avLst/>
              <a:gdLst>
                <a:gd name="T0" fmla="*/ 0 w 98"/>
                <a:gd name="T1" fmla="*/ 0 h 119"/>
                <a:gd name="T2" fmla="*/ 0 w 98"/>
                <a:gd name="T3" fmla="*/ 0 h 119"/>
                <a:gd name="T4" fmla="*/ 0 w 98"/>
                <a:gd name="T5" fmla="*/ 0 h 119"/>
                <a:gd name="T6" fmla="*/ 0 w 98"/>
                <a:gd name="T7" fmla="*/ 0 h 119"/>
                <a:gd name="T8" fmla="*/ 0 w 98"/>
                <a:gd name="T9" fmla="*/ 0 h 119"/>
                <a:gd name="T10" fmla="*/ 0 w 98"/>
                <a:gd name="T11" fmla="*/ 0 h 119"/>
                <a:gd name="T12" fmla="*/ 0 w 98"/>
                <a:gd name="T13" fmla="*/ 0 h 119"/>
                <a:gd name="T14" fmla="*/ 0 w 98"/>
                <a:gd name="T15" fmla="*/ 0 h 119"/>
                <a:gd name="T16" fmla="*/ 0 w 98"/>
                <a:gd name="T17" fmla="*/ 0 h 119"/>
                <a:gd name="T18" fmla="*/ 0 w 98"/>
                <a:gd name="T19" fmla="*/ 0 h 1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119"/>
                <a:gd name="T32" fmla="*/ 98 w 98"/>
                <a:gd name="T33" fmla="*/ 119 h 1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119">
                  <a:moveTo>
                    <a:pt x="82" y="119"/>
                  </a:moveTo>
                  <a:lnTo>
                    <a:pt x="98" y="98"/>
                  </a:lnTo>
                  <a:lnTo>
                    <a:pt x="96" y="58"/>
                  </a:lnTo>
                  <a:lnTo>
                    <a:pt x="84" y="34"/>
                  </a:lnTo>
                  <a:lnTo>
                    <a:pt x="44" y="9"/>
                  </a:lnTo>
                  <a:lnTo>
                    <a:pt x="2" y="0"/>
                  </a:lnTo>
                  <a:lnTo>
                    <a:pt x="0" y="27"/>
                  </a:lnTo>
                  <a:lnTo>
                    <a:pt x="30" y="58"/>
                  </a:lnTo>
                  <a:lnTo>
                    <a:pt x="65" y="118"/>
                  </a:lnTo>
                  <a:lnTo>
                    <a:pt x="82" y="119"/>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6" name="Freeform 192"/>
            <p:cNvSpPr>
              <a:spLocks/>
            </p:cNvSpPr>
            <p:nvPr/>
          </p:nvSpPr>
          <p:spPr bwMode="auto">
            <a:xfrm>
              <a:off x="8102837" y="5604581"/>
              <a:ext cx="25190" cy="37756"/>
            </a:xfrm>
            <a:custGeom>
              <a:avLst/>
              <a:gdLst>
                <a:gd name="T0" fmla="*/ 0 w 60"/>
                <a:gd name="T1" fmla="*/ 0 h 96"/>
                <a:gd name="T2" fmla="*/ 0 w 60"/>
                <a:gd name="T3" fmla="*/ 0 h 96"/>
                <a:gd name="T4" fmla="*/ 0 w 60"/>
                <a:gd name="T5" fmla="*/ 0 h 96"/>
                <a:gd name="T6" fmla="*/ 0 w 60"/>
                <a:gd name="T7" fmla="*/ 0 h 96"/>
                <a:gd name="T8" fmla="*/ 0 w 60"/>
                <a:gd name="T9" fmla="*/ 0 h 96"/>
                <a:gd name="T10" fmla="*/ 0 w 60"/>
                <a:gd name="T11" fmla="*/ 0 h 96"/>
                <a:gd name="T12" fmla="*/ 0 w 60"/>
                <a:gd name="T13" fmla="*/ 0 h 96"/>
                <a:gd name="T14" fmla="*/ 0 60000 65536"/>
                <a:gd name="T15" fmla="*/ 0 60000 65536"/>
                <a:gd name="T16" fmla="*/ 0 60000 65536"/>
                <a:gd name="T17" fmla="*/ 0 60000 65536"/>
                <a:gd name="T18" fmla="*/ 0 60000 65536"/>
                <a:gd name="T19" fmla="*/ 0 60000 65536"/>
                <a:gd name="T20" fmla="*/ 0 60000 65536"/>
                <a:gd name="T21" fmla="*/ 0 w 60"/>
                <a:gd name="T22" fmla="*/ 0 h 96"/>
                <a:gd name="T23" fmla="*/ 60 w 60"/>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96">
                  <a:moveTo>
                    <a:pt x="18" y="96"/>
                  </a:moveTo>
                  <a:lnTo>
                    <a:pt x="56" y="92"/>
                  </a:lnTo>
                  <a:lnTo>
                    <a:pt x="60" y="0"/>
                  </a:lnTo>
                  <a:lnTo>
                    <a:pt x="27" y="10"/>
                  </a:lnTo>
                  <a:lnTo>
                    <a:pt x="0" y="43"/>
                  </a:lnTo>
                  <a:lnTo>
                    <a:pt x="4" y="92"/>
                  </a:lnTo>
                  <a:lnTo>
                    <a:pt x="18" y="96"/>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7" name="Freeform 193"/>
            <p:cNvSpPr>
              <a:spLocks/>
            </p:cNvSpPr>
            <p:nvPr/>
          </p:nvSpPr>
          <p:spPr bwMode="auto">
            <a:xfrm>
              <a:off x="8102837" y="5604581"/>
              <a:ext cx="25190" cy="37756"/>
            </a:xfrm>
            <a:custGeom>
              <a:avLst/>
              <a:gdLst>
                <a:gd name="T0" fmla="*/ 0 w 60"/>
                <a:gd name="T1" fmla="*/ 0 h 96"/>
                <a:gd name="T2" fmla="*/ 0 w 60"/>
                <a:gd name="T3" fmla="*/ 0 h 96"/>
                <a:gd name="T4" fmla="*/ 0 w 60"/>
                <a:gd name="T5" fmla="*/ 0 h 96"/>
                <a:gd name="T6" fmla="*/ 0 w 60"/>
                <a:gd name="T7" fmla="*/ 0 h 96"/>
                <a:gd name="T8" fmla="*/ 0 w 60"/>
                <a:gd name="T9" fmla="*/ 0 h 96"/>
                <a:gd name="T10" fmla="*/ 0 w 60"/>
                <a:gd name="T11" fmla="*/ 0 h 96"/>
                <a:gd name="T12" fmla="*/ 0 w 60"/>
                <a:gd name="T13" fmla="*/ 0 h 96"/>
                <a:gd name="T14" fmla="*/ 0 60000 65536"/>
                <a:gd name="T15" fmla="*/ 0 60000 65536"/>
                <a:gd name="T16" fmla="*/ 0 60000 65536"/>
                <a:gd name="T17" fmla="*/ 0 60000 65536"/>
                <a:gd name="T18" fmla="*/ 0 60000 65536"/>
                <a:gd name="T19" fmla="*/ 0 60000 65536"/>
                <a:gd name="T20" fmla="*/ 0 60000 65536"/>
                <a:gd name="T21" fmla="*/ 0 w 60"/>
                <a:gd name="T22" fmla="*/ 0 h 96"/>
                <a:gd name="T23" fmla="*/ 60 w 60"/>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96">
                  <a:moveTo>
                    <a:pt x="18" y="96"/>
                  </a:moveTo>
                  <a:lnTo>
                    <a:pt x="56" y="92"/>
                  </a:lnTo>
                  <a:lnTo>
                    <a:pt x="60" y="0"/>
                  </a:lnTo>
                  <a:lnTo>
                    <a:pt x="27" y="10"/>
                  </a:lnTo>
                  <a:lnTo>
                    <a:pt x="0" y="43"/>
                  </a:lnTo>
                  <a:lnTo>
                    <a:pt x="4" y="92"/>
                  </a:lnTo>
                  <a:lnTo>
                    <a:pt x="18" y="96"/>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8" name="Freeform 194"/>
            <p:cNvSpPr>
              <a:spLocks/>
            </p:cNvSpPr>
            <p:nvPr/>
          </p:nvSpPr>
          <p:spPr bwMode="auto">
            <a:xfrm>
              <a:off x="7552855" y="5440974"/>
              <a:ext cx="300181" cy="302044"/>
            </a:xfrm>
            <a:custGeom>
              <a:avLst/>
              <a:gdLst>
                <a:gd name="T0" fmla="*/ 0 w 742"/>
                <a:gd name="T1" fmla="*/ 0 h 744"/>
                <a:gd name="T2" fmla="*/ 0 w 742"/>
                <a:gd name="T3" fmla="*/ 0 h 744"/>
                <a:gd name="T4" fmla="*/ 0 w 742"/>
                <a:gd name="T5" fmla="*/ 0 h 744"/>
                <a:gd name="T6" fmla="*/ 0 w 742"/>
                <a:gd name="T7" fmla="*/ 0 h 744"/>
                <a:gd name="T8" fmla="*/ 0 w 742"/>
                <a:gd name="T9" fmla="*/ 0 h 744"/>
                <a:gd name="T10" fmla="*/ 0 w 742"/>
                <a:gd name="T11" fmla="*/ 0 h 744"/>
                <a:gd name="T12" fmla="*/ 0 w 742"/>
                <a:gd name="T13" fmla="*/ 0 h 744"/>
                <a:gd name="T14" fmla="*/ 0 w 742"/>
                <a:gd name="T15" fmla="*/ 0 h 744"/>
                <a:gd name="T16" fmla="*/ 0 w 742"/>
                <a:gd name="T17" fmla="*/ 0 h 744"/>
                <a:gd name="T18" fmla="*/ 0 w 742"/>
                <a:gd name="T19" fmla="*/ 0 h 744"/>
                <a:gd name="T20" fmla="*/ 0 w 742"/>
                <a:gd name="T21" fmla="*/ 0 h 744"/>
                <a:gd name="T22" fmla="*/ 0 w 742"/>
                <a:gd name="T23" fmla="*/ 0 h 744"/>
                <a:gd name="T24" fmla="*/ 0 w 742"/>
                <a:gd name="T25" fmla="*/ 0 h 744"/>
                <a:gd name="T26" fmla="*/ 0 w 742"/>
                <a:gd name="T27" fmla="*/ 0 h 744"/>
                <a:gd name="T28" fmla="*/ 0 w 742"/>
                <a:gd name="T29" fmla="*/ 0 h 744"/>
                <a:gd name="T30" fmla="*/ 0 w 742"/>
                <a:gd name="T31" fmla="*/ 0 h 744"/>
                <a:gd name="T32" fmla="*/ 0 w 742"/>
                <a:gd name="T33" fmla="*/ 0 h 744"/>
                <a:gd name="T34" fmla="*/ 0 w 742"/>
                <a:gd name="T35" fmla="*/ 0 h 744"/>
                <a:gd name="T36" fmla="*/ 0 w 742"/>
                <a:gd name="T37" fmla="*/ 0 h 744"/>
                <a:gd name="T38" fmla="*/ 0 w 742"/>
                <a:gd name="T39" fmla="*/ 0 h 744"/>
                <a:gd name="T40" fmla="*/ 0 w 742"/>
                <a:gd name="T41" fmla="*/ 0 h 744"/>
                <a:gd name="T42" fmla="*/ 0 w 742"/>
                <a:gd name="T43" fmla="*/ 0 h 744"/>
                <a:gd name="T44" fmla="*/ 0 w 742"/>
                <a:gd name="T45" fmla="*/ 0 h 744"/>
                <a:gd name="T46" fmla="*/ 0 w 742"/>
                <a:gd name="T47" fmla="*/ 0 h 744"/>
                <a:gd name="T48" fmla="*/ 0 w 742"/>
                <a:gd name="T49" fmla="*/ 0 h 744"/>
                <a:gd name="T50" fmla="*/ 0 w 742"/>
                <a:gd name="T51" fmla="*/ 0 h 744"/>
                <a:gd name="T52" fmla="*/ 0 w 742"/>
                <a:gd name="T53" fmla="*/ 0 h 744"/>
                <a:gd name="T54" fmla="*/ 0 w 742"/>
                <a:gd name="T55" fmla="*/ 0 h 744"/>
                <a:gd name="T56" fmla="*/ 0 w 742"/>
                <a:gd name="T57" fmla="*/ 0 h 744"/>
                <a:gd name="T58" fmla="*/ 0 w 742"/>
                <a:gd name="T59" fmla="*/ 0 h 744"/>
                <a:gd name="T60" fmla="*/ 0 w 742"/>
                <a:gd name="T61" fmla="*/ 0 h 744"/>
                <a:gd name="T62" fmla="*/ 0 w 742"/>
                <a:gd name="T63" fmla="*/ 0 h 744"/>
                <a:gd name="T64" fmla="*/ 0 w 742"/>
                <a:gd name="T65" fmla="*/ 0 h 744"/>
                <a:gd name="T66" fmla="*/ 0 w 742"/>
                <a:gd name="T67" fmla="*/ 0 h 744"/>
                <a:gd name="T68" fmla="*/ 0 w 742"/>
                <a:gd name="T69" fmla="*/ 0 h 744"/>
                <a:gd name="T70" fmla="*/ 0 w 742"/>
                <a:gd name="T71" fmla="*/ 0 h 744"/>
                <a:gd name="T72" fmla="*/ 0 w 742"/>
                <a:gd name="T73" fmla="*/ 0 h 744"/>
                <a:gd name="T74" fmla="*/ 0 w 742"/>
                <a:gd name="T75" fmla="*/ 0 h 7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42"/>
                <a:gd name="T115" fmla="*/ 0 h 744"/>
                <a:gd name="T116" fmla="*/ 742 w 742"/>
                <a:gd name="T117" fmla="*/ 744 h 7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42" h="744">
                  <a:moveTo>
                    <a:pt x="279" y="0"/>
                  </a:moveTo>
                  <a:lnTo>
                    <a:pt x="204" y="13"/>
                  </a:lnTo>
                  <a:lnTo>
                    <a:pt x="122" y="69"/>
                  </a:lnTo>
                  <a:lnTo>
                    <a:pt x="76" y="54"/>
                  </a:lnTo>
                  <a:lnTo>
                    <a:pt x="13" y="161"/>
                  </a:lnTo>
                  <a:lnTo>
                    <a:pt x="0" y="212"/>
                  </a:lnTo>
                  <a:lnTo>
                    <a:pt x="39" y="288"/>
                  </a:lnTo>
                  <a:lnTo>
                    <a:pt x="126" y="327"/>
                  </a:lnTo>
                  <a:lnTo>
                    <a:pt x="170" y="399"/>
                  </a:lnTo>
                  <a:lnTo>
                    <a:pt x="144" y="493"/>
                  </a:lnTo>
                  <a:lnTo>
                    <a:pt x="160" y="569"/>
                  </a:lnTo>
                  <a:lnTo>
                    <a:pt x="191" y="603"/>
                  </a:lnTo>
                  <a:lnTo>
                    <a:pt x="239" y="620"/>
                  </a:lnTo>
                  <a:lnTo>
                    <a:pt x="251" y="557"/>
                  </a:lnTo>
                  <a:lnTo>
                    <a:pt x="288" y="508"/>
                  </a:lnTo>
                  <a:lnTo>
                    <a:pt x="314" y="548"/>
                  </a:lnTo>
                  <a:lnTo>
                    <a:pt x="360" y="586"/>
                  </a:lnTo>
                  <a:lnTo>
                    <a:pt x="400" y="742"/>
                  </a:lnTo>
                  <a:lnTo>
                    <a:pt x="429" y="744"/>
                  </a:lnTo>
                  <a:lnTo>
                    <a:pt x="450" y="627"/>
                  </a:lnTo>
                  <a:lnTo>
                    <a:pt x="502" y="602"/>
                  </a:lnTo>
                  <a:lnTo>
                    <a:pt x="539" y="660"/>
                  </a:lnTo>
                  <a:lnTo>
                    <a:pt x="637" y="726"/>
                  </a:lnTo>
                  <a:lnTo>
                    <a:pt x="574" y="429"/>
                  </a:lnTo>
                  <a:lnTo>
                    <a:pt x="530" y="368"/>
                  </a:lnTo>
                  <a:lnTo>
                    <a:pt x="510" y="299"/>
                  </a:lnTo>
                  <a:lnTo>
                    <a:pt x="616" y="362"/>
                  </a:lnTo>
                  <a:lnTo>
                    <a:pt x="628" y="396"/>
                  </a:lnTo>
                  <a:lnTo>
                    <a:pt x="656" y="387"/>
                  </a:lnTo>
                  <a:lnTo>
                    <a:pt x="693" y="351"/>
                  </a:lnTo>
                  <a:lnTo>
                    <a:pt x="742" y="343"/>
                  </a:lnTo>
                  <a:lnTo>
                    <a:pt x="730" y="302"/>
                  </a:lnTo>
                  <a:lnTo>
                    <a:pt x="658" y="259"/>
                  </a:lnTo>
                  <a:lnTo>
                    <a:pt x="613" y="175"/>
                  </a:lnTo>
                  <a:lnTo>
                    <a:pt x="615" y="131"/>
                  </a:lnTo>
                  <a:lnTo>
                    <a:pt x="350" y="43"/>
                  </a:lnTo>
                  <a:lnTo>
                    <a:pt x="319" y="44"/>
                  </a:lnTo>
                  <a:lnTo>
                    <a:pt x="279"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09" name="Freeform 195"/>
            <p:cNvSpPr>
              <a:spLocks/>
            </p:cNvSpPr>
            <p:nvPr/>
          </p:nvSpPr>
          <p:spPr bwMode="auto">
            <a:xfrm>
              <a:off x="7552855" y="5440974"/>
              <a:ext cx="300181" cy="302044"/>
            </a:xfrm>
            <a:custGeom>
              <a:avLst/>
              <a:gdLst>
                <a:gd name="T0" fmla="*/ 0 w 742"/>
                <a:gd name="T1" fmla="*/ 0 h 744"/>
                <a:gd name="T2" fmla="*/ 0 w 742"/>
                <a:gd name="T3" fmla="*/ 0 h 744"/>
                <a:gd name="T4" fmla="*/ 0 w 742"/>
                <a:gd name="T5" fmla="*/ 0 h 744"/>
                <a:gd name="T6" fmla="*/ 0 w 742"/>
                <a:gd name="T7" fmla="*/ 0 h 744"/>
                <a:gd name="T8" fmla="*/ 0 w 742"/>
                <a:gd name="T9" fmla="*/ 0 h 744"/>
                <a:gd name="T10" fmla="*/ 0 w 742"/>
                <a:gd name="T11" fmla="*/ 0 h 744"/>
                <a:gd name="T12" fmla="*/ 0 w 742"/>
                <a:gd name="T13" fmla="*/ 0 h 744"/>
                <a:gd name="T14" fmla="*/ 0 w 742"/>
                <a:gd name="T15" fmla="*/ 0 h 744"/>
                <a:gd name="T16" fmla="*/ 0 w 742"/>
                <a:gd name="T17" fmla="*/ 0 h 744"/>
                <a:gd name="T18" fmla="*/ 0 w 742"/>
                <a:gd name="T19" fmla="*/ 0 h 744"/>
                <a:gd name="T20" fmla="*/ 0 w 742"/>
                <a:gd name="T21" fmla="*/ 0 h 744"/>
                <a:gd name="T22" fmla="*/ 0 w 742"/>
                <a:gd name="T23" fmla="*/ 0 h 744"/>
                <a:gd name="T24" fmla="*/ 0 w 742"/>
                <a:gd name="T25" fmla="*/ 0 h 744"/>
                <a:gd name="T26" fmla="*/ 0 w 742"/>
                <a:gd name="T27" fmla="*/ 0 h 744"/>
                <a:gd name="T28" fmla="*/ 0 w 742"/>
                <a:gd name="T29" fmla="*/ 0 h 744"/>
                <a:gd name="T30" fmla="*/ 0 w 742"/>
                <a:gd name="T31" fmla="*/ 0 h 744"/>
                <a:gd name="T32" fmla="*/ 0 w 742"/>
                <a:gd name="T33" fmla="*/ 0 h 744"/>
                <a:gd name="T34" fmla="*/ 0 w 742"/>
                <a:gd name="T35" fmla="*/ 0 h 744"/>
                <a:gd name="T36" fmla="*/ 0 w 742"/>
                <a:gd name="T37" fmla="*/ 0 h 744"/>
                <a:gd name="T38" fmla="*/ 0 w 742"/>
                <a:gd name="T39" fmla="*/ 0 h 744"/>
                <a:gd name="T40" fmla="*/ 0 w 742"/>
                <a:gd name="T41" fmla="*/ 0 h 744"/>
                <a:gd name="T42" fmla="*/ 0 w 742"/>
                <a:gd name="T43" fmla="*/ 0 h 744"/>
                <a:gd name="T44" fmla="*/ 0 w 742"/>
                <a:gd name="T45" fmla="*/ 0 h 744"/>
                <a:gd name="T46" fmla="*/ 0 w 742"/>
                <a:gd name="T47" fmla="*/ 0 h 744"/>
                <a:gd name="T48" fmla="*/ 0 w 742"/>
                <a:gd name="T49" fmla="*/ 0 h 744"/>
                <a:gd name="T50" fmla="*/ 0 w 742"/>
                <a:gd name="T51" fmla="*/ 0 h 744"/>
                <a:gd name="T52" fmla="*/ 0 w 742"/>
                <a:gd name="T53" fmla="*/ 0 h 744"/>
                <a:gd name="T54" fmla="*/ 0 w 742"/>
                <a:gd name="T55" fmla="*/ 0 h 744"/>
                <a:gd name="T56" fmla="*/ 0 w 742"/>
                <a:gd name="T57" fmla="*/ 0 h 744"/>
                <a:gd name="T58" fmla="*/ 0 w 742"/>
                <a:gd name="T59" fmla="*/ 0 h 744"/>
                <a:gd name="T60" fmla="*/ 0 w 742"/>
                <a:gd name="T61" fmla="*/ 0 h 744"/>
                <a:gd name="T62" fmla="*/ 0 w 742"/>
                <a:gd name="T63" fmla="*/ 0 h 744"/>
                <a:gd name="T64" fmla="*/ 0 w 742"/>
                <a:gd name="T65" fmla="*/ 0 h 744"/>
                <a:gd name="T66" fmla="*/ 0 w 742"/>
                <a:gd name="T67" fmla="*/ 0 h 744"/>
                <a:gd name="T68" fmla="*/ 0 w 742"/>
                <a:gd name="T69" fmla="*/ 0 h 744"/>
                <a:gd name="T70" fmla="*/ 0 w 742"/>
                <a:gd name="T71" fmla="*/ 0 h 744"/>
                <a:gd name="T72" fmla="*/ 0 w 742"/>
                <a:gd name="T73" fmla="*/ 0 h 744"/>
                <a:gd name="T74" fmla="*/ 0 w 742"/>
                <a:gd name="T75" fmla="*/ 0 h 7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42"/>
                <a:gd name="T115" fmla="*/ 0 h 744"/>
                <a:gd name="T116" fmla="*/ 742 w 742"/>
                <a:gd name="T117" fmla="*/ 744 h 7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42" h="744">
                  <a:moveTo>
                    <a:pt x="279" y="0"/>
                  </a:moveTo>
                  <a:lnTo>
                    <a:pt x="204" y="13"/>
                  </a:lnTo>
                  <a:lnTo>
                    <a:pt x="122" y="69"/>
                  </a:lnTo>
                  <a:lnTo>
                    <a:pt x="76" y="54"/>
                  </a:lnTo>
                  <a:lnTo>
                    <a:pt x="13" y="161"/>
                  </a:lnTo>
                  <a:lnTo>
                    <a:pt x="0" y="212"/>
                  </a:lnTo>
                  <a:lnTo>
                    <a:pt x="39" y="288"/>
                  </a:lnTo>
                  <a:lnTo>
                    <a:pt x="126" y="327"/>
                  </a:lnTo>
                  <a:lnTo>
                    <a:pt x="170" y="399"/>
                  </a:lnTo>
                  <a:lnTo>
                    <a:pt x="144" y="493"/>
                  </a:lnTo>
                  <a:lnTo>
                    <a:pt x="160" y="569"/>
                  </a:lnTo>
                  <a:lnTo>
                    <a:pt x="191" y="603"/>
                  </a:lnTo>
                  <a:lnTo>
                    <a:pt x="239" y="620"/>
                  </a:lnTo>
                  <a:lnTo>
                    <a:pt x="251" y="557"/>
                  </a:lnTo>
                  <a:lnTo>
                    <a:pt x="288" y="508"/>
                  </a:lnTo>
                  <a:lnTo>
                    <a:pt x="314" y="548"/>
                  </a:lnTo>
                  <a:lnTo>
                    <a:pt x="360" y="586"/>
                  </a:lnTo>
                  <a:lnTo>
                    <a:pt x="400" y="742"/>
                  </a:lnTo>
                  <a:lnTo>
                    <a:pt x="429" y="744"/>
                  </a:lnTo>
                  <a:lnTo>
                    <a:pt x="450" y="627"/>
                  </a:lnTo>
                  <a:lnTo>
                    <a:pt x="502" y="602"/>
                  </a:lnTo>
                  <a:lnTo>
                    <a:pt x="539" y="660"/>
                  </a:lnTo>
                  <a:lnTo>
                    <a:pt x="637" y="726"/>
                  </a:lnTo>
                  <a:lnTo>
                    <a:pt x="574" y="429"/>
                  </a:lnTo>
                  <a:lnTo>
                    <a:pt x="530" y="368"/>
                  </a:lnTo>
                  <a:lnTo>
                    <a:pt x="510" y="299"/>
                  </a:lnTo>
                  <a:lnTo>
                    <a:pt x="616" y="362"/>
                  </a:lnTo>
                  <a:lnTo>
                    <a:pt x="628" y="396"/>
                  </a:lnTo>
                  <a:lnTo>
                    <a:pt x="656" y="387"/>
                  </a:lnTo>
                  <a:lnTo>
                    <a:pt x="693" y="351"/>
                  </a:lnTo>
                  <a:lnTo>
                    <a:pt x="742" y="343"/>
                  </a:lnTo>
                  <a:lnTo>
                    <a:pt x="730" y="302"/>
                  </a:lnTo>
                  <a:lnTo>
                    <a:pt x="658" y="259"/>
                  </a:lnTo>
                  <a:lnTo>
                    <a:pt x="613" y="175"/>
                  </a:lnTo>
                  <a:lnTo>
                    <a:pt x="615" y="131"/>
                  </a:lnTo>
                  <a:lnTo>
                    <a:pt x="350" y="43"/>
                  </a:lnTo>
                  <a:lnTo>
                    <a:pt x="319" y="44"/>
                  </a:lnTo>
                  <a:lnTo>
                    <a:pt x="279" y="0"/>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0" name="Freeform 196"/>
            <p:cNvSpPr>
              <a:spLocks/>
            </p:cNvSpPr>
            <p:nvPr/>
          </p:nvSpPr>
          <p:spPr bwMode="auto">
            <a:xfrm>
              <a:off x="7452095" y="5428389"/>
              <a:ext cx="54578" cy="56633"/>
            </a:xfrm>
            <a:custGeom>
              <a:avLst/>
              <a:gdLst>
                <a:gd name="T0" fmla="*/ 0 w 131"/>
                <a:gd name="T1" fmla="*/ 0 h 133"/>
                <a:gd name="T2" fmla="*/ 0 w 131"/>
                <a:gd name="T3" fmla="*/ 0 h 133"/>
                <a:gd name="T4" fmla="*/ 0 w 131"/>
                <a:gd name="T5" fmla="*/ 0 h 133"/>
                <a:gd name="T6" fmla="*/ 0 w 131"/>
                <a:gd name="T7" fmla="*/ 0 h 133"/>
                <a:gd name="T8" fmla="*/ 0 w 131"/>
                <a:gd name="T9" fmla="*/ 0 h 133"/>
                <a:gd name="T10" fmla="*/ 0 w 131"/>
                <a:gd name="T11" fmla="*/ 0 h 133"/>
                <a:gd name="T12" fmla="*/ 0 w 131"/>
                <a:gd name="T13" fmla="*/ 0 h 133"/>
                <a:gd name="T14" fmla="*/ 0 w 131"/>
                <a:gd name="T15" fmla="*/ 0 h 133"/>
                <a:gd name="T16" fmla="*/ 0 w 131"/>
                <a:gd name="T17" fmla="*/ 0 h 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1"/>
                <a:gd name="T28" fmla="*/ 0 h 133"/>
                <a:gd name="T29" fmla="*/ 131 w 131"/>
                <a:gd name="T30" fmla="*/ 133 h 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1" h="133">
                  <a:moveTo>
                    <a:pt x="117" y="133"/>
                  </a:moveTo>
                  <a:lnTo>
                    <a:pt x="131" y="86"/>
                  </a:lnTo>
                  <a:lnTo>
                    <a:pt x="90" y="56"/>
                  </a:lnTo>
                  <a:lnTo>
                    <a:pt x="76" y="0"/>
                  </a:lnTo>
                  <a:lnTo>
                    <a:pt x="44" y="19"/>
                  </a:lnTo>
                  <a:lnTo>
                    <a:pt x="0" y="64"/>
                  </a:lnTo>
                  <a:lnTo>
                    <a:pt x="46" y="110"/>
                  </a:lnTo>
                  <a:lnTo>
                    <a:pt x="87" y="116"/>
                  </a:lnTo>
                  <a:lnTo>
                    <a:pt x="117" y="13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1" name="Freeform 197"/>
            <p:cNvSpPr>
              <a:spLocks/>
            </p:cNvSpPr>
            <p:nvPr/>
          </p:nvSpPr>
          <p:spPr bwMode="auto">
            <a:xfrm>
              <a:off x="7452095" y="5428389"/>
              <a:ext cx="54578" cy="56633"/>
            </a:xfrm>
            <a:custGeom>
              <a:avLst/>
              <a:gdLst>
                <a:gd name="T0" fmla="*/ 0 w 131"/>
                <a:gd name="T1" fmla="*/ 0 h 133"/>
                <a:gd name="T2" fmla="*/ 0 w 131"/>
                <a:gd name="T3" fmla="*/ 0 h 133"/>
                <a:gd name="T4" fmla="*/ 0 w 131"/>
                <a:gd name="T5" fmla="*/ 0 h 133"/>
                <a:gd name="T6" fmla="*/ 0 w 131"/>
                <a:gd name="T7" fmla="*/ 0 h 133"/>
                <a:gd name="T8" fmla="*/ 0 w 131"/>
                <a:gd name="T9" fmla="*/ 0 h 133"/>
                <a:gd name="T10" fmla="*/ 0 w 131"/>
                <a:gd name="T11" fmla="*/ 0 h 133"/>
                <a:gd name="T12" fmla="*/ 0 w 131"/>
                <a:gd name="T13" fmla="*/ 0 h 133"/>
                <a:gd name="T14" fmla="*/ 0 w 131"/>
                <a:gd name="T15" fmla="*/ 0 h 133"/>
                <a:gd name="T16" fmla="*/ 0 w 131"/>
                <a:gd name="T17" fmla="*/ 0 h 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1"/>
                <a:gd name="T28" fmla="*/ 0 h 133"/>
                <a:gd name="T29" fmla="*/ 131 w 131"/>
                <a:gd name="T30" fmla="*/ 133 h 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1" h="133">
                  <a:moveTo>
                    <a:pt x="117" y="133"/>
                  </a:moveTo>
                  <a:lnTo>
                    <a:pt x="131" y="86"/>
                  </a:lnTo>
                  <a:lnTo>
                    <a:pt x="90" y="56"/>
                  </a:lnTo>
                  <a:lnTo>
                    <a:pt x="76" y="0"/>
                  </a:lnTo>
                  <a:lnTo>
                    <a:pt x="44" y="19"/>
                  </a:lnTo>
                  <a:lnTo>
                    <a:pt x="0" y="64"/>
                  </a:lnTo>
                  <a:lnTo>
                    <a:pt x="46" y="110"/>
                  </a:lnTo>
                  <a:lnTo>
                    <a:pt x="87" y="116"/>
                  </a:lnTo>
                  <a:lnTo>
                    <a:pt x="117" y="133"/>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2" name="Freeform 198"/>
            <p:cNvSpPr>
              <a:spLocks/>
            </p:cNvSpPr>
            <p:nvPr/>
          </p:nvSpPr>
          <p:spPr bwMode="auto">
            <a:xfrm>
              <a:off x="7779565" y="5321415"/>
              <a:ext cx="216214" cy="165705"/>
            </a:xfrm>
            <a:custGeom>
              <a:avLst/>
              <a:gdLst>
                <a:gd name="T0" fmla="*/ 0 w 530"/>
                <a:gd name="T1" fmla="*/ 0 h 406"/>
                <a:gd name="T2" fmla="*/ 0 w 530"/>
                <a:gd name="T3" fmla="*/ 0 h 406"/>
                <a:gd name="T4" fmla="*/ 0 w 530"/>
                <a:gd name="T5" fmla="*/ 0 h 406"/>
                <a:gd name="T6" fmla="*/ 0 w 530"/>
                <a:gd name="T7" fmla="*/ 0 h 406"/>
                <a:gd name="T8" fmla="*/ 0 w 530"/>
                <a:gd name="T9" fmla="*/ 0 h 406"/>
                <a:gd name="T10" fmla="*/ 0 w 530"/>
                <a:gd name="T11" fmla="*/ 0 h 406"/>
                <a:gd name="T12" fmla="*/ 0 w 530"/>
                <a:gd name="T13" fmla="*/ 0 h 406"/>
                <a:gd name="T14" fmla="*/ 0 w 530"/>
                <a:gd name="T15" fmla="*/ 0 h 406"/>
                <a:gd name="T16" fmla="*/ 0 w 530"/>
                <a:gd name="T17" fmla="*/ 0 h 406"/>
                <a:gd name="T18" fmla="*/ 0 w 530"/>
                <a:gd name="T19" fmla="*/ 0 h 406"/>
                <a:gd name="T20" fmla="*/ 0 w 530"/>
                <a:gd name="T21" fmla="*/ 0 h 406"/>
                <a:gd name="T22" fmla="*/ 0 w 530"/>
                <a:gd name="T23" fmla="*/ 0 h 406"/>
                <a:gd name="T24" fmla="*/ 0 w 530"/>
                <a:gd name="T25" fmla="*/ 0 h 406"/>
                <a:gd name="T26" fmla="*/ 0 w 530"/>
                <a:gd name="T27" fmla="*/ 0 h 406"/>
                <a:gd name="T28" fmla="*/ 0 w 530"/>
                <a:gd name="T29" fmla="*/ 0 h 406"/>
                <a:gd name="T30" fmla="*/ 0 w 530"/>
                <a:gd name="T31" fmla="*/ 0 h 406"/>
                <a:gd name="T32" fmla="*/ 0 w 530"/>
                <a:gd name="T33" fmla="*/ 0 h 406"/>
                <a:gd name="T34" fmla="*/ 0 w 530"/>
                <a:gd name="T35" fmla="*/ 0 h 406"/>
                <a:gd name="T36" fmla="*/ 0 w 530"/>
                <a:gd name="T37" fmla="*/ 0 h 406"/>
                <a:gd name="T38" fmla="*/ 0 w 530"/>
                <a:gd name="T39" fmla="*/ 0 h 406"/>
                <a:gd name="T40" fmla="*/ 0 w 530"/>
                <a:gd name="T41" fmla="*/ 0 h 406"/>
                <a:gd name="T42" fmla="*/ 0 w 530"/>
                <a:gd name="T43" fmla="*/ 0 h 406"/>
                <a:gd name="T44" fmla="*/ 0 w 530"/>
                <a:gd name="T45" fmla="*/ 0 h 4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30"/>
                <a:gd name="T70" fmla="*/ 0 h 406"/>
                <a:gd name="T71" fmla="*/ 530 w 530"/>
                <a:gd name="T72" fmla="*/ 406 h 4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30" h="406">
                  <a:moveTo>
                    <a:pt x="516" y="353"/>
                  </a:moveTo>
                  <a:lnTo>
                    <a:pt x="530" y="371"/>
                  </a:lnTo>
                  <a:lnTo>
                    <a:pt x="524" y="323"/>
                  </a:lnTo>
                  <a:lnTo>
                    <a:pt x="433" y="301"/>
                  </a:lnTo>
                  <a:lnTo>
                    <a:pt x="394" y="220"/>
                  </a:lnTo>
                  <a:lnTo>
                    <a:pt x="392" y="173"/>
                  </a:lnTo>
                  <a:lnTo>
                    <a:pt x="359" y="141"/>
                  </a:lnTo>
                  <a:lnTo>
                    <a:pt x="214" y="103"/>
                  </a:lnTo>
                  <a:lnTo>
                    <a:pt x="122" y="23"/>
                  </a:lnTo>
                  <a:lnTo>
                    <a:pt x="110" y="0"/>
                  </a:lnTo>
                  <a:lnTo>
                    <a:pt x="76" y="1"/>
                  </a:lnTo>
                  <a:lnTo>
                    <a:pt x="0" y="78"/>
                  </a:lnTo>
                  <a:lnTo>
                    <a:pt x="58" y="76"/>
                  </a:lnTo>
                  <a:lnTo>
                    <a:pt x="183" y="173"/>
                  </a:lnTo>
                  <a:lnTo>
                    <a:pt x="195" y="217"/>
                  </a:lnTo>
                  <a:lnTo>
                    <a:pt x="244" y="241"/>
                  </a:lnTo>
                  <a:lnTo>
                    <a:pt x="309" y="246"/>
                  </a:lnTo>
                  <a:lnTo>
                    <a:pt x="374" y="290"/>
                  </a:lnTo>
                  <a:lnTo>
                    <a:pt x="395" y="323"/>
                  </a:lnTo>
                  <a:lnTo>
                    <a:pt x="413" y="373"/>
                  </a:lnTo>
                  <a:lnTo>
                    <a:pt x="445" y="399"/>
                  </a:lnTo>
                  <a:lnTo>
                    <a:pt x="518" y="406"/>
                  </a:lnTo>
                  <a:lnTo>
                    <a:pt x="516" y="353"/>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3" name="Freeform 199"/>
            <p:cNvSpPr>
              <a:spLocks/>
            </p:cNvSpPr>
            <p:nvPr/>
          </p:nvSpPr>
          <p:spPr bwMode="auto">
            <a:xfrm>
              <a:off x="7779565" y="5321415"/>
              <a:ext cx="216214" cy="165705"/>
            </a:xfrm>
            <a:custGeom>
              <a:avLst/>
              <a:gdLst>
                <a:gd name="T0" fmla="*/ 0 w 530"/>
                <a:gd name="T1" fmla="*/ 0 h 406"/>
                <a:gd name="T2" fmla="*/ 0 w 530"/>
                <a:gd name="T3" fmla="*/ 0 h 406"/>
                <a:gd name="T4" fmla="*/ 0 w 530"/>
                <a:gd name="T5" fmla="*/ 0 h 406"/>
                <a:gd name="T6" fmla="*/ 0 w 530"/>
                <a:gd name="T7" fmla="*/ 0 h 406"/>
                <a:gd name="T8" fmla="*/ 0 w 530"/>
                <a:gd name="T9" fmla="*/ 0 h 406"/>
                <a:gd name="T10" fmla="*/ 0 w 530"/>
                <a:gd name="T11" fmla="*/ 0 h 406"/>
                <a:gd name="T12" fmla="*/ 0 w 530"/>
                <a:gd name="T13" fmla="*/ 0 h 406"/>
                <a:gd name="T14" fmla="*/ 0 w 530"/>
                <a:gd name="T15" fmla="*/ 0 h 406"/>
                <a:gd name="T16" fmla="*/ 0 w 530"/>
                <a:gd name="T17" fmla="*/ 0 h 406"/>
                <a:gd name="T18" fmla="*/ 0 w 530"/>
                <a:gd name="T19" fmla="*/ 0 h 406"/>
                <a:gd name="T20" fmla="*/ 0 w 530"/>
                <a:gd name="T21" fmla="*/ 0 h 406"/>
                <a:gd name="T22" fmla="*/ 0 w 530"/>
                <a:gd name="T23" fmla="*/ 0 h 406"/>
                <a:gd name="T24" fmla="*/ 0 w 530"/>
                <a:gd name="T25" fmla="*/ 0 h 406"/>
                <a:gd name="T26" fmla="*/ 0 w 530"/>
                <a:gd name="T27" fmla="*/ 0 h 406"/>
                <a:gd name="T28" fmla="*/ 0 w 530"/>
                <a:gd name="T29" fmla="*/ 0 h 406"/>
                <a:gd name="T30" fmla="*/ 0 w 530"/>
                <a:gd name="T31" fmla="*/ 0 h 406"/>
                <a:gd name="T32" fmla="*/ 0 w 530"/>
                <a:gd name="T33" fmla="*/ 0 h 406"/>
                <a:gd name="T34" fmla="*/ 0 w 530"/>
                <a:gd name="T35" fmla="*/ 0 h 406"/>
                <a:gd name="T36" fmla="*/ 0 w 530"/>
                <a:gd name="T37" fmla="*/ 0 h 406"/>
                <a:gd name="T38" fmla="*/ 0 w 530"/>
                <a:gd name="T39" fmla="*/ 0 h 406"/>
                <a:gd name="T40" fmla="*/ 0 w 530"/>
                <a:gd name="T41" fmla="*/ 0 h 406"/>
                <a:gd name="T42" fmla="*/ 0 w 530"/>
                <a:gd name="T43" fmla="*/ 0 h 406"/>
                <a:gd name="T44" fmla="*/ 0 w 530"/>
                <a:gd name="T45" fmla="*/ 0 h 4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30"/>
                <a:gd name="T70" fmla="*/ 0 h 406"/>
                <a:gd name="T71" fmla="*/ 530 w 530"/>
                <a:gd name="T72" fmla="*/ 406 h 4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30" h="406">
                  <a:moveTo>
                    <a:pt x="516" y="353"/>
                  </a:moveTo>
                  <a:lnTo>
                    <a:pt x="530" y="371"/>
                  </a:lnTo>
                  <a:lnTo>
                    <a:pt x="524" y="323"/>
                  </a:lnTo>
                  <a:lnTo>
                    <a:pt x="433" y="301"/>
                  </a:lnTo>
                  <a:lnTo>
                    <a:pt x="394" y="220"/>
                  </a:lnTo>
                  <a:lnTo>
                    <a:pt x="392" y="173"/>
                  </a:lnTo>
                  <a:lnTo>
                    <a:pt x="359" y="141"/>
                  </a:lnTo>
                  <a:lnTo>
                    <a:pt x="214" y="103"/>
                  </a:lnTo>
                  <a:lnTo>
                    <a:pt x="122" y="23"/>
                  </a:lnTo>
                  <a:lnTo>
                    <a:pt x="110" y="0"/>
                  </a:lnTo>
                  <a:lnTo>
                    <a:pt x="76" y="1"/>
                  </a:lnTo>
                  <a:lnTo>
                    <a:pt x="0" y="78"/>
                  </a:lnTo>
                  <a:lnTo>
                    <a:pt x="58" y="76"/>
                  </a:lnTo>
                  <a:lnTo>
                    <a:pt x="183" y="173"/>
                  </a:lnTo>
                  <a:lnTo>
                    <a:pt x="195" y="217"/>
                  </a:lnTo>
                  <a:lnTo>
                    <a:pt x="244" y="241"/>
                  </a:lnTo>
                  <a:lnTo>
                    <a:pt x="309" y="246"/>
                  </a:lnTo>
                  <a:lnTo>
                    <a:pt x="374" y="290"/>
                  </a:lnTo>
                  <a:lnTo>
                    <a:pt x="395" y="323"/>
                  </a:lnTo>
                  <a:lnTo>
                    <a:pt x="413" y="373"/>
                  </a:lnTo>
                  <a:lnTo>
                    <a:pt x="445" y="399"/>
                  </a:lnTo>
                  <a:lnTo>
                    <a:pt x="518" y="406"/>
                  </a:lnTo>
                  <a:lnTo>
                    <a:pt x="516" y="353"/>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4" name="Freeform 200"/>
            <p:cNvSpPr>
              <a:spLocks/>
            </p:cNvSpPr>
            <p:nvPr/>
          </p:nvSpPr>
          <p:spPr bwMode="auto">
            <a:xfrm>
              <a:off x="7363930" y="5212343"/>
              <a:ext cx="52479" cy="60828"/>
            </a:xfrm>
            <a:custGeom>
              <a:avLst/>
              <a:gdLst>
                <a:gd name="T0" fmla="*/ 0 w 124"/>
                <a:gd name="T1" fmla="*/ 0 h 154"/>
                <a:gd name="T2" fmla="*/ 0 w 124"/>
                <a:gd name="T3" fmla="*/ 0 h 154"/>
                <a:gd name="T4" fmla="*/ 0 w 124"/>
                <a:gd name="T5" fmla="*/ 0 h 154"/>
                <a:gd name="T6" fmla="*/ 0 w 124"/>
                <a:gd name="T7" fmla="*/ 0 h 154"/>
                <a:gd name="T8" fmla="*/ 0 w 124"/>
                <a:gd name="T9" fmla="*/ 0 h 154"/>
                <a:gd name="T10" fmla="*/ 0 w 124"/>
                <a:gd name="T11" fmla="*/ 0 h 154"/>
                <a:gd name="T12" fmla="*/ 0 w 124"/>
                <a:gd name="T13" fmla="*/ 0 h 154"/>
                <a:gd name="T14" fmla="*/ 0 w 124"/>
                <a:gd name="T15" fmla="*/ 0 h 154"/>
                <a:gd name="T16" fmla="*/ 0 60000 65536"/>
                <a:gd name="T17" fmla="*/ 0 60000 65536"/>
                <a:gd name="T18" fmla="*/ 0 60000 65536"/>
                <a:gd name="T19" fmla="*/ 0 60000 65536"/>
                <a:gd name="T20" fmla="*/ 0 60000 65536"/>
                <a:gd name="T21" fmla="*/ 0 60000 65536"/>
                <a:gd name="T22" fmla="*/ 0 60000 65536"/>
                <a:gd name="T23" fmla="*/ 0 60000 65536"/>
                <a:gd name="T24" fmla="*/ 0 w 124"/>
                <a:gd name="T25" fmla="*/ 0 h 154"/>
                <a:gd name="T26" fmla="*/ 124 w 124"/>
                <a:gd name="T27" fmla="*/ 154 h 1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4" h="154">
                  <a:moveTo>
                    <a:pt x="120" y="152"/>
                  </a:moveTo>
                  <a:lnTo>
                    <a:pt x="124" y="128"/>
                  </a:lnTo>
                  <a:lnTo>
                    <a:pt x="73" y="27"/>
                  </a:lnTo>
                  <a:lnTo>
                    <a:pt x="39" y="0"/>
                  </a:lnTo>
                  <a:lnTo>
                    <a:pt x="0" y="13"/>
                  </a:lnTo>
                  <a:lnTo>
                    <a:pt x="49" y="114"/>
                  </a:lnTo>
                  <a:lnTo>
                    <a:pt x="86" y="154"/>
                  </a:lnTo>
                  <a:lnTo>
                    <a:pt x="120" y="15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5" name="Freeform 201"/>
            <p:cNvSpPr>
              <a:spLocks/>
            </p:cNvSpPr>
            <p:nvPr/>
          </p:nvSpPr>
          <p:spPr bwMode="auto">
            <a:xfrm>
              <a:off x="7363930" y="5212343"/>
              <a:ext cx="52479" cy="60828"/>
            </a:xfrm>
            <a:custGeom>
              <a:avLst/>
              <a:gdLst>
                <a:gd name="T0" fmla="*/ 0 w 124"/>
                <a:gd name="T1" fmla="*/ 0 h 154"/>
                <a:gd name="T2" fmla="*/ 0 w 124"/>
                <a:gd name="T3" fmla="*/ 0 h 154"/>
                <a:gd name="T4" fmla="*/ 0 w 124"/>
                <a:gd name="T5" fmla="*/ 0 h 154"/>
                <a:gd name="T6" fmla="*/ 0 w 124"/>
                <a:gd name="T7" fmla="*/ 0 h 154"/>
                <a:gd name="T8" fmla="*/ 0 w 124"/>
                <a:gd name="T9" fmla="*/ 0 h 154"/>
                <a:gd name="T10" fmla="*/ 0 w 124"/>
                <a:gd name="T11" fmla="*/ 0 h 154"/>
                <a:gd name="T12" fmla="*/ 0 w 124"/>
                <a:gd name="T13" fmla="*/ 0 h 154"/>
                <a:gd name="T14" fmla="*/ 0 w 124"/>
                <a:gd name="T15" fmla="*/ 0 h 154"/>
                <a:gd name="T16" fmla="*/ 0 60000 65536"/>
                <a:gd name="T17" fmla="*/ 0 60000 65536"/>
                <a:gd name="T18" fmla="*/ 0 60000 65536"/>
                <a:gd name="T19" fmla="*/ 0 60000 65536"/>
                <a:gd name="T20" fmla="*/ 0 60000 65536"/>
                <a:gd name="T21" fmla="*/ 0 60000 65536"/>
                <a:gd name="T22" fmla="*/ 0 60000 65536"/>
                <a:gd name="T23" fmla="*/ 0 60000 65536"/>
                <a:gd name="T24" fmla="*/ 0 w 124"/>
                <a:gd name="T25" fmla="*/ 0 h 154"/>
                <a:gd name="T26" fmla="*/ 124 w 124"/>
                <a:gd name="T27" fmla="*/ 154 h 1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4" h="154">
                  <a:moveTo>
                    <a:pt x="120" y="152"/>
                  </a:moveTo>
                  <a:lnTo>
                    <a:pt x="124" y="128"/>
                  </a:lnTo>
                  <a:lnTo>
                    <a:pt x="73" y="27"/>
                  </a:lnTo>
                  <a:lnTo>
                    <a:pt x="39" y="0"/>
                  </a:lnTo>
                  <a:lnTo>
                    <a:pt x="0" y="13"/>
                  </a:lnTo>
                  <a:lnTo>
                    <a:pt x="49" y="114"/>
                  </a:lnTo>
                  <a:lnTo>
                    <a:pt x="86" y="154"/>
                  </a:lnTo>
                  <a:lnTo>
                    <a:pt x="120" y="152"/>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6" name="Freeform 202"/>
            <p:cNvSpPr>
              <a:spLocks/>
            </p:cNvSpPr>
            <p:nvPr/>
          </p:nvSpPr>
          <p:spPr bwMode="auto">
            <a:xfrm>
              <a:off x="7439500" y="333491"/>
              <a:ext cx="810278" cy="1657048"/>
            </a:xfrm>
            <a:custGeom>
              <a:avLst/>
              <a:gdLst>
                <a:gd name="T0" fmla="*/ 0 w 1991"/>
                <a:gd name="T1" fmla="*/ 0 h 4089"/>
                <a:gd name="T2" fmla="*/ 0 w 1991"/>
                <a:gd name="T3" fmla="*/ 0 h 4089"/>
                <a:gd name="T4" fmla="*/ 0 w 1991"/>
                <a:gd name="T5" fmla="*/ 0 h 4089"/>
                <a:gd name="T6" fmla="*/ 0 w 1991"/>
                <a:gd name="T7" fmla="*/ 0 h 4089"/>
                <a:gd name="T8" fmla="*/ 0 w 1991"/>
                <a:gd name="T9" fmla="*/ 0 h 4089"/>
                <a:gd name="T10" fmla="*/ 0 w 1991"/>
                <a:gd name="T11" fmla="*/ 0 h 4089"/>
                <a:gd name="T12" fmla="*/ 0 w 1991"/>
                <a:gd name="T13" fmla="*/ 0 h 4089"/>
                <a:gd name="T14" fmla="*/ 0 w 1991"/>
                <a:gd name="T15" fmla="*/ 0 h 4089"/>
                <a:gd name="T16" fmla="*/ 0 w 1991"/>
                <a:gd name="T17" fmla="*/ 0 h 4089"/>
                <a:gd name="T18" fmla="*/ 0 w 1991"/>
                <a:gd name="T19" fmla="*/ 0 h 4089"/>
                <a:gd name="T20" fmla="*/ 0 w 1991"/>
                <a:gd name="T21" fmla="*/ 0 h 4089"/>
                <a:gd name="T22" fmla="*/ 0 w 1991"/>
                <a:gd name="T23" fmla="*/ 0 h 4089"/>
                <a:gd name="T24" fmla="*/ 0 w 1991"/>
                <a:gd name="T25" fmla="*/ 0 h 4089"/>
                <a:gd name="T26" fmla="*/ 0 w 1991"/>
                <a:gd name="T27" fmla="*/ 0 h 4089"/>
                <a:gd name="T28" fmla="*/ 0 w 1991"/>
                <a:gd name="T29" fmla="*/ 0 h 4089"/>
                <a:gd name="T30" fmla="*/ 0 w 1991"/>
                <a:gd name="T31" fmla="*/ 0 h 4089"/>
                <a:gd name="T32" fmla="*/ 0 w 1991"/>
                <a:gd name="T33" fmla="*/ 0 h 4089"/>
                <a:gd name="T34" fmla="*/ 0 w 1991"/>
                <a:gd name="T35" fmla="*/ 0 h 4089"/>
                <a:gd name="T36" fmla="*/ 0 w 1991"/>
                <a:gd name="T37" fmla="*/ 0 h 4089"/>
                <a:gd name="T38" fmla="*/ 0 w 1991"/>
                <a:gd name="T39" fmla="*/ 0 h 4089"/>
                <a:gd name="T40" fmla="*/ 0 w 1991"/>
                <a:gd name="T41" fmla="*/ 0 h 4089"/>
                <a:gd name="T42" fmla="*/ 0 w 1991"/>
                <a:gd name="T43" fmla="*/ 0 h 4089"/>
                <a:gd name="T44" fmla="*/ 0 w 1991"/>
                <a:gd name="T45" fmla="*/ 0 h 4089"/>
                <a:gd name="T46" fmla="*/ 0 w 1991"/>
                <a:gd name="T47" fmla="*/ 0 h 4089"/>
                <a:gd name="T48" fmla="*/ 0 w 1991"/>
                <a:gd name="T49" fmla="*/ 0 h 4089"/>
                <a:gd name="T50" fmla="*/ 0 w 1991"/>
                <a:gd name="T51" fmla="*/ 0 h 4089"/>
                <a:gd name="T52" fmla="*/ 0 w 1991"/>
                <a:gd name="T53" fmla="*/ 0 h 4089"/>
                <a:gd name="T54" fmla="*/ 0 w 1991"/>
                <a:gd name="T55" fmla="*/ 0 h 4089"/>
                <a:gd name="T56" fmla="*/ 0 w 1991"/>
                <a:gd name="T57" fmla="*/ 0 h 4089"/>
                <a:gd name="T58" fmla="*/ 0 w 1991"/>
                <a:gd name="T59" fmla="*/ 0 h 4089"/>
                <a:gd name="T60" fmla="*/ 0 w 1991"/>
                <a:gd name="T61" fmla="*/ 0 h 4089"/>
                <a:gd name="T62" fmla="*/ 0 w 1991"/>
                <a:gd name="T63" fmla="*/ 0 h 4089"/>
                <a:gd name="T64" fmla="*/ 0 w 1991"/>
                <a:gd name="T65" fmla="*/ 0 h 4089"/>
                <a:gd name="T66" fmla="*/ 0 w 1991"/>
                <a:gd name="T67" fmla="*/ 0 h 4089"/>
                <a:gd name="T68" fmla="*/ 0 w 1991"/>
                <a:gd name="T69" fmla="*/ 0 h 4089"/>
                <a:gd name="T70" fmla="*/ 0 w 1991"/>
                <a:gd name="T71" fmla="*/ 0 h 4089"/>
                <a:gd name="T72" fmla="*/ 0 w 1991"/>
                <a:gd name="T73" fmla="*/ 0 h 4089"/>
                <a:gd name="T74" fmla="*/ 0 w 1991"/>
                <a:gd name="T75" fmla="*/ 0 h 4089"/>
                <a:gd name="T76" fmla="*/ 0 w 1991"/>
                <a:gd name="T77" fmla="*/ 0 h 4089"/>
                <a:gd name="T78" fmla="*/ 0 w 1991"/>
                <a:gd name="T79" fmla="*/ 0 h 4089"/>
                <a:gd name="T80" fmla="*/ 0 w 1991"/>
                <a:gd name="T81" fmla="*/ 0 h 4089"/>
                <a:gd name="T82" fmla="*/ 0 w 1991"/>
                <a:gd name="T83" fmla="*/ 0 h 4089"/>
                <a:gd name="T84" fmla="*/ 0 w 1991"/>
                <a:gd name="T85" fmla="*/ 0 h 4089"/>
                <a:gd name="T86" fmla="*/ 0 w 1991"/>
                <a:gd name="T87" fmla="*/ 0 h 4089"/>
                <a:gd name="T88" fmla="*/ 0 w 1991"/>
                <a:gd name="T89" fmla="*/ 0 h 4089"/>
                <a:gd name="T90" fmla="*/ 0 w 1991"/>
                <a:gd name="T91" fmla="*/ 0 h 4089"/>
                <a:gd name="T92" fmla="*/ 0 w 1991"/>
                <a:gd name="T93" fmla="*/ 0 h 4089"/>
                <a:gd name="T94" fmla="*/ 0 w 1991"/>
                <a:gd name="T95" fmla="*/ 0 h 4089"/>
                <a:gd name="T96" fmla="*/ 0 w 1991"/>
                <a:gd name="T97" fmla="*/ 0 h 40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1"/>
                <a:gd name="T148" fmla="*/ 0 h 4089"/>
                <a:gd name="T149" fmla="*/ 1991 w 1991"/>
                <a:gd name="T150" fmla="*/ 4089 h 40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1" h="4089">
                  <a:moveTo>
                    <a:pt x="0" y="460"/>
                  </a:moveTo>
                  <a:lnTo>
                    <a:pt x="6" y="460"/>
                  </a:lnTo>
                  <a:lnTo>
                    <a:pt x="13" y="473"/>
                  </a:lnTo>
                  <a:lnTo>
                    <a:pt x="209" y="667"/>
                  </a:lnTo>
                  <a:lnTo>
                    <a:pt x="304" y="694"/>
                  </a:lnTo>
                  <a:lnTo>
                    <a:pt x="355" y="736"/>
                  </a:lnTo>
                  <a:lnTo>
                    <a:pt x="459" y="903"/>
                  </a:lnTo>
                  <a:lnTo>
                    <a:pt x="445" y="981"/>
                  </a:lnTo>
                  <a:lnTo>
                    <a:pt x="457" y="1079"/>
                  </a:lnTo>
                  <a:lnTo>
                    <a:pt x="471" y="1097"/>
                  </a:lnTo>
                  <a:lnTo>
                    <a:pt x="479" y="1138"/>
                  </a:lnTo>
                  <a:lnTo>
                    <a:pt x="464" y="1196"/>
                  </a:lnTo>
                  <a:lnTo>
                    <a:pt x="474" y="1242"/>
                  </a:lnTo>
                  <a:lnTo>
                    <a:pt x="542" y="1367"/>
                  </a:lnTo>
                  <a:lnTo>
                    <a:pt x="542" y="1431"/>
                  </a:lnTo>
                  <a:lnTo>
                    <a:pt x="520" y="1473"/>
                  </a:lnTo>
                  <a:lnTo>
                    <a:pt x="511" y="1524"/>
                  </a:lnTo>
                  <a:lnTo>
                    <a:pt x="575" y="1678"/>
                  </a:lnTo>
                  <a:lnTo>
                    <a:pt x="600" y="1700"/>
                  </a:lnTo>
                  <a:lnTo>
                    <a:pt x="615" y="1704"/>
                  </a:lnTo>
                  <a:lnTo>
                    <a:pt x="626" y="1724"/>
                  </a:lnTo>
                  <a:lnTo>
                    <a:pt x="647" y="1732"/>
                  </a:lnTo>
                  <a:lnTo>
                    <a:pt x="662" y="1715"/>
                  </a:lnTo>
                  <a:lnTo>
                    <a:pt x="672" y="1723"/>
                  </a:lnTo>
                  <a:lnTo>
                    <a:pt x="685" y="1764"/>
                  </a:lnTo>
                  <a:lnTo>
                    <a:pt x="735" y="1794"/>
                  </a:lnTo>
                  <a:lnTo>
                    <a:pt x="793" y="1860"/>
                  </a:lnTo>
                  <a:lnTo>
                    <a:pt x="811" y="1899"/>
                  </a:lnTo>
                  <a:lnTo>
                    <a:pt x="811" y="1990"/>
                  </a:lnTo>
                  <a:lnTo>
                    <a:pt x="847" y="2045"/>
                  </a:lnTo>
                  <a:lnTo>
                    <a:pt x="823" y="2044"/>
                  </a:lnTo>
                  <a:lnTo>
                    <a:pt x="814" y="2068"/>
                  </a:lnTo>
                  <a:lnTo>
                    <a:pt x="825" y="2097"/>
                  </a:lnTo>
                  <a:lnTo>
                    <a:pt x="793" y="2081"/>
                  </a:lnTo>
                  <a:lnTo>
                    <a:pt x="760" y="2087"/>
                  </a:lnTo>
                  <a:lnTo>
                    <a:pt x="708" y="2115"/>
                  </a:lnTo>
                  <a:lnTo>
                    <a:pt x="686" y="2225"/>
                  </a:lnTo>
                  <a:lnTo>
                    <a:pt x="403" y="2652"/>
                  </a:lnTo>
                  <a:lnTo>
                    <a:pt x="373" y="2674"/>
                  </a:lnTo>
                  <a:lnTo>
                    <a:pt x="352" y="2710"/>
                  </a:lnTo>
                  <a:lnTo>
                    <a:pt x="337" y="2723"/>
                  </a:lnTo>
                  <a:lnTo>
                    <a:pt x="316" y="2756"/>
                  </a:lnTo>
                  <a:lnTo>
                    <a:pt x="252" y="2766"/>
                  </a:lnTo>
                  <a:lnTo>
                    <a:pt x="224" y="2754"/>
                  </a:lnTo>
                  <a:lnTo>
                    <a:pt x="203" y="2803"/>
                  </a:lnTo>
                  <a:lnTo>
                    <a:pt x="231" y="2831"/>
                  </a:lnTo>
                  <a:lnTo>
                    <a:pt x="218" y="2840"/>
                  </a:lnTo>
                  <a:lnTo>
                    <a:pt x="161" y="2847"/>
                  </a:lnTo>
                  <a:lnTo>
                    <a:pt x="163" y="2866"/>
                  </a:lnTo>
                  <a:lnTo>
                    <a:pt x="154" y="2892"/>
                  </a:lnTo>
                  <a:lnTo>
                    <a:pt x="132" y="2896"/>
                  </a:lnTo>
                  <a:lnTo>
                    <a:pt x="122" y="2904"/>
                  </a:lnTo>
                  <a:lnTo>
                    <a:pt x="93" y="2991"/>
                  </a:lnTo>
                  <a:lnTo>
                    <a:pt x="110" y="3081"/>
                  </a:lnTo>
                  <a:lnTo>
                    <a:pt x="125" y="3102"/>
                  </a:lnTo>
                  <a:lnTo>
                    <a:pt x="138" y="3143"/>
                  </a:lnTo>
                  <a:lnTo>
                    <a:pt x="127" y="3230"/>
                  </a:lnTo>
                  <a:lnTo>
                    <a:pt x="143" y="3264"/>
                  </a:lnTo>
                  <a:lnTo>
                    <a:pt x="170" y="3296"/>
                  </a:lnTo>
                  <a:lnTo>
                    <a:pt x="187" y="3383"/>
                  </a:lnTo>
                  <a:lnTo>
                    <a:pt x="202" y="3412"/>
                  </a:lnTo>
                  <a:lnTo>
                    <a:pt x="220" y="3430"/>
                  </a:lnTo>
                  <a:lnTo>
                    <a:pt x="224" y="3440"/>
                  </a:lnTo>
                  <a:lnTo>
                    <a:pt x="206" y="3422"/>
                  </a:lnTo>
                  <a:lnTo>
                    <a:pt x="188" y="3424"/>
                  </a:lnTo>
                  <a:lnTo>
                    <a:pt x="177" y="3439"/>
                  </a:lnTo>
                  <a:lnTo>
                    <a:pt x="182" y="3562"/>
                  </a:lnTo>
                  <a:lnTo>
                    <a:pt x="166" y="3611"/>
                  </a:lnTo>
                  <a:lnTo>
                    <a:pt x="155" y="3612"/>
                  </a:lnTo>
                  <a:lnTo>
                    <a:pt x="145" y="3647"/>
                  </a:lnTo>
                  <a:lnTo>
                    <a:pt x="159" y="3666"/>
                  </a:lnTo>
                  <a:lnTo>
                    <a:pt x="160" y="3686"/>
                  </a:lnTo>
                  <a:lnTo>
                    <a:pt x="154" y="3705"/>
                  </a:lnTo>
                  <a:lnTo>
                    <a:pt x="161" y="3723"/>
                  </a:lnTo>
                  <a:lnTo>
                    <a:pt x="188" y="3734"/>
                  </a:lnTo>
                  <a:lnTo>
                    <a:pt x="183" y="3750"/>
                  </a:lnTo>
                  <a:lnTo>
                    <a:pt x="165" y="3753"/>
                  </a:lnTo>
                  <a:lnTo>
                    <a:pt x="169" y="3778"/>
                  </a:lnTo>
                  <a:lnTo>
                    <a:pt x="219" y="3780"/>
                  </a:lnTo>
                  <a:lnTo>
                    <a:pt x="278" y="3826"/>
                  </a:lnTo>
                  <a:lnTo>
                    <a:pt x="380" y="3859"/>
                  </a:lnTo>
                  <a:lnTo>
                    <a:pt x="389" y="3875"/>
                  </a:lnTo>
                  <a:lnTo>
                    <a:pt x="382" y="3902"/>
                  </a:lnTo>
                  <a:lnTo>
                    <a:pt x="411" y="3920"/>
                  </a:lnTo>
                  <a:lnTo>
                    <a:pt x="464" y="3886"/>
                  </a:lnTo>
                  <a:lnTo>
                    <a:pt x="469" y="3905"/>
                  </a:lnTo>
                  <a:lnTo>
                    <a:pt x="469" y="3949"/>
                  </a:lnTo>
                  <a:lnTo>
                    <a:pt x="504" y="3999"/>
                  </a:lnTo>
                  <a:lnTo>
                    <a:pt x="502" y="4022"/>
                  </a:lnTo>
                  <a:lnTo>
                    <a:pt x="530" y="4035"/>
                  </a:lnTo>
                  <a:lnTo>
                    <a:pt x="519" y="4057"/>
                  </a:lnTo>
                  <a:lnTo>
                    <a:pt x="486" y="4085"/>
                  </a:lnTo>
                  <a:lnTo>
                    <a:pt x="503" y="4089"/>
                  </a:lnTo>
                  <a:lnTo>
                    <a:pt x="540" y="4067"/>
                  </a:lnTo>
                  <a:lnTo>
                    <a:pt x="576" y="3994"/>
                  </a:lnTo>
                  <a:lnTo>
                    <a:pt x="584" y="4001"/>
                  </a:lnTo>
                  <a:lnTo>
                    <a:pt x="584" y="4036"/>
                  </a:lnTo>
                  <a:lnTo>
                    <a:pt x="605" y="4042"/>
                  </a:lnTo>
                  <a:lnTo>
                    <a:pt x="687" y="3992"/>
                  </a:lnTo>
                  <a:lnTo>
                    <a:pt x="716" y="3991"/>
                  </a:lnTo>
                  <a:lnTo>
                    <a:pt x="741" y="3978"/>
                  </a:lnTo>
                  <a:lnTo>
                    <a:pt x="758" y="3992"/>
                  </a:lnTo>
                  <a:lnTo>
                    <a:pt x="768" y="3994"/>
                  </a:lnTo>
                  <a:lnTo>
                    <a:pt x="828" y="3931"/>
                  </a:lnTo>
                  <a:lnTo>
                    <a:pt x="855" y="3923"/>
                  </a:lnTo>
                  <a:lnTo>
                    <a:pt x="881" y="3933"/>
                  </a:lnTo>
                  <a:lnTo>
                    <a:pt x="934" y="3894"/>
                  </a:lnTo>
                  <a:lnTo>
                    <a:pt x="967" y="3888"/>
                  </a:lnTo>
                  <a:lnTo>
                    <a:pt x="991" y="3836"/>
                  </a:lnTo>
                  <a:lnTo>
                    <a:pt x="1008" y="3869"/>
                  </a:lnTo>
                  <a:lnTo>
                    <a:pt x="1073" y="3838"/>
                  </a:lnTo>
                  <a:lnTo>
                    <a:pt x="1061" y="3804"/>
                  </a:lnTo>
                  <a:lnTo>
                    <a:pt x="1070" y="3814"/>
                  </a:lnTo>
                  <a:lnTo>
                    <a:pt x="1100" y="3823"/>
                  </a:lnTo>
                  <a:lnTo>
                    <a:pt x="1120" y="3818"/>
                  </a:lnTo>
                  <a:lnTo>
                    <a:pt x="1142" y="3797"/>
                  </a:lnTo>
                  <a:lnTo>
                    <a:pt x="1205" y="3787"/>
                  </a:lnTo>
                  <a:lnTo>
                    <a:pt x="1280" y="3743"/>
                  </a:lnTo>
                  <a:lnTo>
                    <a:pt x="1312" y="3760"/>
                  </a:lnTo>
                  <a:lnTo>
                    <a:pt x="1377" y="3762"/>
                  </a:lnTo>
                  <a:lnTo>
                    <a:pt x="1393" y="3746"/>
                  </a:lnTo>
                  <a:lnTo>
                    <a:pt x="1404" y="3727"/>
                  </a:lnTo>
                  <a:lnTo>
                    <a:pt x="1406" y="3733"/>
                  </a:lnTo>
                  <a:lnTo>
                    <a:pt x="1924" y="3006"/>
                  </a:lnTo>
                  <a:lnTo>
                    <a:pt x="1991" y="2801"/>
                  </a:lnTo>
                  <a:lnTo>
                    <a:pt x="1972" y="2674"/>
                  </a:lnTo>
                  <a:lnTo>
                    <a:pt x="1959" y="2693"/>
                  </a:lnTo>
                  <a:lnTo>
                    <a:pt x="1916" y="2643"/>
                  </a:lnTo>
                  <a:lnTo>
                    <a:pt x="1894" y="2591"/>
                  </a:lnTo>
                  <a:lnTo>
                    <a:pt x="1786" y="2532"/>
                  </a:lnTo>
                  <a:lnTo>
                    <a:pt x="1753" y="2498"/>
                  </a:lnTo>
                  <a:lnTo>
                    <a:pt x="1722" y="2442"/>
                  </a:lnTo>
                  <a:lnTo>
                    <a:pt x="1729" y="2389"/>
                  </a:lnTo>
                  <a:lnTo>
                    <a:pt x="1754" y="2336"/>
                  </a:lnTo>
                  <a:lnTo>
                    <a:pt x="1764" y="2276"/>
                  </a:lnTo>
                  <a:lnTo>
                    <a:pt x="1750" y="2219"/>
                  </a:lnTo>
                  <a:lnTo>
                    <a:pt x="1692" y="2181"/>
                  </a:lnTo>
                  <a:lnTo>
                    <a:pt x="1662" y="2131"/>
                  </a:lnTo>
                  <a:lnTo>
                    <a:pt x="1659" y="2070"/>
                  </a:lnTo>
                  <a:lnTo>
                    <a:pt x="1625" y="2020"/>
                  </a:lnTo>
                  <a:lnTo>
                    <a:pt x="1574" y="2015"/>
                  </a:lnTo>
                  <a:lnTo>
                    <a:pt x="1562" y="1952"/>
                  </a:lnTo>
                  <a:lnTo>
                    <a:pt x="1575" y="1915"/>
                  </a:lnTo>
                  <a:lnTo>
                    <a:pt x="1562" y="1861"/>
                  </a:lnTo>
                  <a:lnTo>
                    <a:pt x="1549" y="1834"/>
                  </a:lnTo>
                  <a:lnTo>
                    <a:pt x="1550" y="1717"/>
                  </a:lnTo>
                  <a:lnTo>
                    <a:pt x="1588" y="1673"/>
                  </a:lnTo>
                  <a:lnTo>
                    <a:pt x="1377" y="1266"/>
                  </a:lnTo>
                  <a:lnTo>
                    <a:pt x="1364" y="1207"/>
                  </a:lnTo>
                  <a:lnTo>
                    <a:pt x="1445" y="934"/>
                  </a:lnTo>
                  <a:lnTo>
                    <a:pt x="1428" y="875"/>
                  </a:lnTo>
                  <a:lnTo>
                    <a:pt x="1326" y="746"/>
                  </a:lnTo>
                  <a:lnTo>
                    <a:pt x="1283" y="730"/>
                  </a:lnTo>
                  <a:lnTo>
                    <a:pt x="1244" y="730"/>
                  </a:lnTo>
                  <a:lnTo>
                    <a:pt x="1216" y="715"/>
                  </a:lnTo>
                  <a:lnTo>
                    <a:pt x="1199" y="696"/>
                  </a:lnTo>
                  <a:lnTo>
                    <a:pt x="1163" y="580"/>
                  </a:lnTo>
                  <a:lnTo>
                    <a:pt x="1183" y="476"/>
                  </a:lnTo>
                  <a:lnTo>
                    <a:pt x="1180" y="466"/>
                  </a:lnTo>
                  <a:lnTo>
                    <a:pt x="1154" y="455"/>
                  </a:lnTo>
                  <a:lnTo>
                    <a:pt x="1222" y="374"/>
                  </a:lnTo>
                  <a:lnTo>
                    <a:pt x="1194" y="359"/>
                  </a:lnTo>
                  <a:lnTo>
                    <a:pt x="1188" y="330"/>
                  </a:lnTo>
                  <a:lnTo>
                    <a:pt x="1193" y="298"/>
                  </a:lnTo>
                  <a:lnTo>
                    <a:pt x="1236" y="230"/>
                  </a:lnTo>
                  <a:lnTo>
                    <a:pt x="1197" y="124"/>
                  </a:lnTo>
                  <a:lnTo>
                    <a:pt x="1145" y="87"/>
                  </a:lnTo>
                  <a:lnTo>
                    <a:pt x="1099" y="75"/>
                  </a:lnTo>
                  <a:lnTo>
                    <a:pt x="1069" y="58"/>
                  </a:lnTo>
                  <a:lnTo>
                    <a:pt x="1037" y="10"/>
                  </a:lnTo>
                  <a:lnTo>
                    <a:pt x="1022" y="0"/>
                  </a:lnTo>
                  <a:lnTo>
                    <a:pt x="875" y="72"/>
                  </a:lnTo>
                  <a:lnTo>
                    <a:pt x="813" y="83"/>
                  </a:lnTo>
                  <a:lnTo>
                    <a:pt x="782" y="105"/>
                  </a:lnTo>
                  <a:lnTo>
                    <a:pt x="758" y="139"/>
                  </a:lnTo>
                  <a:lnTo>
                    <a:pt x="734" y="221"/>
                  </a:lnTo>
                  <a:lnTo>
                    <a:pt x="744" y="454"/>
                  </a:lnTo>
                  <a:lnTo>
                    <a:pt x="682" y="508"/>
                  </a:lnTo>
                  <a:lnTo>
                    <a:pt x="662" y="546"/>
                  </a:lnTo>
                  <a:lnTo>
                    <a:pt x="591" y="595"/>
                  </a:lnTo>
                  <a:lnTo>
                    <a:pt x="562" y="590"/>
                  </a:lnTo>
                  <a:lnTo>
                    <a:pt x="525" y="535"/>
                  </a:lnTo>
                  <a:lnTo>
                    <a:pt x="501" y="519"/>
                  </a:lnTo>
                  <a:lnTo>
                    <a:pt x="456" y="573"/>
                  </a:lnTo>
                  <a:lnTo>
                    <a:pt x="418" y="598"/>
                  </a:lnTo>
                  <a:lnTo>
                    <a:pt x="386" y="604"/>
                  </a:lnTo>
                  <a:lnTo>
                    <a:pt x="344" y="584"/>
                  </a:lnTo>
                  <a:lnTo>
                    <a:pt x="277" y="577"/>
                  </a:lnTo>
                  <a:lnTo>
                    <a:pt x="261" y="556"/>
                  </a:lnTo>
                  <a:lnTo>
                    <a:pt x="247" y="507"/>
                  </a:lnTo>
                  <a:lnTo>
                    <a:pt x="133" y="367"/>
                  </a:lnTo>
                  <a:lnTo>
                    <a:pt x="96" y="353"/>
                  </a:lnTo>
                  <a:lnTo>
                    <a:pt x="64" y="371"/>
                  </a:lnTo>
                  <a:lnTo>
                    <a:pt x="75" y="432"/>
                  </a:lnTo>
                  <a:lnTo>
                    <a:pt x="51" y="441"/>
                  </a:lnTo>
                  <a:lnTo>
                    <a:pt x="30" y="432"/>
                  </a:lnTo>
                  <a:lnTo>
                    <a:pt x="8" y="439"/>
                  </a:lnTo>
                  <a:lnTo>
                    <a:pt x="0" y="46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7" name="Freeform 204"/>
            <p:cNvSpPr>
              <a:spLocks/>
            </p:cNvSpPr>
            <p:nvPr/>
          </p:nvSpPr>
          <p:spPr bwMode="auto">
            <a:xfrm>
              <a:off x="5902910" y="3995777"/>
              <a:ext cx="1316178" cy="1493441"/>
            </a:xfrm>
            <a:custGeom>
              <a:avLst/>
              <a:gdLst>
                <a:gd name="T0" fmla="*/ 0 w 3241"/>
                <a:gd name="T1" fmla="*/ 0 h 3682"/>
                <a:gd name="T2" fmla="*/ 0 w 3241"/>
                <a:gd name="T3" fmla="*/ 0 h 3682"/>
                <a:gd name="T4" fmla="*/ 0 w 3241"/>
                <a:gd name="T5" fmla="*/ 0 h 3682"/>
                <a:gd name="T6" fmla="*/ 0 w 3241"/>
                <a:gd name="T7" fmla="*/ 0 h 3682"/>
                <a:gd name="T8" fmla="*/ 0 w 3241"/>
                <a:gd name="T9" fmla="*/ 0 h 3682"/>
                <a:gd name="T10" fmla="*/ 0 w 3241"/>
                <a:gd name="T11" fmla="*/ 0 h 3682"/>
                <a:gd name="T12" fmla="*/ 0 w 3241"/>
                <a:gd name="T13" fmla="*/ 0 h 3682"/>
                <a:gd name="T14" fmla="*/ 0 w 3241"/>
                <a:gd name="T15" fmla="*/ 0 h 3682"/>
                <a:gd name="T16" fmla="*/ 0 w 3241"/>
                <a:gd name="T17" fmla="*/ 0 h 3682"/>
                <a:gd name="T18" fmla="*/ 0 w 3241"/>
                <a:gd name="T19" fmla="*/ 0 h 3682"/>
                <a:gd name="T20" fmla="*/ 0 w 3241"/>
                <a:gd name="T21" fmla="*/ 0 h 3682"/>
                <a:gd name="T22" fmla="*/ 0 w 3241"/>
                <a:gd name="T23" fmla="*/ 0 h 3682"/>
                <a:gd name="T24" fmla="*/ 0 w 3241"/>
                <a:gd name="T25" fmla="*/ 0 h 3682"/>
                <a:gd name="T26" fmla="*/ 0 w 3241"/>
                <a:gd name="T27" fmla="*/ 0 h 3682"/>
                <a:gd name="T28" fmla="*/ 0 w 3241"/>
                <a:gd name="T29" fmla="*/ 0 h 3682"/>
                <a:gd name="T30" fmla="*/ 0 w 3241"/>
                <a:gd name="T31" fmla="*/ 0 h 3682"/>
                <a:gd name="T32" fmla="*/ 0 w 3241"/>
                <a:gd name="T33" fmla="*/ 0 h 3682"/>
                <a:gd name="T34" fmla="*/ 0 w 3241"/>
                <a:gd name="T35" fmla="*/ 0 h 3682"/>
                <a:gd name="T36" fmla="*/ 0 w 3241"/>
                <a:gd name="T37" fmla="*/ 0 h 3682"/>
                <a:gd name="T38" fmla="*/ 0 w 3241"/>
                <a:gd name="T39" fmla="*/ 0 h 3682"/>
                <a:gd name="T40" fmla="*/ 0 w 3241"/>
                <a:gd name="T41" fmla="*/ 0 h 3682"/>
                <a:gd name="T42" fmla="*/ 0 w 3241"/>
                <a:gd name="T43" fmla="*/ 0 h 3682"/>
                <a:gd name="T44" fmla="*/ 0 w 3241"/>
                <a:gd name="T45" fmla="*/ 0 h 3682"/>
                <a:gd name="T46" fmla="*/ 0 w 3241"/>
                <a:gd name="T47" fmla="*/ 0 h 3682"/>
                <a:gd name="T48" fmla="*/ 0 w 3241"/>
                <a:gd name="T49" fmla="*/ 0 h 3682"/>
                <a:gd name="T50" fmla="*/ 0 w 3241"/>
                <a:gd name="T51" fmla="*/ 0 h 3682"/>
                <a:gd name="T52" fmla="*/ 0 w 3241"/>
                <a:gd name="T53" fmla="*/ 0 h 3682"/>
                <a:gd name="T54" fmla="*/ 0 w 3241"/>
                <a:gd name="T55" fmla="*/ 0 h 3682"/>
                <a:gd name="T56" fmla="*/ 0 w 3241"/>
                <a:gd name="T57" fmla="*/ 0 h 3682"/>
                <a:gd name="T58" fmla="*/ 0 w 3241"/>
                <a:gd name="T59" fmla="*/ 0 h 3682"/>
                <a:gd name="T60" fmla="*/ 0 w 3241"/>
                <a:gd name="T61" fmla="*/ 0 h 3682"/>
                <a:gd name="T62" fmla="*/ 0 w 3241"/>
                <a:gd name="T63" fmla="*/ 0 h 3682"/>
                <a:gd name="T64" fmla="*/ 0 w 3241"/>
                <a:gd name="T65" fmla="*/ 0 h 3682"/>
                <a:gd name="T66" fmla="*/ 0 w 3241"/>
                <a:gd name="T67" fmla="*/ 0 h 3682"/>
                <a:gd name="T68" fmla="*/ 0 w 3241"/>
                <a:gd name="T69" fmla="*/ 0 h 3682"/>
                <a:gd name="T70" fmla="*/ 0 w 3241"/>
                <a:gd name="T71" fmla="*/ 0 h 3682"/>
                <a:gd name="T72" fmla="*/ 0 w 3241"/>
                <a:gd name="T73" fmla="*/ 0 h 3682"/>
                <a:gd name="T74" fmla="*/ 0 w 3241"/>
                <a:gd name="T75" fmla="*/ 0 h 3682"/>
                <a:gd name="T76" fmla="*/ 0 w 3241"/>
                <a:gd name="T77" fmla="*/ 0 h 3682"/>
                <a:gd name="T78" fmla="*/ 0 w 3241"/>
                <a:gd name="T79" fmla="*/ 0 h 3682"/>
                <a:gd name="T80" fmla="*/ 0 w 3241"/>
                <a:gd name="T81" fmla="*/ 0 h 3682"/>
                <a:gd name="T82" fmla="*/ 0 w 3241"/>
                <a:gd name="T83" fmla="*/ 0 h 3682"/>
                <a:gd name="T84" fmla="*/ 0 w 3241"/>
                <a:gd name="T85" fmla="*/ 0 h 3682"/>
                <a:gd name="T86" fmla="*/ 0 w 3241"/>
                <a:gd name="T87" fmla="*/ 0 h 3682"/>
                <a:gd name="T88" fmla="*/ 0 w 3241"/>
                <a:gd name="T89" fmla="*/ 0 h 3682"/>
                <a:gd name="T90" fmla="*/ 0 w 3241"/>
                <a:gd name="T91" fmla="*/ 0 h 3682"/>
                <a:gd name="T92" fmla="*/ 0 w 3241"/>
                <a:gd name="T93" fmla="*/ 0 h 3682"/>
                <a:gd name="T94" fmla="*/ 0 w 3241"/>
                <a:gd name="T95" fmla="*/ 0 h 3682"/>
                <a:gd name="T96" fmla="*/ 0 w 3241"/>
                <a:gd name="T97" fmla="*/ 0 h 3682"/>
                <a:gd name="T98" fmla="*/ 0 w 3241"/>
                <a:gd name="T99" fmla="*/ 0 h 3682"/>
                <a:gd name="T100" fmla="*/ 0 w 3241"/>
                <a:gd name="T101" fmla="*/ 0 h 3682"/>
                <a:gd name="T102" fmla="*/ 0 w 3241"/>
                <a:gd name="T103" fmla="*/ 0 h 3682"/>
                <a:gd name="T104" fmla="*/ 0 w 3241"/>
                <a:gd name="T105" fmla="*/ 0 h 3682"/>
                <a:gd name="T106" fmla="*/ 0 w 3241"/>
                <a:gd name="T107" fmla="*/ 0 h 3682"/>
                <a:gd name="T108" fmla="*/ 0 w 3241"/>
                <a:gd name="T109" fmla="*/ 0 h 3682"/>
                <a:gd name="T110" fmla="*/ 0 w 3241"/>
                <a:gd name="T111" fmla="*/ 0 h 3682"/>
                <a:gd name="T112" fmla="*/ 0 w 3241"/>
                <a:gd name="T113" fmla="*/ 0 h 3682"/>
                <a:gd name="T114" fmla="*/ 0 w 3241"/>
                <a:gd name="T115" fmla="*/ 0 h 3682"/>
                <a:gd name="T116" fmla="*/ 0 w 3241"/>
                <a:gd name="T117" fmla="*/ 0 h 3682"/>
                <a:gd name="T118" fmla="*/ 0 w 3241"/>
                <a:gd name="T119" fmla="*/ 0 h 3682"/>
                <a:gd name="T120" fmla="*/ 0 w 3241"/>
                <a:gd name="T121" fmla="*/ 0 h 3682"/>
                <a:gd name="T122" fmla="*/ 0 w 3241"/>
                <a:gd name="T123" fmla="*/ 0 h 368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41"/>
                <a:gd name="T187" fmla="*/ 0 h 3682"/>
                <a:gd name="T188" fmla="*/ 3241 w 3241"/>
                <a:gd name="T189" fmla="*/ 3682 h 368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41" h="3682">
                  <a:moveTo>
                    <a:pt x="1111" y="32"/>
                  </a:moveTo>
                  <a:lnTo>
                    <a:pt x="1089" y="84"/>
                  </a:lnTo>
                  <a:lnTo>
                    <a:pt x="1088" y="117"/>
                  </a:lnTo>
                  <a:lnTo>
                    <a:pt x="1066" y="130"/>
                  </a:lnTo>
                  <a:lnTo>
                    <a:pt x="1013" y="125"/>
                  </a:lnTo>
                  <a:lnTo>
                    <a:pt x="999" y="156"/>
                  </a:lnTo>
                  <a:lnTo>
                    <a:pt x="1000" y="192"/>
                  </a:lnTo>
                  <a:lnTo>
                    <a:pt x="1012" y="223"/>
                  </a:lnTo>
                  <a:lnTo>
                    <a:pt x="1000" y="244"/>
                  </a:lnTo>
                  <a:lnTo>
                    <a:pt x="845" y="199"/>
                  </a:lnTo>
                  <a:lnTo>
                    <a:pt x="818" y="168"/>
                  </a:lnTo>
                  <a:lnTo>
                    <a:pt x="784" y="146"/>
                  </a:lnTo>
                  <a:lnTo>
                    <a:pt x="766" y="198"/>
                  </a:lnTo>
                  <a:lnTo>
                    <a:pt x="701" y="286"/>
                  </a:lnTo>
                  <a:lnTo>
                    <a:pt x="683" y="332"/>
                  </a:lnTo>
                  <a:lnTo>
                    <a:pt x="668" y="352"/>
                  </a:lnTo>
                  <a:lnTo>
                    <a:pt x="637" y="325"/>
                  </a:lnTo>
                  <a:lnTo>
                    <a:pt x="614" y="281"/>
                  </a:lnTo>
                  <a:lnTo>
                    <a:pt x="563" y="231"/>
                  </a:lnTo>
                  <a:lnTo>
                    <a:pt x="547" y="132"/>
                  </a:lnTo>
                  <a:lnTo>
                    <a:pt x="489" y="154"/>
                  </a:lnTo>
                  <a:lnTo>
                    <a:pt x="454" y="187"/>
                  </a:lnTo>
                  <a:lnTo>
                    <a:pt x="447" y="231"/>
                  </a:lnTo>
                  <a:lnTo>
                    <a:pt x="364" y="289"/>
                  </a:lnTo>
                  <a:lnTo>
                    <a:pt x="80" y="274"/>
                  </a:lnTo>
                  <a:lnTo>
                    <a:pt x="73" y="299"/>
                  </a:lnTo>
                  <a:lnTo>
                    <a:pt x="111" y="513"/>
                  </a:lnTo>
                  <a:lnTo>
                    <a:pt x="49" y="543"/>
                  </a:lnTo>
                  <a:lnTo>
                    <a:pt x="17" y="572"/>
                  </a:lnTo>
                  <a:lnTo>
                    <a:pt x="1" y="613"/>
                  </a:lnTo>
                  <a:lnTo>
                    <a:pt x="0" y="638"/>
                  </a:lnTo>
                  <a:lnTo>
                    <a:pt x="5" y="660"/>
                  </a:lnTo>
                  <a:lnTo>
                    <a:pt x="45" y="685"/>
                  </a:lnTo>
                  <a:lnTo>
                    <a:pt x="41" y="724"/>
                  </a:lnTo>
                  <a:lnTo>
                    <a:pt x="24" y="770"/>
                  </a:lnTo>
                  <a:lnTo>
                    <a:pt x="24" y="885"/>
                  </a:lnTo>
                  <a:lnTo>
                    <a:pt x="47" y="934"/>
                  </a:lnTo>
                  <a:lnTo>
                    <a:pt x="171" y="970"/>
                  </a:lnTo>
                  <a:lnTo>
                    <a:pt x="180" y="1014"/>
                  </a:lnTo>
                  <a:lnTo>
                    <a:pt x="175" y="1057"/>
                  </a:lnTo>
                  <a:lnTo>
                    <a:pt x="160" y="1089"/>
                  </a:lnTo>
                  <a:lnTo>
                    <a:pt x="160" y="1108"/>
                  </a:lnTo>
                  <a:lnTo>
                    <a:pt x="250" y="1120"/>
                  </a:lnTo>
                  <a:lnTo>
                    <a:pt x="337" y="1095"/>
                  </a:lnTo>
                  <a:lnTo>
                    <a:pt x="351" y="1060"/>
                  </a:lnTo>
                  <a:lnTo>
                    <a:pt x="408" y="999"/>
                  </a:lnTo>
                  <a:lnTo>
                    <a:pt x="434" y="989"/>
                  </a:lnTo>
                  <a:lnTo>
                    <a:pt x="449" y="960"/>
                  </a:lnTo>
                  <a:lnTo>
                    <a:pt x="543" y="933"/>
                  </a:lnTo>
                  <a:lnTo>
                    <a:pt x="635" y="958"/>
                  </a:lnTo>
                  <a:lnTo>
                    <a:pt x="909" y="1157"/>
                  </a:lnTo>
                  <a:lnTo>
                    <a:pt x="980" y="1497"/>
                  </a:lnTo>
                  <a:lnTo>
                    <a:pt x="971" y="1535"/>
                  </a:lnTo>
                  <a:lnTo>
                    <a:pt x="1111" y="1725"/>
                  </a:lnTo>
                  <a:lnTo>
                    <a:pt x="1122" y="1808"/>
                  </a:lnTo>
                  <a:lnTo>
                    <a:pt x="1165" y="1796"/>
                  </a:lnTo>
                  <a:lnTo>
                    <a:pt x="1204" y="1801"/>
                  </a:lnTo>
                  <a:lnTo>
                    <a:pt x="1248" y="1845"/>
                  </a:lnTo>
                  <a:lnTo>
                    <a:pt x="1311" y="1961"/>
                  </a:lnTo>
                  <a:lnTo>
                    <a:pt x="1362" y="1973"/>
                  </a:lnTo>
                  <a:lnTo>
                    <a:pt x="1633" y="2309"/>
                  </a:lnTo>
                  <a:lnTo>
                    <a:pt x="1663" y="2302"/>
                  </a:lnTo>
                  <a:lnTo>
                    <a:pt x="1839" y="2334"/>
                  </a:lnTo>
                  <a:lnTo>
                    <a:pt x="1910" y="2431"/>
                  </a:lnTo>
                  <a:lnTo>
                    <a:pt x="1930" y="2488"/>
                  </a:lnTo>
                  <a:lnTo>
                    <a:pt x="2015" y="2531"/>
                  </a:lnTo>
                  <a:lnTo>
                    <a:pt x="2021" y="2548"/>
                  </a:lnTo>
                  <a:lnTo>
                    <a:pt x="2012" y="2591"/>
                  </a:lnTo>
                  <a:lnTo>
                    <a:pt x="2116" y="2581"/>
                  </a:lnTo>
                  <a:lnTo>
                    <a:pt x="2145" y="2590"/>
                  </a:lnTo>
                  <a:lnTo>
                    <a:pt x="2167" y="2625"/>
                  </a:lnTo>
                  <a:lnTo>
                    <a:pt x="2183" y="2685"/>
                  </a:lnTo>
                  <a:lnTo>
                    <a:pt x="2171" y="2724"/>
                  </a:lnTo>
                  <a:lnTo>
                    <a:pt x="2195" y="2766"/>
                  </a:lnTo>
                  <a:lnTo>
                    <a:pt x="2256" y="2796"/>
                  </a:lnTo>
                  <a:lnTo>
                    <a:pt x="2310" y="2866"/>
                  </a:lnTo>
                  <a:lnTo>
                    <a:pt x="2340" y="2817"/>
                  </a:lnTo>
                  <a:lnTo>
                    <a:pt x="2369" y="2819"/>
                  </a:lnTo>
                  <a:lnTo>
                    <a:pt x="2535" y="3329"/>
                  </a:lnTo>
                  <a:lnTo>
                    <a:pt x="2408" y="3391"/>
                  </a:lnTo>
                  <a:lnTo>
                    <a:pt x="2426" y="3453"/>
                  </a:lnTo>
                  <a:lnTo>
                    <a:pt x="2358" y="3566"/>
                  </a:lnTo>
                  <a:lnTo>
                    <a:pt x="2357" y="3634"/>
                  </a:lnTo>
                  <a:lnTo>
                    <a:pt x="2369" y="3677"/>
                  </a:lnTo>
                  <a:lnTo>
                    <a:pt x="2377" y="3666"/>
                  </a:lnTo>
                  <a:lnTo>
                    <a:pt x="2373" y="3680"/>
                  </a:lnTo>
                  <a:lnTo>
                    <a:pt x="2460" y="3682"/>
                  </a:lnTo>
                  <a:lnTo>
                    <a:pt x="2478" y="3668"/>
                  </a:lnTo>
                  <a:lnTo>
                    <a:pt x="2545" y="3552"/>
                  </a:lnTo>
                  <a:lnTo>
                    <a:pt x="2584" y="3519"/>
                  </a:lnTo>
                  <a:lnTo>
                    <a:pt x="2623" y="3510"/>
                  </a:lnTo>
                  <a:lnTo>
                    <a:pt x="2638" y="3476"/>
                  </a:lnTo>
                  <a:lnTo>
                    <a:pt x="2646" y="3351"/>
                  </a:lnTo>
                  <a:lnTo>
                    <a:pt x="2664" y="3326"/>
                  </a:lnTo>
                  <a:lnTo>
                    <a:pt x="2769" y="3284"/>
                  </a:lnTo>
                  <a:lnTo>
                    <a:pt x="2795" y="3285"/>
                  </a:lnTo>
                  <a:lnTo>
                    <a:pt x="2806" y="3263"/>
                  </a:lnTo>
                  <a:lnTo>
                    <a:pt x="2802" y="3101"/>
                  </a:lnTo>
                  <a:lnTo>
                    <a:pt x="2779" y="3073"/>
                  </a:lnTo>
                  <a:lnTo>
                    <a:pt x="2726" y="3041"/>
                  </a:lnTo>
                  <a:lnTo>
                    <a:pt x="2700" y="3002"/>
                  </a:lnTo>
                  <a:lnTo>
                    <a:pt x="2642" y="2973"/>
                  </a:lnTo>
                  <a:lnTo>
                    <a:pt x="2678" y="2812"/>
                  </a:lnTo>
                  <a:lnTo>
                    <a:pt x="2794" y="2680"/>
                  </a:lnTo>
                  <a:lnTo>
                    <a:pt x="2853" y="2672"/>
                  </a:lnTo>
                  <a:lnTo>
                    <a:pt x="2941" y="2742"/>
                  </a:lnTo>
                  <a:lnTo>
                    <a:pt x="3077" y="2798"/>
                  </a:lnTo>
                  <a:lnTo>
                    <a:pt x="3135" y="2913"/>
                  </a:lnTo>
                  <a:lnTo>
                    <a:pt x="3195" y="2948"/>
                  </a:lnTo>
                  <a:lnTo>
                    <a:pt x="3195" y="2934"/>
                  </a:lnTo>
                  <a:lnTo>
                    <a:pt x="3241" y="2849"/>
                  </a:lnTo>
                  <a:lnTo>
                    <a:pt x="3082" y="2597"/>
                  </a:lnTo>
                  <a:lnTo>
                    <a:pt x="2888" y="2519"/>
                  </a:lnTo>
                  <a:lnTo>
                    <a:pt x="2848" y="2467"/>
                  </a:lnTo>
                  <a:lnTo>
                    <a:pt x="2518" y="2297"/>
                  </a:lnTo>
                  <a:lnTo>
                    <a:pt x="2495" y="2295"/>
                  </a:lnTo>
                  <a:lnTo>
                    <a:pt x="2480" y="2271"/>
                  </a:lnTo>
                  <a:lnTo>
                    <a:pt x="2482" y="2242"/>
                  </a:lnTo>
                  <a:lnTo>
                    <a:pt x="2517" y="2207"/>
                  </a:lnTo>
                  <a:lnTo>
                    <a:pt x="2558" y="2184"/>
                  </a:lnTo>
                  <a:lnTo>
                    <a:pt x="2565" y="2136"/>
                  </a:lnTo>
                  <a:lnTo>
                    <a:pt x="2532" y="2088"/>
                  </a:lnTo>
                  <a:lnTo>
                    <a:pt x="2477" y="2092"/>
                  </a:lnTo>
                  <a:lnTo>
                    <a:pt x="2453" y="2104"/>
                  </a:lnTo>
                  <a:lnTo>
                    <a:pt x="2496" y="2093"/>
                  </a:lnTo>
                  <a:lnTo>
                    <a:pt x="2456" y="2104"/>
                  </a:lnTo>
                  <a:lnTo>
                    <a:pt x="2291" y="2095"/>
                  </a:lnTo>
                  <a:lnTo>
                    <a:pt x="2285" y="2137"/>
                  </a:lnTo>
                  <a:lnTo>
                    <a:pt x="2169" y="2020"/>
                  </a:lnTo>
                  <a:lnTo>
                    <a:pt x="2143" y="2014"/>
                  </a:lnTo>
                  <a:lnTo>
                    <a:pt x="2132" y="1970"/>
                  </a:lnTo>
                  <a:lnTo>
                    <a:pt x="2110" y="1969"/>
                  </a:lnTo>
                  <a:lnTo>
                    <a:pt x="1982" y="1809"/>
                  </a:lnTo>
                  <a:lnTo>
                    <a:pt x="1925" y="1634"/>
                  </a:lnTo>
                  <a:lnTo>
                    <a:pt x="1908" y="1607"/>
                  </a:lnTo>
                  <a:lnTo>
                    <a:pt x="1851" y="1400"/>
                  </a:lnTo>
                  <a:lnTo>
                    <a:pt x="1830" y="1381"/>
                  </a:lnTo>
                  <a:lnTo>
                    <a:pt x="1799" y="1379"/>
                  </a:lnTo>
                  <a:lnTo>
                    <a:pt x="1790" y="1359"/>
                  </a:lnTo>
                  <a:lnTo>
                    <a:pt x="1586" y="1203"/>
                  </a:lnTo>
                  <a:lnTo>
                    <a:pt x="1535" y="1111"/>
                  </a:lnTo>
                  <a:lnTo>
                    <a:pt x="1524" y="1064"/>
                  </a:lnTo>
                  <a:lnTo>
                    <a:pt x="1550" y="885"/>
                  </a:lnTo>
                  <a:lnTo>
                    <a:pt x="1584" y="863"/>
                  </a:lnTo>
                  <a:lnTo>
                    <a:pt x="1593" y="831"/>
                  </a:lnTo>
                  <a:lnTo>
                    <a:pt x="1582" y="796"/>
                  </a:lnTo>
                  <a:lnTo>
                    <a:pt x="1546" y="780"/>
                  </a:lnTo>
                  <a:lnTo>
                    <a:pt x="1541" y="702"/>
                  </a:lnTo>
                  <a:lnTo>
                    <a:pt x="1554" y="667"/>
                  </a:lnTo>
                  <a:lnTo>
                    <a:pt x="1612" y="630"/>
                  </a:lnTo>
                  <a:lnTo>
                    <a:pt x="1630" y="631"/>
                  </a:lnTo>
                  <a:lnTo>
                    <a:pt x="1636" y="641"/>
                  </a:lnTo>
                  <a:lnTo>
                    <a:pt x="1833" y="564"/>
                  </a:lnTo>
                  <a:lnTo>
                    <a:pt x="1879" y="580"/>
                  </a:lnTo>
                  <a:lnTo>
                    <a:pt x="1925" y="561"/>
                  </a:lnTo>
                  <a:lnTo>
                    <a:pt x="1961" y="570"/>
                  </a:lnTo>
                  <a:lnTo>
                    <a:pt x="1962" y="600"/>
                  </a:lnTo>
                  <a:lnTo>
                    <a:pt x="1940" y="635"/>
                  </a:lnTo>
                  <a:lnTo>
                    <a:pt x="1940" y="643"/>
                  </a:lnTo>
                  <a:lnTo>
                    <a:pt x="1964" y="652"/>
                  </a:lnTo>
                  <a:lnTo>
                    <a:pt x="1991" y="648"/>
                  </a:lnTo>
                  <a:lnTo>
                    <a:pt x="2011" y="634"/>
                  </a:lnTo>
                  <a:lnTo>
                    <a:pt x="2019" y="613"/>
                  </a:lnTo>
                  <a:lnTo>
                    <a:pt x="2008" y="591"/>
                  </a:lnTo>
                  <a:lnTo>
                    <a:pt x="1991" y="581"/>
                  </a:lnTo>
                  <a:lnTo>
                    <a:pt x="1981" y="555"/>
                  </a:lnTo>
                  <a:lnTo>
                    <a:pt x="1942" y="534"/>
                  </a:lnTo>
                  <a:lnTo>
                    <a:pt x="1932" y="521"/>
                  </a:lnTo>
                  <a:lnTo>
                    <a:pt x="1934" y="482"/>
                  </a:lnTo>
                  <a:lnTo>
                    <a:pt x="1913" y="449"/>
                  </a:lnTo>
                  <a:lnTo>
                    <a:pt x="1938" y="375"/>
                  </a:lnTo>
                  <a:lnTo>
                    <a:pt x="1910" y="380"/>
                  </a:lnTo>
                  <a:lnTo>
                    <a:pt x="1898" y="369"/>
                  </a:lnTo>
                  <a:lnTo>
                    <a:pt x="1901" y="346"/>
                  </a:lnTo>
                  <a:lnTo>
                    <a:pt x="1919" y="311"/>
                  </a:lnTo>
                  <a:lnTo>
                    <a:pt x="1974" y="267"/>
                  </a:lnTo>
                  <a:lnTo>
                    <a:pt x="1717" y="199"/>
                  </a:lnTo>
                  <a:lnTo>
                    <a:pt x="1673" y="162"/>
                  </a:lnTo>
                  <a:lnTo>
                    <a:pt x="1652" y="156"/>
                  </a:lnTo>
                  <a:lnTo>
                    <a:pt x="1597" y="112"/>
                  </a:lnTo>
                  <a:lnTo>
                    <a:pt x="1578" y="33"/>
                  </a:lnTo>
                  <a:lnTo>
                    <a:pt x="1581" y="10"/>
                  </a:lnTo>
                  <a:lnTo>
                    <a:pt x="1570" y="0"/>
                  </a:lnTo>
                  <a:lnTo>
                    <a:pt x="1539" y="2"/>
                  </a:lnTo>
                  <a:lnTo>
                    <a:pt x="1513" y="17"/>
                  </a:lnTo>
                  <a:lnTo>
                    <a:pt x="1170" y="60"/>
                  </a:lnTo>
                  <a:lnTo>
                    <a:pt x="1111" y="3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8" name="Freeform 208"/>
            <p:cNvSpPr>
              <a:spLocks/>
            </p:cNvSpPr>
            <p:nvPr/>
          </p:nvSpPr>
          <p:spPr bwMode="auto">
            <a:xfrm>
              <a:off x="7429004" y="4853666"/>
              <a:ext cx="770394" cy="677502"/>
            </a:xfrm>
            <a:custGeom>
              <a:avLst/>
              <a:gdLst>
                <a:gd name="T0" fmla="*/ 0 w 1898"/>
                <a:gd name="T1" fmla="*/ 0 h 1670"/>
                <a:gd name="T2" fmla="*/ 0 w 1898"/>
                <a:gd name="T3" fmla="*/ 0 h 1670"/>
                <a:gd name="T4" fmla="*/ 0 w 1898"/>
                <a:gd name="T5" fmla="*/ 0 h 1670"/>
                <a:gd name="T6" fmla="*/ 0 w 1898"/>
                <a:gd name="T7" fmla="*/ 0 h 1670"/>
                <a:gd name="T8" fmla="*/ 0 w 1898"/>
                <a:gd name="T9" fmla="*/ 0 h 1670"/>
                <a:gd name="T10" fmla="*/ 0 w 1898"/>
                <a:gd name="T11" fmla="*/ 0 h 1670"/>
                <a:gd name="T12" fmla="*/ 0 w 1898"/>
                <a:gd name="T13" fmla="*/ 0 h 1670"/>
                <a:gd name="T14" fmla="*/ 0 w 1898"/>
                <a:gd name="T15" fmla="*/ 0 h 1670"/>
                <a:gd name="T16" fmla="*/ 0 w 1898"/>
                <a:gd name="T17" fmla="*/ 0 h 1670"/>
                <a:gd name="T18" fmla="*/ 0 w 1898"/>
                <a:gd name="T19" fmla="*/ 0 h 1670"/>
                <a:gd name="T20" fmla="*/ 0 w 1898"/>
                <a:gd name="T21" fmla="*/ 0 h 1670"/>
                <a:gd name="T22" fmla="*/ 0 w 1898"/>
                <a:gd name="T23" fmla="*/ 0 h 1670"/>
                <a:gd name="T24" fmla="*/ 0 w 1898"/>
                <a:gd name="T25" fmla="*/ 0 h 1670"/>
                <a:gd name="T26" fmla="*/ 0 w 1898"/>
                <a:gd name="T27" fmla="*/ 0 h 1670"/>
                <a:gd name="T28" fmla="*/ 0 w 1898"/>
                <a:gd name="T29" fmla="*/ 0 h 1670"/>
                <a:gd name="T30" fmla="*/ 0 w 1898"/>
                <a:gd name="T31" fmla="*/ 0 h 1670"/>
                <a:gd name="T32" fmla="*/ 0 w 1898"/>
                <a:gd name="T33" fmla="*/ 0 h 1670"/>
                <a:gd name="T34" fmla="*/ 0 w 1898"/>
                <a:gd name="T35" fmla="*/ 0 h 1670"/>
                <a:gd name="T36" fmla="*/ 0 w 1898"/>
                <a:gd name="T37" fmla="*/ 0 h 1670"/>
                <a:gd name="T38" fmla="*/ 0 w 1898"/>
                <a:gd name="T39" fmla="*/ 0 h 1670"/>
                <a:gd name="T40" fmla="*/ 0 w 1898"/>
                <a:gd name="T41" fmla="*/ 0 h 1670"/>
                <a:gd name="T42" fmla="*/ 0 w 1898"/>
                <a:gd name="T43" fmla="*/ 0 h 1670"/>
                <a:gd name="T44" fmla="*/ 0 w 1898"/>
                <a:gd name="T45" fmla="*/ 0 h 1670"/>
                <a:gd name="T46" fmla="*/ 0 w 1898"/>
                <a:gd name="T47" fmla="*/ 0 h 1670"/>
                <a:gd name="T48" fmla="*/ 0 w 1898"/>
                <a:gd name="T49" fmla="*/ 0 h 1670"/>
                <a:gd name="T50" fmla="*/ 0 w 1898"/>
                <a:gd name="T51" fmla="*/ 0 h 1670"/>
                <a:gd name="T52" fmla="*/ 0 w 1898"/>
                <a:gd name="T53" fmla="*/ 0 h 1670"/>
                <a:gd name="T54" fmla="*/ 0 w 1898"/>
                <a:gd name="T55" fmla="*/ 0 h 1670"/>
                <a:gd name="T56" fmla="*/ 0 w 1898"/>
                <a:gd name="T57" fmla="*/ 0 h 1670"/>
                <a:gd name="T58" fmla="*/ 0 w 1898"/>
                <a:gd name="T59" fmla="*/ 0 h 1670"/>
                <a:gd name="T60" fmla="*/ 0 w 1898"/>
                <a:gd name="T61" fmla="*/ 0 h 1670"/>
                <a:gd name="T62" fmla="*/ 0 w 1898"/>
                <a:gd name="T63" fmla="*/ 0 h 1670"/>
                <a:gd name="T64" fmla="*/ 0 w 1898"/>
                <a:gd name="T65" fmla="*/ 0 h 1670"/>
                <a:gd name="T66" fmla="*/ 0 w 1898"/>
                <a:gd name="T67" fmla="*/ 0 h 1670"/>
                <a:gd name="T68" fmla="*/ 0 w 1898"/>
                <a:gd name="T69" fmla="*/ 0 h 1670"/>
                <a:gd name="T70" fmla="*/ 0 w 1898"/>
                <a:gd name="T71" fmla="*/ 0 h 1670"/>
                <a:gd name="T72" fmla="*/ 0 w 1898"/>
                <a:gd name="T73" fmla="*/ 0 h 1670"/>
                <a:gd name="T74" fmla="*/ 0 w 1898"/>
                <a:gd name="T75" fmla="*/ 0 h 1670"/>
                <a:gd name="T76" fmla="*/ 0 w 1898"/>
                <a:gd name="T77" fmla="*/ 0 h 1670"/>
                <a:gd name="T78" fmla="*/ 0 w 1898"/>
                <a:gd name="T79" fmla="*/ 0 h 1670"/>
                <a:gd name="T80" fmla="*/ 0 w 1898"/>
                <a:gd name="T81" fmla="*/ 0 h 1670"/>
                <a:gd name="T82" fmla="*/ 0 w 1898"/>
                <a:gd name="T83" fmla="*/ 0 h 1670"/>
                <a:gd name="T84" fmla="*/ 0 w 1898"/>
                <a:gd name="T85" fmla="*/ 0 h 1670"/>
                <a:gd name="T86" fmla="*/ 0 w 1898"/>
                <a:gd name="T87" fmla="*/ 0 h 1670"/>
                <a:gd name="T88" fmla="*/ 0 w 1898"/>
                <a:gd name="T89" fmla="*/ 0 h 1670"/>
                <a:gd name="T90" fmla="*/ 0 w 1898"/>
                <a:gd name="T91" fmla="*/ 0 h 1670"/>
                <a:gd name="T92" fmla="*/ 0 w 1898"/>
                <a:gd name="T93" fmla="*/ 0 h 1670"/>
                <a:gd name="T94" fmla="*/ 0 w 1898"/>
                <a:gd name="T95" fmla="*/ 0 h 1670"/>
                <a:gd name="T96" fmla="*/ 0 w 1898"/>
                <a:gd name="T97" fmla="*/ 0 h 1670"/>
                <a:gd name="T98" fmla="*/ 0 w 1898"/>
                <a:gd name="T99" fmla="*/ 0 h 1670"/>
                <a:gd name="T100" fmla="*/ 0 w 1898"/>
                <a:gd name="T101" fmla="*/ 0 h 1670"/>
                <a:gd name="T102" fmla="*/ 0 w 1898"/>
                <a:gd name="T103" fmla="*/ 0 h 1670"/>
                <a:gd name="T104" fmla="*/ 0 w 1898"/>
                <a:gd name="T105" fmla="*/ 0 h 16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98"/>
                <a:gd name="T160" fmla="*/ 0 h 1670"/>
                <a:gd name="T161" fmla="*/ 1898 w 1898"/>
                <a:gd name="T162" fmla="*/ 1670 h 16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98" h="1670">
                  <a:moveTo>
                    <a:pt x="1773" y="431"/>
                  </a:moveTo>
                  <a:lnTo>
                    <a:pt x="1720" y="392"/>
                  </a:lnTo>
                  <a:lnTo>
                    <a:pt x="1458" y="344"/>
                  </a:lnTo>
                  <a:lnTo>
                    <a:pt x="1378" y="393"/>
                  </a:lnTo>
                  <a:lnTo>
                    <a:pt x="1339" y="395"/>
                  </a:lnTo>
                  <a:lnTo>
                    <a:pt x="1277" y="375"/>
                  </a:lnTo>
                  <a:lnTo>
                    <a:pt x="1225" y="438"/>
                  </a:lnTo>
                  <a:lnTo>
                    <a:pt x="1136" y="461"/>
                  </a:lnTo>
                  <a:lnTo>
                    <a:pt x="1056" y="519"/>
                  </a:lnTo>
                  <a:lnTo>
                    <a:pt x="1104" y="563"/>
                  </a:lnTo>
                  <a:lnTo>
                    <a:pt x="1186" y="589"/>
                  </a:lnTo>
                  <a:lnTo>
                    <a:pt x="1241" y="644"/>
                  </a:lnTo>
                  <a:lnTo>
                    <a:pt x="1256" y="674"/>
                  </a:lnTo>
                  <a:lnTo>
                    <a:pt x="1195" y="627"/>
                  </a:lnTo>
                  <a:lnTo>
                    <a:pt x="1107" y="612"/>
                  </a:lnTo>
                  <a:lnTo>
                    <a:pt x="1086" y="663"/>
                  </a:lnTo>
                  <a:lnTo>
                    <a:pt x="1147" y="703"/>
                  </a:lnTo>
                  <a:lnTo>
                    <a:pt x="1158" y="773"/>
                  </a:lnTo>
                  <a:lnTo>
                    <a:pt x="1076" y="677"/>
                  </a:lnTo>
                  <a:lnTo>
                    <a:pt x="1022" y="659"/>
                  </a:lnTo>
                  <a:lnTo>
                    <a:pt x="999" y="666"/>
                  </a:lnTo>
                  <a:lnTo>
                    <a:pt x="1014" y="726"/>
                  </a:lnTo>
                  <a:lnTo>
                    <a:pt x="1067" y="764"/>
                  </a:lnTo>
                  <a:lnTo>
                    <a:pt x="1037" y="789"/>
                  </a:lnTo>
                  <a:lnTo>
                    <a:pt x="978" y="736"/>
                  </a:lnTo>
                  <a:lnTo>
                    <a:pt x="946" y="666"/>
                  </a:lnTo>
                  <a:lnTo>
                    <a:pt x="816" y="587"/>
                  </a:lnTo>
                  <a:lnTo>
                    <a:pt x="811" y="568"/>
                  </a:lnTo>
                  <a:lnTo>
                    <a:pt x="826" y="528"/>
                  </a:lnTo>
                  <a:lnTo>
                    <a:pt x="751" y="557"/>
                  </a:lnTo>
                  <a:lnTo>
                    <a:pt x="754" y="787"/>
                  </a:lnTo>
                  <a:lnTo>
                    <a:pt x="794" y="825"/>
                  </a:lnTo>
                  <a:lnTo>
                    <a:pt x="819" y="907"/>
                  </a:lnTo>
                  <a:lnTo>
                    <a:pt x="921" y="998"/>
                  </a:lnTo>
                  <a:lnTo>
                    <a:pt x="965" y="1097"/>
                  </a:lnTo>
                  <a:lnTo>
                    <a:pt x="940" y="1116"/>
                  </a:lnTo>
                  <a:lnTo>
                    <a:pt x="914" y="1109"/>
                  </a:lnTo>
                  <a:lnTo>
                    <a:pt x="925" y="1073"/>
                  </a:lnTo>
                  <a:lnTo>
                    <a:pt x="898" y="1039"/>
                  </a:lnTo>
                  <a:lnTo>
                    <a:pt x="847" y="1035"/>
                  </a:lnTo>
                  <a:lnTo>
                    <a:pt x="836" y="1082"/>
                  </a:lnTo>
                  <a:lnTo>
                    <a:pt x="869" y="1159"/>
                  </a:lnTo>
                  <a:lnTo>
                    <a:pt x="853" y="1177"/>
                  </a:lnTo>
                  <a:lnTo>
                    <a:pt x="737" y="1195"/>
                  </a:lnTo>
                  <a:lnTo>
                    <a:pt x="763" y="1231"/>
                  </a:lnTo>
                  <a:lnTo>
                    <a:pt x="921" y="1293"/>
                  </a:lnTo>
                  <a:lnTo>
                    <a:pt x="973" y="1294"/>
                  </a:lnTo>
                  <a:lnTo>
                    <a:pt x="1004" y="1357"/>
                  </a:lnTo>
                  <a:lnTo>
                    <a:pt x="1041" y="1356"/>
                  </a:lnTo>
                  <a:lnTo>
                    <a:pt x="1130" y="1430"/>
                  </a:lnTo>
                  <a:lnTo>
                    <a:pt x="1162" y="1432"/>
                  </a:lnTo>
                  <a:lnTo>
                    <a:pt x="1204" y="1458"/>
                  </a:lnTo>
                  <a:lnTo>
                    <a:pt x="1222" y="1670"/>
                  </a:lnTo>
                  <a:lnTo>
                    <a:pt x="1143" y="1626"/>
                  </a:lnTo>
                  <a:lnTo>
                    <a:pt x="1081" y="1556"/>
                  </a:lnTo>
                  <a:lnTo>
                    <a:pt x="922" y="1577"/>
                  </a:lnTo>
                  <a:lnTo>
                    <a:pt x="869" y="1550"/>
                  </a:lnTo>
                  <a:lnTo>
                    <a:pt x="927" y="1531"/>
                  </a:lnTo>
                  <a:lnTo>
                    <a:pt x="936" y="1486"/>
                  </a:lnTo>
                  <a:lnTo>
                    <a:pt x="870" y="1479"/>
                  </a:lnTo>
                  <a:lnTo>
                    <a:pt x="788" y="1407"/>
                  </a:lnTo>
                  <a:lnTo>
                    <a:pt x="756" y="1439"/>
                  </a:lnTo>
                  <a:lnTo>
                    <a:pt x="700" y="1420"/>
                  </a:lnTo>
                  <a:lnTo>
                    <a:pt x="628" y="1432"/>
                  </a:lnTo>
                  <a:lnTo>
                    <a:pt x="557" y="1421"/>
                  </a:lnTo>
                  <a:lnTo>
                    <a:pt x="459" y="1437"/>
                  </a:lnTo>
                  <a:lnTo>
                    <a:pt x="380" y="1407"/>
                  </a:lnTo>
                  <a:lnTo>
                    <a:pt x="359" y="1407"/>
                  </a:lnTo>
                  <a:lnTo>
                    <a:pt x="348" y="1428"/>
                  </a:lnTo>
                  <a:lnTo>
                    <a:pt x="314" y="1439"/>
                  </a:lnTo>
                  <a:lnTo>
                    <a:pt x="185" y="1226"/>
                  </a:lnTo>
                  <a:lnTo>
                    <a:pt x="243" y="1232"/>
                  </a:lnTo>
                  <a:lnTo>
                    <a:pt x="298" y="1221"/>
                  </a:lnTo>
                  <a:lnTo>
                    <a:pt x="277" y="1174"/>
                  </a:lnTo>
                  <a:lnTo>
                    <a:pt x="195" y="1141"/>
                  </a:lnTo>
                  <a:lnTo>
                    <a:pt x="182" y="1192"/>
                  </a:lnTo>
                  <a:lnTo>
                    <a:pt x="95" y="1051"/>
                  </a:lnTo>
                  <a:lnTo>
                    <a:pt x="40" y="1010"/>
                  </a:lnTo>
                  <a:lnTo>
                    <a:pt x="17" y="921"/>
                  </a:lnTo>
                  <a:lnTo>
                    <a:pt x="7" y="907"/>
                  </a:lnTo>
                  <a:lnTo>
                    <a:pt x="0" y="907"/>
                  </a:lnTo>
                  <a:lnTo>
                    <a:pt x="7" y="911"/>
                  </a:lnTo>
                  <a:lnTo>
                    <a:pt x="53" y="874"/>
                  </a:lnTo>
                  <a:lnTo>
                    <a:pt x="76" y="838"/>
                  </a:lnTo>
                  <a:lnTo>
                    <a:pt x="94" y="773"/>
                  </a:lnTo>
                  <a:lnTo>
                    <a:pt x="147" y="733"/>
                  </a:lnTo>
                  <a:lnTo>
                    <a:pt x="196" y="638"/>
                  </a:lnTo>
                  <a:lnTo>
                    <a:pt x="265" y="572"/>
                  </a:lnTo>
                  <a:lnTo>
                    <a:pt x="254" y="441"/>
                  </a:lnTo>
                  <a:lnTo>
                    <a:pt x="448" y="411"/>
                  </a:lnTo>
                  <a:lnTo>
                    <a:pt x="508" y="353"/>
                  </a:lnTo>
                  <a:lnTo>
                    <a:pt x="605" y="313"/>
                  </a:lnTo>
                  <a:lnTo>
                    <a:pt x="716" y="309"/>
                  </a:lnTo>
                  <a:lnTo>
                    <a:pt x="793" y="234"/>
                  </a:lnTo>
                  <a:lnTo>
                    <a:pt x="1336" y="123"/>
                  </a:lnTo>
                  <a:lnTo>
                    <a:pt x="1391" y="166"/>
                  </a:lnTo>
                  <a:lnTo>
                    <a:pt x="1588" y="221"/>
                  </a:lnTo>
                  <a:lnTo>
                    <a:pt x="1696" y="190"/>
                  </a:lnTo>
                  <a:lnTo>
                    <a:pt x="1765" y="119"/>
                  </a:lnTo>
                  <a:lnTo>
                    <a:pt x="1767" y="10"/>
                  </a:lnTo>
                  <a:lnTo>
                    <a:pt x="1829" y="0"/>
                  </a:lnTo>
                  <a:lnTo>
                    <a:pt x="1845" y="31"/>
                  </a:lnTo>
                  <a:lnTo>
                    <a:pt x="1898" y="69"/>
                  </a:lnTo>
                  <a:lnTo>
                    <a:pt x="1896" y="131"/>
                  </a:lnTo>
                  <a:lnTo>
                    <a:pt x="1842" y="182"/>
                  </a:lnTo>
                  <a:lnTo>
                    <a:pt x="1825" y="348"/>
                  </a:lnTo>
                  <a:lnTo>
                    <a:pt x="1773" y="43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19" name="Freeform 212"/>
            <p:cNvSpPr>
              <a:spLocks/>
            </p:cNvSpPr>
            <p:nvPr/>
          </p:nvSpPr>
          <p:spPr bwMode="auto">
            <a:xfrm>
              <a:off x="6832841" y="2793892"/>
              <a:ext cx="984509" cy="918718"/>
            </a:xfrm>
            <a:custGeom>
              <a:avLst/>
              <a:gdLst>
                <a:gd name="T0" fmla="*/ 0 w 2420"/>
                <a:gd name="T1" fmla="*/ 0 h 2261"/>
                <a:gd name="T2" fmla="*/ 0 w 2420"/>
                <a:gd name="T3" fmla="*/ 0 h 2261"/>
                <a:gd name="T4" fmla="*/ 0 w 2420"/>
                <a:gd name="T5" fmla="*/ 0 h 2261"/>
                <a:gd name="T6" fmla="*/ 0 w 2420"/>
                <a:gd name="T7" fmla="*/ 0 h 2261"/>
                <a:gd name="T8" fmla="*/ 0 w 2420"/>
                <a:gd name="T9" fmla="*/ 0 h 2261"/>
                <a:gd name="T10" fmla="*/ 0 w 2420"/>
                <a:gd name="T11" fmla="*/ 0 h 2261"/>
                <a:gd name="T12" fmla="*/ 0 w 2420"/>
                <a:gd name="T13" fmla="*/ 0 h 2261"/>
                <a:gd name="T14" fmla="*/ 0 w 2420"/>
                <a:gd name="T15" fmla="*/ 0 h 2261"/>
                <a:gd name="T16" fmla="*/ 0 w 2420"/>
                <a:gd name="T17" fmla="*/ 0 h 2261"/>
                <a:gd name="T18" fmla="*/ 0 w 2420"/>
                <a:gd name="T19" fmla="*/ 0 h 2261"/>
                <a:gd name="T20" fmla="*/ 0 w 2420"/>
                <a:gd name="T21" fmla="*/ 0 h 2261"/>
                <a:gd name="T22" fmla="*/ 0 w 2420"/>
                <a:gd name="T23" fmla="*/ 0 h 2261"/>
                <a:gd name="T24" fmla="*/ 0 w 2420"/>
                <a:gd name="T25" fmla="*/ 0 h 2261"/>
                <a:gd name="T26" fmla="*/ 0 w 2420"/>
                <a:gd name="T27" fmla="*/ 0 h 2261"/>
                <a:gd name="T28" fmla="*/ 0 w 2420"/>
                <a:gd name="T29" fmla="*/ 0 h 2261"/>
                <a:gd name="T30" fmla="*/ 0 w 2420"/>
                <a:gd name="T31" fmla="*/ 0 h 2261"/>
                <a:gd name="T32" fmla="*/ 0 w 2420"/>
                <a:gd name="T33" fmla="*/ 0 h 2261"/>
                <a:gd name="T34" fmla="*/ 0 w 2420"/>
                <a:gd name="T35" fmla="*/ 0 h 2261"/>
                <a:gd name="T36" fmla="*/ 0 w 2420"/>
                <a:gd name="T37" fmla="*/ 0 h 2261"/>
                <a:gd name="T38" fmla="*/ 0 w 2420"/>
                <a:gd name="T39" fmla="*/ 0 h 2261"/>
                <a:gd name="T40" fmla="*/ 0 w 2420"/>
                <a:gd name="T41" fmla="*/ 0 h 2261"/>
                <a:gd name="T42" fmla="*/ 0 w 2420"/>
                <a:gd name="T43" fmla="*/ 0 h 2261"/>
                <a:gd name="T44" fmla="*/ 0 w 2420"/>
                <a:gd name="T45" fmla="*/ 0 h 2261"/>
                <a:gd name="T46" fmla="*/ 0 w 2420"/>
                <a:gd name="T47" fmla="*/ 0 h 2261"/>
                <a:gd name="T48" fmla="*/ 0 w 2420"/>
                <a:gd name="T49" fmla="*/ 0 h 2261"/>
                <a:gd name="T50" fmla="*/ 0 w 2420"/>
                <a:gd name="T51" fmla="*/ 0 h 2261"/>
                <a:gd name="T52" fmla="*/ 0 w 2420"/>
                <a:gd name="T53" fmla="*/ 0 h 2261"/>
                <a:gd name="T54" fmla="*/ 0 w 2420"/>
                <a:gd name="T55" fmla="*/ 0 h 2261"/>
                <a:gd name="T56" fmla="*/ 0 w 2420"/>
                <a:gd name="T57" fmla="*/ 0 h 2261"/>
                <a:gd name="T58" fmla="*/ 0 w 2420"/>
                <a:gd name="T59" fmla="*/ 0 h 2261"/>
                <a:gd name="T60" fmla="*/ 0 w 2420"/>
                <a:gd name="T61" fmla="*/ 0 h 2261"/>
                <a:gd name="T62" fmla="*/ 0 w 2420"/>
                <a:gd name="T63" fmla="*/ 0 h 2261"/>
                <a:gd name="T64" fmla="*/ 0 w 2420"/>
                <a:gd name="T65" fmla="*/ 0 h 2261"/>
                <a:gd name="T66" fmla="*/ 0 w 2420"/>
                <a:gd name="T67" fmla="*/ 0 h 2261"/>
                <a:gd name="T68" fmla="*/ 0 w 2420"/>
                <a:gd name="T69" fmla="*/ 0 h 2261"/>
                <a:gd name="T70" fmla="*/ 0 w 2420"/>
                <a:gd name="T71" fmla="*/ 0 h 2261"/>
                <a:gd name="T72" fmla="*/ 0 w 2420"/>
                <a:gd name="T73" fmla="*/ 0 h 2261"/>
                <a:gd name="T74" fmla="*/ 0 w 2420"/>
                <a:gd name="T75" fmla="*/ 0 h 2261"/>
                <a:gd name="T76" fmla="*/ 0 w 2420"/>
                <a:gd name="T77" fmla="*/ 0 h 2261"/>
                <a:gd name="T78" fmla="*/ 0 w 2420"/>
                <a:gd name="T79" fmla="*/ 0 h 2261"/>
                <a:gd name="T80" fmla="*/ 0 w 2420"/>
                <a:gd name="T81" fmla="*/ 0 h 2261"/>
                <a:gd name="T82" fmla="*/ 0 w 2420"/>
                <a:gd name="T83" fmla="*/ 0 h 2261"/>
                <a:gd name="T84" fmla="*/ 0 w 2420"/>
                <a:gd name="T85" fmla="*/ 0 h 22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20"/>
                <a:gd name="T130" fmla="*/ 0 h 2261"/>
                <a:gd name="T131" fmla="*/ 2420 w 2420"/>
                <a:gd name="T132" fmla="*/ 2261 h 22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20" h="2261">
                  <a:moveTo>
                    <a:pt x="2258" y="1271"/>
                  </a:moveTo>
                  <a:lnTo>
                    <a:pt x="2342" y="1479"/>
                  </a:lnTo>
                  <a:lnTo>
                    <a:pt x="2391" y="1529"/>
                  </a:lnTo>
                  <a:lnTo>
                    <a:pt x="2388" y="1580"/>
                  </a:lnTo>
                  <a:lnTo>
                    <a:pt x="2420" y="1648"/>
                  </a:lnTo>
                  <a:lnTo>
                    <a:pt x="2401" y="1712"/>
                  </a:lnTo>
                  <a:lnTo>
                    <a:pt x="2235" y="1850"/>
                  </a:lnTo>
                  <a:lnTo>
                    <a:pt x="2094" y="2123"/>
                  </a:lnTo>
                  <a:lnTo>
                    <a:pt x="2087" y="2190"/>
                  </a:lnTo>
                  <a:lnTo>
                    <a:pt x="2101" y="2250"/>
                  </a:lnTo>
                  <a:lnTo>
                    <a:pt x="2053" y="2261"/>
                  </a:lnTo>
                  <a:lnTo>
                    <a:pt x="1983" y="2242"/>
                  </a:lnTo>
                  <a:lnTo>
                    <a:pt x="1842" y="2134"/>
                  </a:lnTo>
                  <a:lnTo>
                    <a:pt x="1719" y="2138"/>
                  </a:lnTo>
                  <a:lnTo>
                    <a:pt x="1638" y="2188"/>
                  </a:lnTo>
                  <a:lnTo>
                    <a:pt x="1589" y="2154"/>
                  </a:lnTo>
                  <a:lnTo>
                    <a:pt x="1499" y="2154"/>
                  </a:lnTo>
                  <a:lnTo>
                    <a:pt x="1456" y="2199"/>
                  </a:lnTo>
                  <a:lnTo>
                    <a:pt x="1410" y="2222"/>
                  </a:lnTo>
                  <a:lnTo>
                    <a:pt x="1374" y="2211"/>
                  </a:lnTo>
                  <a:lnTo>
                    <a:pt x="1258" y="2091"/>
                  </a:lnTo>
                  <a:lnTo>
                    <a:pt x="1158" y="2124"/>
                  </a:lnTo>
                  <a:lnTo>
                    <a:pt x="1018" y="2057"/>
                  </a:lnTo>
                  <a:lnTo>
                    <a:pt x="931" y="1923"/>
                  </a:lnTo>
                  <a:lnTo>
                    <a:pt x="889" y="1900"/>
                  </a:lnTo>
                  <a:lnTo>
                    <a:pt x="867" y="1907"/>
                  </a:lnTo>
                  <a:lnTo>
                    <a:pt x="825" y="1874"/>
                  </a:lnTo>
                  <a:lnTo>
                    <a:pt x="825" y="1800"/>
                  </a:lnTo>
                  <a:lnTo>
                    <a:pt x="624" y="1740"/>
                  </a:lnTo>
                  <a:lnTo>
                    <a:pt x="618" y="1768"/>
                  </a:lnTo>
                  <a:lnTo>
                    <a:pt x="630" y="1796"/>
                  </a:lnTo>
                  <a:lnTo>
                    <a:pt x="575" y="1829"/>
                  </a:lnTo>
                  <a:lnTo>
                    <a:pt x="543" y="1814"/>
                  </a:lnTo>
                  <a:lnTo>
                    <a:pt x="458" y="1726"/>
                  </a:lnTo>
                  <a:lnTo>
                    <a:pt x="482" y="1678"/>
                  </a:lnTo>
                  <a:lnTo>
                    <a:pt x="484" y="1664"/>
                  </a:lnTo>
                  <a:lnTo>
                    <a:pt x="478" y="1656"/>
                  </a:lnTo>
                  <a:lnTo>
                    <a:pt x="426" y="1645"/>
                  </a:lnTo>
                  <a:lnTo>
                    <a:pt x="387" y="1587"/>
                  </a:lnTo>
                  <a:lnTo>
                    <a:pt x="256" y="1564"/>
                  </a:lnTo>
                  <a:lnTo>
                    <a:pt x="234" y="1518"/>
                  </a:lnTo>
                  <a:lnTo>
                    <a:pt x="189" y="1490"/>
                  </a:lnTo>
                  <a:lnTo>
                    <a:pt x="118" y="1557"/>
                  </a:lnTo>
                  <a:lnTo>
                    <a:pt x="89" y="1536"/>
                  </a:lnTo>
                  <a:lnTo>
                    <a:pt x="143" y="1329"/>
                  </a:lnTo>
                  <a:lnTo>
                    <a:pt x="139" y="1309"/>
                  </a:lnTo>
                  <a:lnTo>
                    <a:pt x="74" y="1220"/>
                  </a:lnTo>
                  <a:lnTo>
                    <a:pt x="59" y="806"/>
                  </a:lnTo>
                  <a:lnTo>
                    <a:pt x="0" y="754"/>
                  </a:lnTo>
                  <a:lnTo>
                    <a:pt x="1" y="723"/>
                  </a:lnTo>
                  <a:lnTo>
                    <a:pt x="53" y="620"/>
                  </a:lnTo>
                  <a:lnTo>
                    <a:pt x="69" y="494"/>
                  </a:lnTo>
                  <a:lnTo>
                    <a:pt x="34" y="381"/>
                  </a:lnTo>
                  <a:lnTo>
                    <a:pt x="100" y="419"/>
                  </a:lnTo>
                  <a:lnTo>
                    <a:pt x="116" y="395"/>
                  </a:lnTo>
                  <a:lnTo>
                    <a:pt x="118" y="361"/>
                  </a:lnTo>
                  <a:lnTo>
                    <a:pt x="63" y="339"/>
                  </a:lnTo>
                  <a:lnTo>
                    <a:pt x="101" y="316"/>
                  </a:lnTo>
                  <a:lnTo>
                    <a:pt x="143" y="304"/>
                  </a:lnTo>
                  <a:lnTo>
                    <a:pt x="147" y="319"/>
                  </a:lnTo>
                  <a:lnTo>
                    <a:pt x="200" y="272"/>
                  </a:lnTo>
                  <a:lnTo>
                    <a:pt x="472" y="202"/>
                  </a:lnTo>
                  <a:lnTo>
                    <a:pt x="616" y="93"/>
                  </a:lnTo>
                  <a:lnTo>
                    <a:pt x="1011" y="0"/>
                  </a:lnTo>
                  <a:lnTo>
                    <a:pt x="1092" y="31"/>
                  </a:lnTo>
                  <a:lnTo>
                    <a:pt x="1122" y="64"/>
                  </a:lnTo>
                  <a:lnTo>
                    <a:pt x="1116" y="91"/>
                  </a:lnTo>
                  <a:lnTo>
                    <a:pt x="1042" y="42"/>
                  </a:lnTo>
                  <a:lnTo>
                    <a:pt x="1097" y="208"/>
                  </a:lnTo>
                  <a:lnTo>
                    <a:pt x="1125" y="221"/>
                  </a:lnTo>
                  <a:lnTo>
                    <a:pt x="1130" y="206"/>
                  </a:lnTo>
                  <a:lnTo>
                    <a:pt x="1148" y="191"/>
                  </a:lnTo>
                  <a:lnTo>
                    <a:pt x="1166" y="205"/>
                  </a:lnTo>
                  <a:lnTo>
                    <a:pt x="1268" y="178"/>
                  </a:lnTo>
                  <a:lnTo>
                    <a:pt x="1308" y="154"/>
                  </a:lnTo>
                  <a:lnTo>
                    <a:pt x="1637" y="219"/>
                  </a:lnTo>
                  <a:lnTo>
                    <a:pt x="2051" y="169"/>
                  </a:lnTo>
                  <a:lnTo>
                    <a:pt x="2194" y="249"/>
                  </a:lnTo>
                  <a:lnTo>
                    <a:pt x="2325" y="739"/>
                  </a:lnTo>
                  <a:lnTo>
                    <a:pt x="2324" y="815"/>
                  </a:lnTo>
                  <a:lnTo>
                    <a:pt x="2278" y="890"/>
                  </a:lnTo>
                  <a:lnTo>
                    <a:pt x="2213" y="930"/>
                  </a:lnTo>
                  <a:lnTo>
                    <a:pt x="2170" y="987"/>
                  </a:lnTo>
                  <a:lnTo>
                    <a:pt x="2196" y="1034"/>
                  </a:lnTo>
                  <a:lnTo>
                    <a:pt x="2266" y="1090"/>
                  </a:lnTo>
                  <a:lnTo>
                    <a:pt x="2258" y="127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0" name="Freeform 214"/>
            <p:cNvSpPr>
              <a:spLocks/>
            </p:cNvSpPr>
            <p:nvPr/>
          </p:nvSpPr>
          <p:spPr bwMode="auto">
            <a:xfrm>
              <a:off x="7489880" y="2263218"/>
              <a:ext cx="659138" cy="371263"/>
            </a:xfrm>
            <a:custGeom>
              <a:avLst/>
              <a:gdLst>
                <a:gd name="T0" fmla="*/ 0 w 1625"/>
                <a:gd name="T1" fmla="*/ 0 h 912"/>
                <a:gd name="T2" fmla="*/ 0 w 1625"/>
                <a:gd name="T3" fmla="*/ 0 h 912"/>
                <a:gd name="T4" fmla="*/ 0 w 1625"/>
                <a:gd name="T5" fmla="*/ 0 h 912"/>
                <a:gd name="T6" fmla="*/ 0 w 1625"/>
                <a:gd name="T7" fmla="*/ 0 h 912"/>
                <a:gd name="T8" fmla="*/ 0 w 1625"/>
                <a:gd name="T9" fmla="*/ 0 h 912"/>
                <a:gd name="T10" fmla="*/ 0 w 1625"/>
                <a:gd name="T11" fmla="*/ 0 h 912"/>
                <a:gd name="T12" fmla="*/ 0 w 1625"/>
                <a:gd name="T13" fmla="*/ 0 h 912"/>
                <a:gd name="T14" fmla="*/ 0 w 1625"/>
                <a:gd name="T15" fmla="*/ 0 h 912"/>
                <a:gd name="T16" fmla="*/ 0 w 1625"/>
                <a:gd name="T17" fmla="*/ 0 h 912"/>
                <a:gd name="T18" fmla="*/ 0 w 1625"/>
                <a:gd name="T19" fmla="*/ 0 h 912"/>
                <a:gd name="T20" fmla="*/ 0 w 1625"/>
                <a:gd name="T21" fmla="*/ 0 h 912"/>
                <a:gd name="T22" fmla="*/ 0 w 1625"/>
                <a:gd name="T23" fmla="*/ 0 h 912"/>
                <a:gd name="T24" fmla="*/ 0 w 1625"/>
                <a:gd name="T25" fmla="*/ 0 h 912"/>
                <a:gd name="T26" fmla="*/ 0 w 1625"/>
                <a:gd name="T27" fmla="*/ 0 h 912"/>
                <a:gd name="T28" fmla="*/ 0 w 1625"/>
                <a:gd name="T29" fmla="*/ 0 h 912"/>
                <a:gd name="T30" fmla="*/ 0 w 1625"/>
                <a:gd name="T31" fmla="*/ 0 h 912"/>
                <a:gd name="T32" fmla="*/ 0 w 1625"/>
                <a:gd name="T33" fmla="*/ 0 h 912"/>
                <a:gd name="T34" fmla="*/ 0 w 1625"/>
                <a:gd name="T35" fmla="*/ 0 h 912"/>
                <a:gd name="T36" fmla="*/ 0 w 1625"/>
                <a:gd name="T37" fmla="*/ 0 h 912"/>
                <a:gd name="T38" fmla="*/ 0 w 1625"/>
                <a:gd name="T39" fmla="*/ 0 h 912"/>
                <a:gd name="T40" fmla="*/ 0 w 1625"/>
                <a:gd name="T41" fmla="*/ 0 h 912"/>
                <a:gd name="T42" fmla="*/ 0 w 1625"/>
                <a:gd name="T43" fmla="*/ 0 h 912"/>
                <a:gd name="T44" fmla="*/ 0 w 1625"/>
                <a:gd name="T45" fmla="*/ 0 h 912"/>
                <a:gd name="T46" fmla="*/ 0 w 1625"/>
                <a:gd name="T47" fmla="*/ 0 h 912"/>
                <a:gd name="T48" fmla="*/ 0 w 1625"/>
                <a:gd name="T49" fmla="*/ 0 h 912"/>
                <a:gd name="T50" fmla="*/ 0 w 1625"/>
                <a:gd name="T51" fmla="*/ 0 h 912"/>
                <a:gd name="T52" fmla="*/ 0 w 1625"/>
                <a:gd name="T53" fmla="*/ 0 h 912"/>
                <a:gd name="T54" fmla="*/ 0 w 1625"/>
                <a:gd name="T55" fmla="*/ 0 h 912"/>
                <a:gd name="T56" fmla="*/ 0 w 1625"/>
                <a:gd name="T57" fmla="*/ 0 h 912"/>
                <a:gd name="T58" fmla="*/ 0 w 1625"/>
                <a:gd name="T59" fmla="*/ 0 h 912"/>
                <a:gd name="T60" fmla="*/ 0 w 1625"/>
                <a:gd name="T61" fmla="*/ 0 h 912"/>
                <a:gd name="T62" fmla="*/ 0 w 1625"/>
                <a:gd name="T63" fmla="*/ 0 h 912"/>
                <a:gd name="T64" fmla="*/ 0 w 1625"/>
                <a:gd name="T65" fmla="*/ 0 h 912"/>
                <a:gd name="T66" fmla="*/ 0 w 1625"/>
                <a:gd name="T67" fmla="*/ 0 h 912"/>
                <a:gd name="T68" fmla="*/ 0 w 1625"/>
                <a:gd name="T69" fmla="*/ 0 h 912"/>
                <a:gd name="T70" fmla="*/ 0 w 1625"/>
                <a:gd name="T71" fmla="*/ 0 h 912"/>
                <a:gd name="T72" fmla="*/ 0 w 1625"/>
                <a:gd name="T73" fmla="*/ 0 h 9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25"/>
                <a:gd name="T112" fmla="*/ 0 h 912"/>
                <a:gd name="T113" fmla="*/ 1625 w 1625"/>
                <a:gd name="T114" fmla="*/ 912 h 9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25" h="912">
                  <a:moveTo>
                    <a:pt x="12" y="804"/>
                  </a:moveTo>
                  <a:lnTo>
                    <a:pt x="0" y="760"/>
                  </a:lnTo>
                  <a:lnTo>
                    <a:pt x="16" y="558"/>
                  </a:lnTo>
                  <a:lnTo>
                    <a:pt x="74" y="448"/>
                  </a:lnTo>
                  <a:lnTo>
                    <a:pt x="96" y="336"/>
                  </a:lnTo>
                  <a:lnTo>
                    <a:pt x="157" y="233"/>
                  </a:lnTo>
                  <a:lnTo>
                    <a:pt x="192" y="205"/>
                  </a:lnTo>
                  <a:lnTo>
                    <a:pt x="323" y="157"/>
                  </a:lnTo>
                  <a:lnTo>
                    <a:pt x="434" y="288"/>
                  </a:lnTo>
                  <a:lnTo>
                    <a:pt x="459" y="357"/>
                  </a:lnTo>
                  <a:lnTo>
                    <a:pt x="463" y="314"/>
                  </a:lnTo>
                  <a:lnTo>
                    <a:pt x="485" y="377"/>
                  </a:lnTo>
                  <a:lnTo>
                    <a:pt x="511" y="408"/>
                  </a:lnTo>
                  <a:lnTo>
                    <a:pt x="577" y="440"/>
                  </a:lnTo>
                  <a:lnTo>
                    <a:pt x="598" y="439"/>
                  </a:lnTo>
                  <a:lnTo>
                    <a:pt x="658" y="408"/>
                  </a:lnTo>
                  <a:lnTo>
                    <a:pt x="662" y="431"/>
                  </a:lnTo>
                  <a:lnTo>
                    <a:pt x="680" y="453"/>
                  </a:lnTo>
                  <a:lnTo>
                    <a:pt x="684" y="394"/>
                  </a:lnTo>
                  <a:lnTo>
                    <a:pt x="718" y="338"/>
                  </a:lnTo>
                  <a:lnTo>
                    <a:pt x="706" y="92"/>
                  </a:lnTo>
                  <a:lnTo>
                    <a:pt x="728" y="69"/>
                  </a:lnTo>
                  <a:lnTo>
                    <a:pt x="758" y="62"/>
                  </a:lnTo>
                  <a:lnTo>
                    <a:pt x="805" y="21"/>
                  </a:lnTo>
                  <a:lnTo>
                    <a:pt x="903" y="0"/>
                  </a:lnTo>
                  <a:lnTo>
                    <a:pt x="968" y="9"/>
                  </a:lnTo>
                  <a:lnTo>
                    <a:pt x="1019" y="44"/>
                  </a:lnTo>
                  <a:lnTo>
                    <a:pt x="1080" y="62"/>
                  </a:lnTo>
                  <a:lnTo>
                    <a:pt x="1103" y="95"/>
                  </a:lnTo>
                  <a:lnTo>
                    <a:pt x="1194" y="162"/>
                  </a:lnTo>
                  <a:lnTo>
                    <a:pt x="1225" y="161"/>
                  </a:lnTo>
                  <a:lnTo>
                    <a:pt x="1253" y="145"/>
                  </a:lnTo>
                  <a:lnTo>
                    <a:pt x="1313" y="131"/>
                  </a:lnTo>
                  <a:lnTo>
                    <a:pt x="1380" y="143"/>
                  </a:lnTo>
                  <a:lnTo>
                    <a:pt x="1423" y="192"/>
                  </a:lnTo>
                  <a:lnTo>
                    <a:pt x="1452" y="207"/>
                  </a:lnTo>
                  <a:lnTo>
                    <a:pt x="1472" y="233"/>
                  </a:lnTo>
                  <a:lnTo>
                    <a:pt x="1480" y="262"/>
                  </a:lnTo>
                  <a:lnTo>
                    <a:pt x="1460" y="388"/>
                  </a:lnTo>
                  <a:lnTo>
                    <a:pt x="1493" y="395"/>
                  </a:lnTo>
                  <a:lnTo>
                    <a:pt x="1522" y="410"/>
                  </a:lnTo>
                  <a:lnTo>
                    <a:pt x="1524" y="441"/>
                  </a:lnTo>
                  <a:lnTo>
                    <a:pt x="1615" y="579"/>
                  </a:lnTo>
                  <a:lnTo>
                    <a:pt x="1625" y="676"/>
                  </a:lnTo>
                  <a:lnTo>
                    <a:pt x="1583" y="682"/>
                  </a:lnTo>
                  <a:lnTo>
                    <a:pt x="1516" y="755"/>
                  </a:lnTo>
                  <a:lnTo>
                    <a:pt x="1511" y="789"/>
                  </a:lnTo>
                  <a:lnTo>
                    <a:pt x="1475" y="846"/>
                  </a:lnTo>
                  <a:lnTo>
                    <a:pt x="1445" y="855"/>
                  </a:lnTo>
                  <a:lnTo>
                    <a:pt x="1379" y="836"/>
                  </a:lnTo>
                  <a:lnTo>
                    <a:pt x="1355" y="857"/>
                  </a:lnTo>
                  <a:lnTo>
                    <a:pt x="1350" y="891"/>
                  </a:lnTo>
                  <a:lnTo>
                    <a:pt x="1325" y="912"/>
                  </a:lnTo>
                  <a:lnTo>
                    <a:pt x="1231" y="883"/>
                  </a:lnTo>
                  <a:lnTo>
                    <a:pt x="1147" y="798"/>
                  </a:lnTo>
                  <a:lnTo>
                    <a:pt x="1037" y="733"/>
                  </a:lnTo>
                  <a:lnTo>
                    <a:pt x="972" y="740"/>
                  </a:lnTo>
                  <a:lnTo>
                    <a:pt x="941" y="732"/>
                  </a:lnTo>
                  <a:lnTo>
                    <a:pt x="895" y="644"/>
                  </a:lnTo>
                  <a:lnTo>
                    <a:pt x="870" y="623"/>
                  </a:lnTo>
                  <a:lnTo>
                    <a:pt x="840" y="636"/>
                  </a:lnTo>
                  <a:lnTo>
                    <a:pt x="797" y="686"/>
                  </a:lnTo>
                  <a:lnTo>
                    <a:pt x="736" y="704"/>
                  </a:lnTo>
                  <a:lnTo>
                    <a:pt x="611" y="664"/>
                  </a:lnTo>
                  <a:lnTo>
                    <a:pt x="514" y="661"/>
                  </a:lnTo>
                  <a:lnTo>
                    <a:pt x="484" y="672"/>
                  </a:lnTo>
                  <a:lnTo>
                    <a:pt x="454" y="664"/>
                  </a:lnTo>
                  <a:lnTo>
                    <a:pt x="425" y="679"/>
                  </a:lnTo>
                  <a:lnTo>
                    <a:pt x="391" y="680"/>
                  </a:lnTo>
                  <a:lnTo>
                    <a:pt x="362" y="665"/>
                  </a:lnTo>
                  <a:lnTo>
                    <a:pt x="265" y="668"/>
                  </a:lnTo>
                  <a:lnTo>
                    <a:pt x="116" y="736"/>
                  </a:lnTo>
                  <a:lnTo>
                    <a:pt x="82" y="792"/>
                  </a:lnTo>
                  <a:lnTo>
                    <a:pt x="54" y="811"/>
                  </a:lnTo>
                  <a:lnTo>
                    <a:pt x="12" y="804"/>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1" name="Freeform 216"/>
            <p:cNvSpPr>
              <a:spLocks/>
            </p:cNvSpPr>
            <p:nvPr/>
          </p:nvSpPr>
          <p:spPr bwMode="auto">
            <a:xfrm>
              <a:off x="6908411" y="2712089"/>
              <a:ext cx="35686" cy="44048"/>
            </a:xfrm>
            <a:custGeom>
              <a:avLst/>
              <a:gdLst>
                <a:gd name="T0" fmla="*/ 0 w 87"/>
                <a:gd name="T1" fmla="*/ 0 h 111"/>
                <a:gd name="T2" fmla="*/ 0 w 87"/>
                <a:gd name="T3" fmla="*/ 0 h 111"/>
                <a:gd name="T4" fmla="*/ 0 w 87"/>
                <a:gd name="T5" fmla="*/ 0 h 111"/>
                <a:gd name="T6" fmla="*/ 0 w 87"/>
                <a:gd name="T7" fmla="*/ 0 h 111"/>
                <a:gd name="T8" fmla="*/ 0 w 87"/>
                <a:gd name="T9" fmla="*/ 0 h 111"/>
                <a:gd name="T10" fmla="*/ 0 w 87"/>
                <a:gd name="T11" fmla="*/ 0 h 111"/>
                <a:gd name="T12" fmla="*/ 0 w 87"/>
                <a:gd name="T13" fmla="*/ 0 h 111"/>
                <a:gd name="T14" fmla="*/ 0 w 87"/>
                <a:gd name="T15" fmla="*/ 0 h 111"/>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111"/>
                <a:gd name="T26" fmla="*/ 87 w 87"/>
                <a:gd name="T27" fmla="*/ 111 h 1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111">
                  <a:moveTo>
                    <a:pt x="87" y="111"/>
                  </a:moveTo>
                  <a:lnTo>
                    <a:pt x="79" y="48"/>
                  </a:lnTo>
                  <a:lnTo>
                    <a:pt x="47" y="16"/>
                  </a:lnTo>
                  <a:lnTo>
                    <a:pt x="18" y="0"/>
                  </a:lnTo>
                  <a:lnTo>
                    <a:pt x="0" y="70"/>
                  </a:lnTo>
                  <a:lnTo>
                    <a:pt x="18" y="93"/>
                  </a:lnTo>
                  <a:lnTo>
                    <a:pt x="45" y="106"/>
                  </a:lnTo>
                  <a:lnTo>
                    <a:pt x="87" y="111"/>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2" name="Freeform 217"/>
            <p:cNvSpPr>
              <a:spLocks/>
            </p:cNvSpPr>
            <p:nvPr/>
          </p:nvSpPr>
          <p:spPr bwMode="auto">
            <a:xfrm>
              <a:off x="6908411" y="2712089"/>
              <a:ext cx="35686" cy="44048"/>
            </a:xfrm>
            <a:custGeom>
              <a:avLst/>
              <a:gdLst>
                <a:gd name="T0" fmla="*/ 0 w 87"/>
                <a:gd name="T1" fmla="*/ 0 h 111"/>
                <a:gd name="T2" fmla="*/ 0 w 87"/>
                <a:gd name="T3" fmla="*/ 0 h 111"/>
                <a:gd name="T4" fmla="*/ 0 w 87"/>
                <a:gd name="T5" fmla="*/ 0 h 111"/>
                <a:gd name="T6" fmla="*/ 0 w 87"/>
                <a:gd name="T7" fmla="*/ 0 h 111"/>
                <a:gd name="T8" fmla="*/ 0 w 87"/>
                <a:gd name="T9" fmla="*/ 0 h 111"/>
                <a:gd name="T10" fmla="*/ 0 w 87"/>
                <a:gd name="T11" fmla="*/ 0 h 111"/>
                <a:gd name="T12" fmla="*/ 0 w 87"/>
                <a:gd name="T13" fmla="*/ 0 h 111"/>
                <a:gd name="T14" fmla="*/ 0 w 87"/>
                <a:gd name="T15" fmla="*/ 0 h 111"/>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111"/>
                <a:gd name="T26" fmla="*/ 87 w 87"/>
                <a:gd name="T27" fmla="*/ 111 h 1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111">
                  <a:moveTo>
                    <a:pt x="87" y="111"/>
                  </a:moveTo>
                  <a:lnTo>
                    <a:pt x="79" y="48"/>
                  </a:lnTo>
                  <a:lnTo>
                    <a:pt x="47" y="16"/>
                  </a:lnTo>
                  <a:lnTo>
                    <a:pt x="18" y="0"/>
                  </a:lnTo>
                  <a:lnTo>
                    <a:pt x="0" y="70"/>
                  </a:lnTo>
                  <a:lnTo>
                    <a:pt x="18" y="93"/>
                  </a:lnTo>
                  <a:lnTo>
                    <a:pt x="45" y="106"/>
                  </a:lnTo>
                  <a:lnTo>
                    <a:pt x="87" y="111"/>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3" name="Freeform 218"/>
            <p:cNvSpPr>
              <a:spLocks/>
            </p:cNvSpPr>
            <p:nvPr/>
          </p:nvSpPr>
          <p:spPr bwMode="auto">
            <a:xfrm>
              <a:off x="6648114" y="2739357"/>
              <a:ext cx="31488" cy="60828"/>
            </a:xfrm>
            <a:custGeom>
              <a:avLst/>
              <a:gdLst>
                <a:gd name="T0" fmla="*/ 0 w 81"/>
                <a:gd name="T1" fmla="*/ 0 h 155"/>
                <a:gd name="T2" fmla="*/ 0 w 81"/>
                <a:gd name="T3" fmla="*/ 0 h 155"/>
                <a:gd name="T4" fmla="*/ 0 w 81"/>
                <a:gd name="T5" fmla="*/ 0 h 155"/>
                <a:gd name="T6" fmla="*/ 0 w 81"/>
                <a:gd name="T7" fmla="*/ 0 h 155"/>
                <a:gd name="T8" fmla="*/ 0 w 81"/>
                <a:gd name="T9" fmla="*/ 0 h 155"/>
                <a:gd name="T10" fmla="*/ 0 w 81"/>
                <a:gd name="T11" fmla="*/ 0 h 155"/>
                <a:gd name="T12" fmla="*/ 0 w 81"/>
                <a:gd name="T13" fmla="*/ 0 h 155"/>
                <a:gd name="T14" fmla="*/ 0 w 81"/>
                <a:gd name="T15" fmla="*/ 0 h 155"/>
                <a:gd name="T16" fmla="*/ 0 w 81"/>
                <a:gd name="T17" fmla="*/ 0 h 155"/>
                <a:gd name="T18" fmla="*/ 0 w 81"/>
                <a:gd name="T19" fmla="*/ 0 h 155"/>
                <a:gd name="T20" fmla="*/ 0 w 81"/>
                <a:gd name="T21" fmla="*/ 0 h 155"/>
                <a:gd name="T22" fmla="*/ 0 w 81"/>
                <a:gd name="T23" fmla="*/ 0 h 155"/>
                <a:gd name="T24" fmla="*/ 0 w 81"/>
                <a:gd name="T25" fmla="*/ 0 h 155"/>
                <a:gd name="T26" fmla="*/ 0 w 81"/>
                <a:gd name="T27" fmla="*/ 0 h 155"/>
                <a:gd name="T28" fmla="*/ 0 w 81"/>
                <a:gd name="T29" fmla="*/ 0 h 155"/>
                <a:gd name="T30" fmla="*/ 0 w 81"/>
                <a:gd name="T31" fmla="*/ 0 h 1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155"/>
                <a:gd name="T50" fmla="*/ 81 w 81"/>
                <a:gd name="T51" fmla="*/ 155 h 1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155">
                  <a:moveTo>
                    <a:pt x="18" y="2"/>
                  </a:moveTo>
                  <a:lnTo>
                    <a:pt x="28" y="0"/>
                  </a:lnTo>
                  <a:lnTo>
                    <a:pt x="43" y="9"/>
                  </a:lnTo>
                  <a:lnTo>
                    <a:pt x="48" y="26"/>
                  </a:lnTo>
                  <a:lnTo>
                    <a:pt x="81" y="47"/>
                  </a:lnTo>
                  <a:lnTo>
                    <a:pt x="81" y="71"/>
                  </a:lnTo>
                  <a:lnTo>
                    <a:pt x="55" y="87"/>
                  </a:lnTo>
                  <a:lnTo>
                    <a:pt x="40" y="155"/>
                  </a:lnTo>
                  <a:lnTo>
                    <a:pt x="25" y="140"/>
                  </a:lnTo>
                  <a:lnTo>
                    <a:pt x="33" y="85"/>
                  </a:lnTo>
                  <a:lnTo>
                    <a:pt x="21" y="72"/>
                  </a:lnTo>
                  <a:lnTo>
                    <a:pt x="18" y="45"/>
                  </a:lnTo>
                  <a:lnTo>
                    <a:pt x="10" y="38"/>
                  </a:lnTo>
                  <a:lnTo>
                    <a:pt x="0" y="6"/>
                  </a:lnTo>
                  <a:lnTo>
                    <a:pt x="1" y="0"/>
                  </a:lnTo>
                  <a:lnTo>
                    <a:pt x="18" y="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4" name="Freeform 220"/>
            <p:cNvSpPr>
              <a:spLocks/>
            </p:cNvSpPr>
            <p:nvPr/>
          </p:nvSpPr>
          <p:spPr bwMode="auto">
            <a:xfrm>
              <a:off x="6576742" y="2730967"/>
              <a:ext cx="71372" cy="54536"/>
            </a:xfrm>
            <a:custGeom>
              <a:avLst/>
              <a:gdLst>
                <a:gd name="T0" fmla="*/ 0 w 171"/>
                <a:gd name="T1" fmla="*/ 0 h 135"/>
                <a:gd name="T2" fmla="*/ 0 w 171"/>
                <a:gd name="T3" fmla="*/ 0 h 135"/>
                <a:gd name="T4" fmla="*/ 0 w 171"/>
                <a:gd name="T5" fmla="*/ 0 h 135"/>
                <a:gd name="T6" fmla="*/ 0 w 171"/>
                <a:gd name="T7" fmla="*/ 0 h 135"/>
                <a:gd name="T8" fmla="*/ 0 w 171"/>
                <a:gd name="T9" fmla="*/ 0 h 135"/>
                <a:gd name="T10" fmla="*/ 0 w 171"/>
                <a:gd name="T11" fmla="*/ 0 h 135"/>
                <a:gd name="T12" fmla="*/ 0 w 171"/>
                <a:gd name="T13" fmla="*/ 0 h 135"/>
                <a:gd name="T14" fmla="*/ 0 w 171"/>
                <a:gd name="T15" fmla="*/ 0 h 135"/>
                <a:gd name="T16" fmla="*/ 0 w 171"/>
                <a:gd name="T17" fmla="*/ 0 h 135"/>
                <a:gd name="T18" fmla="*/ 0 w 171"/>
                <a:gd name="T19" fmla="*/ 0 h 135"/>
                <a:gd name="T20" fmla="*/ 0 w 171"/>
                <a:gd name="T21" fmla="*/ 0 h 135"/>
                <a:gd name="T22" fmla="*/ 0 w 171"/>
                <a:gd name="T23" fmla="*/ 0 h 135"/>
                <a:gd name="T24" fmla="*/ 0 w 171"/>
                <a:gd name="T25" fmla="*/ 0 h 135"/>
                <a:gd name="T26" fmla="*/ 0 w 171"/>
                <a:gd name="T27" fmla="*/ 0 h 135"/>
                <a:gd name="T28" fmla="*/ 0 w 171"/>
                <a:gd name="T29" fmla="*/ 0 h 135"/>
                <a:gd name="T30" fmla="*/ 0 w 171"/>
                <a:gd name="T31" fmla="*/ 0 h 135"/>
                <a:gd name="T32" fmla="*/ 0 w 171"/>
                <a:gd name="T33" fmla="*/ 0 h 135"/>
                <a:gd name="T34" fmla="*/ 0 w 171"/>
                <a:gd name="T35" fmla="*/ 0 h 135"/>
                <a:gd name="T36" fmla="*/ 0 w 171"/>
                <a:gd name="T37" fmla="*/ 0 h 135"/>
                <a:gd name="T38" fmla="*/ 0 w 171"/>
                <a:gd name="T39" fmla="*/ 0 h 135"/>
                <a:gd name="T40" fmla="*/ 0 w 171"/>
                <a:gd name="T41" fmla="*/ 0 h 135"/>
                <a:gd name="T42" fmla="*/ 0 w 171"/>
                <a:gd name="T43" fmla="*/ 0 h 135"/>
                <a:gd name="T44" fmla="*/ 0 w 171"/>
                <a:gd name="T45" fmla="*/ 0 h 135"/>
                <a:gd name="T46" fmla="*/ 0 w 171"/>
                <a:gd name="T47" fmla="*/ 0 h 135"/>
                <a:gd name="T48" fmla="*/ 0 w 171"/>
                <a:gd name="T49" fmla="*/ 0 h 135"/>
                <a:gd name="T50" fmla="*/ 0 w 171"/>
                <a:gd name="T51" fmla="*/ 0 h 135"/>
                <a:gd name="T52" fmla="*/ 0 w 171"/>
                <a:gd name="T53" fmla="*/ 0 h 13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1"/>
                <a:gd name="T82" fmla="*/ 0 h 135"/>
                <a:gd name="T83" fmla="*/ 171 w 171"/>
                <a:gd name="T84" fmla="*/ 135 h 13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1" h="135">
                  <a:moveTo>
                    <a:pt x="64" y="0"/>
                  </a:moveTo>
                  <a:lnTo>
                    <a:pt x="69" y="5"/>
                  </a:lnTo>
                  <a:lnTo>
                    <a:pt x="73" y="25"/>
                  </a:lnTo>
                  <a:lnTo>
                    <a:pt x="89" y="29"/>
                  </a:lnTo>
                  <a:lnTo>
                    <a:pt x="103" y="49"/>
                  </a:lnTo>
                  <a:lnTo>
                    <a:pt x="116" y="55"/>
                  </a:lnTo>
                  <a:lnTo>
                    <a:pt x="117" y="44"/>
                  </a:lnTo>
                  <a:lnTo>
                    <a:pt x="131" y="46"/>
                  </a:lnTo>
                  <a:lnTo>
                    <a:pt x="132" y="36"/>
                  </a:lnTo>
                  <a:lnTo>
                    <a:pt x="148" y="38"/>
                  </a:lnTo>
                  <a:lnTo>
                    <a:pt x="149" y="51"/>
                  </a:lnTo>
                  <a:lnTo>
                    <a:pt x="163" y="73"/>
                  </a:lnTo>
                  <a:lnTo>
                    <a:pt x="171" y="128"/>
                  </a:lnTo>
                  <a:lnTo>
                    <a:pt x="154" y="133"/>
                  </a:lnTo>
                  <a:lnTo>
                    <a:pt x="117" y="120"/>
                  </a:lnTo>
                  <a:lnTo>
                    <a:pt x="104" y="133"/>
                  </a:lnTo>
                  <a:lnTo>
                    <a:pt x="85" y="135"/>
                  </a:lnTo>
                  <a:lnTo>
                    <a:pt x="46" y="94"/>
                  </a:lnTo>
                  <a:lnTo>
                    <a:pt x="6" y="72"/>
                  </a:lnTo>
                  <a:lnTo>
                    <a:pt x="0" y="50"/>
                  </a:lnTo>
                  <a:lnTo>
                    <a:pt x="13" y="54"/>
                  </a:lnTo>
                  <a:lnTo>
                    <a:pt x="29" y="35"/>
                  </a:lnTo>
                  <a:lnTo>
                    <a:pt x="15" y="34"/>
                  </a:lnTo>
                  <a:lnTo>
                    <a:pt x="8" y="12"/>
                  </a:lnTo>
                  <a:lnTo>
                    <a:pt x="27" y="3"/>
                  </a:lnTo>
                  <a:lnTo>
                    <a:pt x="56" y="6"/>
                  </a:lnTo>
                  <a:lnTo>
                    <a:pt x="64" y="0"/>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5" name="Freeform 222"/>
            <p:cNvSpPr>
              <a:spLocks/>
            </p:cNvSpPr>
            <p:nvPr/>
          </p:nvSpPr>
          <p:spPr bwMode="auto">
            <a:xfrm>
              <a:off x="6475982" y="2619797"/>
              <a:ext cx="98661" cy="92291"/>
            </a:xfrm>
            <a:custGeom>
              <a:avLst/>
              <a:gdLst>
                <a:gd name="T0" fmla="*/ 0 w 243"/>
                <a:gd name="T1" fmla="*/ 0 h 230"/>
                <a:gd name="T2" fmla="*/ 0 w 243"/>
                <a:gd name="T3" fmla="*/ 0 h 230"/>
                <a:gd name="T4" fmla="*/ 0 w 243"/>
                <a:gd name="T5" fmla="*/ 0 h 230"/>
                <a:gd name="T6" fmla="*/ 0 w 243"/>
                <a:gd name="T7" fmla="*/ 0 h 230"/>
                <a:gd name="T8" fmla="*/ 0 w 243"/>
                <a:gd name="T9" fmla="*/ 0 h 230"/>
                <a:gd name="T10" fmla="*/ 0 w 243"/>
                <a:gd name="T11" fmla="*/ 0 h 230"/>
                <a:gd name="T12" fmla="*/ 0 w 243"/>
                <a:gd name="T13" fmla="*/ 0 h 230"/>
                <a:gd name="T14" fmla="*/ 0 w 243"/>
                <a:gd name="T15" fmla="*/ 0 h 230"/>
                <a:gd name="T16" fmla="*/ 0 w 243"/>
                <a:gd name="T17" fmla="*/ 0 h 230"/>
                <a:gd name="T18" fmla="*/ 0 w 243"/>
                <a:gd name="T19" fmla="*/ 0 h 230"/>
                <a:gd name="T20" fmla="*/ 0 w 243"/>
                <a:gd name="T21" fmla="*/ 0 h 230"/>
                <a:gd name="T22" fmla="*/ 0 w 243"/>
                <a:gd name="T23" fmla="*/ 0 h 230"/>
                <a:gd name="T24" fmla="*/ 0 w 243"/>
                <a:gd name="T25" fmla="*/ 0 h 230"/>
                <a:gd name="T26" fmla="*/ 0 w 243"/>
                <a:gd name="T27" fmla="*/ 0 h 230"/>
                <a:gd name="T28" fmla="*/ 0 w 243"/>
                <a:gd name="T29" fmla="*/ 0 h 230"/>
                <a:gd name="T30" fmla="*/ 0 w 243"/>
                <a:gd name="T31" fmla="*/ 0 h 230"/>
                <a:gd name="T32" fmla="*/ 0 w 243"/>
                <a:gd name="T33" fmla="*/ 0 h 230"/>
                <a:gd name="T34" fmla="*/ 0 w 243"/>
                <a:gd name="T35" fmla="*/ 0 h 230"/>
                <a:gd name="T36" fmla="*/ 0 w 243"/>
                <a:gd name="T37" fmla="*/ 0 h 230"/>
                <a:gd name="T38" fmla="*/ 0 w 243"/>
                <a:gd name="T39" fmla="*/ 0 h 230"/>
                <a:gd name="T40" fmla="*/ 0 w 243"/>
                <a:gd name="T41" fmla="*/ 0 h 230"/>
                <a:gd name="T42" fmla="*/ 0 w 243"/>
                <a:gd name="T43" fmla="*/ 0 h 230"/>
                <a:gd name="T44" fmla="*/ 0 w 243"/>
                <a:gd name="T45" fmla="*/ 0 h 230"/>
                <a:gd name="T46" fmla="*/ 0 w 243"/>
                <a:gd name="T47" fmla="*/ 0 h 230"/>
                <a:gd name="T48" fmla="*/ 0 w 243"/>
                <a:gd name="T49" fmla="*/ 0 h 230"/>
                <a:gd name="T50" fmla="*/ 0 w 243"/>
                <a:gd name="T51" fmla="*/ 0 h 230"/>
                <a:gd name="T52" fmla="*/ 0 w 243"/>
                <a:gd name="T53" fmla="*/ 0 h 230"/>
                <a:gd name="T54" fmla="*/ 0 w 243"/>
                <a:gd name="T55" fmla="*/ 0 h 230"/>
                <a:gd name="T56" fmla="*/ 0 w 243"/>
                <a:gd name="T57" fmla="*/ 0 h 230"/>
                <a:gd name="T58" fmla="*/ 0 w 243"/>
                <a:gd name="T59" fmla="*/ 0 h 230"/>
                <a:gd name="T60" fmla="*/ 0 w 243"/>
                <a:gd name="T61" fmla="*/ 0 h 230"/>
                <a:gd name="T62" fmla="*/ 0 w 243"/>
                <a:gd name="T63" fmla="*/ 0 h 230"/>
                <a:gd name="T64" fmla="*/ 0 w 243"/>
                <a:gd name="T65" fmla="*/ 0 h 230"/>
                <a:gd name="T66" fmla="*/ 0 w 243"/>
                <a:gd name="T67" fmla="*/ 0 h 230"/>
                <a:gd name="T68" fmla="*/ 0 w 243"/>
                <a:gd name="T69" fmla="*/ 0 h 2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3"/>
                <a:gd name="T106" fmla="*/ 0 h 230"/>
                <a:gd name="T107" fmla="*/ 243 w 243"/>
                <a:gd name="T108" fmla="*/ 230 h 2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3" h="230">
                  <a:moveTo>
                    <a:pt x="68" y="19"/>
                  </a:moveTo>
                  <a:lnTo>
                    <a:pt x="89" y="8"/>
                  </a:lnTo>
                  <a:lnTo>
                    <a:pt x="143" y="9"/>
                  </a:lnTo>
                  <a:lnTo>
                    <a:pt x="172" y="36"/>
                  </a:lnTo>
                  <a:lnTo>
                    <a:pt x="182" y="35"/>
                  </a:lnTo>
                  <a:lnTo>
                    <a:pt x="186" y="8"/>
                  </a:lnTo>
                  <a:lnTo>
                    <a:pt x="196" y="0"/>
                  </a:lnTo>
                  <a:lnTo>
                    <a:pt x="221" y="60"/>
                  </a:lnTo>
                  <a:lnTo>
                    <a:pt x="215" y="92"/>
                  </a:lnTo>
                  <a:lnTo>
                    <a:pt x="219" y="120"/>
                  </a:lnTo>
                  <a:lnTo>
                    <a:pt x="225" y="130"/>
                  </a:lnTo>
                  <a:lnTo>
                    <a:pt x="243" y="139"/>
                  </a:lnTo>
                  <a:lnTo>
                    <a:pt x="242" y="146"/>
                  </a:lnTo>
                  <a:lnTo>
                    <a:pt x="230" y="144"/>
                  </a:lnTo>
                  <a:lnTo>
                    <a:pt x="212" y="218"/>
                  </a:lnTo>
                  <a:lnTo>
                    <a:pt x="180" y="220"/>
                  </a:lnTo>
                  <a:lnTo>
                    <a:pt x="154" y="230"/>
                  </a:lnTo>
                  <a:lnTo>
                    <a:pt x="132" y="223"/>
                  </a:lnTo>
                  <a:lnTo>
                    <a:pt x="102" y="198"/>
                  </a:lnTo>
                  <a:lnTo>
                    <a:pt x="62" y="203"/>
                  </a:lnTo>
                  <a:lnTo>
                    <a:pt x="64" y="188"/>
                  </a:lnTo>
                  <a:lnTo>
                    <a:pt x="80" y="169"/>
                  </a:lnTo>
                  <a:lnTo>
                    <a:pt x="64" y="167"/>
                  </a:lnTo>
                  <a:lnTo>
                    <a:pt x="21" y="143"/>
                  </a:lnTo>
                  <a:lnTo>
                    <a:pt x="22" y="113"/>
                  </a:lnTo>
                  <a:lnTo>
                    <a:pt x="5" y="89"/>
                  </a:lnTo>
                  <a:lnTo>
                    <a:pt x="14" y="72"/>
                  </a:lnTo>
                  <a:lnTo>
                    <a:pt x="0" y="52"/>
                  </a:lnTo>
                  <a:lnTo>
                    <a:pt x="7" y="52"/>
                  </a:lnTo>
                  <a:lnTo>
                    <a:pt x="8" y="44"/>
                  </a:lnTo>
                  <a:lnTo>
                    <a:pt x="0" y="29"/>
                  </a:lnTo>
                  <a:lnTo>
                    <a:pt x="1" y="16"/>
                  </a:lnTo>
                  <a:lnTo>
                    <a:pt x="21" y="20"/>
                  </a:lnTo>
                  <a:lnTo>
                    <a:pt x="43" y="31"/>
                  </a:lnTo>
                  <a:lnTo>
                    <a:pt x="68" y="19"/>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6" name="Freeform 224"/>
            <p:cNvSpPr>
              <a:spLocks/>
            </p:cNvSpPr>
            <p:nvPr/>
          </p:nvSpPr>
          <p:spPr bwMode="auto">
            <a:xfrm>
              <a:off x="6545255" y="2695309"/>
              <a:ext cx="35686" cy="67121"/>
            </a:xfrm>
            <a:custGeom>
              <a:avLst/>
              <a:gdLst>
                <a:gd name="T0" fmla="*/ 0 w 82"/>
                <a:gd name="T1" fmla="*/ 0 h 170"/>
                <a:gd name="T2" fmla="*/ 0 w 82"/>
                <a:gd name="T3" fmla="*/ 0 h 170"/>
                <a:gd name="T4" fmla="*/ 0 w 82"/>
                <a:gd name="T5" fmla="*/ 0 h 170"/>
                <a:gd name="T6" fmla="*/ 0 w 82"/>
                <a:gd name="T7" fmla="*/ 0 h 170"/>
                <a:gd name="T8" fmla="*/ 0 w 82"/>
                <a:gd name="T9" fmla="*/ 0 h 170"/>
                <a:gd name="T10" fmla="*/ 0 w 82"/>
                <a:gd name="T11" fmla="*/ 0 h 170"/>
                <a:gd name="T12" fmla="*/ 0 w 82"/>
                <a:gd name="T13" fmla="*/ 0 h 170"/>
                <a:gd name="T14" fmla="*/ 0 w 82"/>
                <a:gd name="T15" fmla="*/ 0 h 170"/>
                <a:gd name="T16" fmla="*/ 0 w 82"/>
                <a:gd name="T17" fmla="*/ 0 h 170"/>
                <a:gd name="T18" fmla="*/ 0 w 82"/>
                <a:gd name="T19" fmla="*/ 0 h 170"/>
                <a:gd name="T20" fmla="*/ 0 w 82"/>
                <a:gd name="T21" fmla="*/ 0 h 170"/>
                <a:gd name="T22" fmla="*/ 0 w 82"/>
                <a:gd name="T23" fmla="*/ 0 h 170"/>
                <a:gd name="T24" fmla="*/ 0 w 82"/>
                <a:gd name="T25" fmla="*/ 0 h 170"/>
                <a:gd name="T26" fmla="*/ 0 w 82"/>
                <a:gd name="T27" fmla="*/ 0 h 170"/>
                <a:gd name="T28" fmla="*/ 0 w 82"/>
                <a:gd name="T29" fmla="*/ 0 h 1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2"/>
                <a:gd name="T46" fmla="*/ 0 h 170"/>
                <a:gd name="T47" fmla="*/ 82 w 82"/>
                <a:gd name="T48" fmla="*/ 170 h 1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2" h="170">
                  <a:moveTo>
                    <a:pt x="57" y="42"/>
                  </a:moveTo>
                  <a:lnTo>
                    <a:pt x="61" y="12"/>
                  </a:lnTo>
                  <a:lnTo>
                    <a:pt x="68" y="0"/>
                  </a:lnTo>
                  <a:lnTo>
                    <a:pt x="82" y="2"/>
                  </a:lnTo>
                  <a:lnTo>
                    <a:pt x="78" y="60"/>
                  </a:lnTo>
                  <a:lnTo>
                    <a:pt x="50" y="96"/>
                  </a:lnTo>
                  <a:lnTo>
                    <a:pt x="45" y="123"/>
                  </a:lnTo>
                  <a:lnTo>
                    <a:pt x="34" y="134"/>
                  </a:lnTo>
                  <a:lnTo>
                    <a:pt x="20" y="166"/>
                  </a:lnTo>
                  <a:lnTo>
                    <a:pt x="8" y="170"/>
                  </a:lnTo>
                  <a:lnTo>
                    <a:pt x="9" y="138"/>
                  </a:lnTo>
                  <a:lnTo>
                    <a:pt x="0" y="110"/>
                  </a:lnTo>
                  <a:lnTo>
                    <a:pt x="8" y="108"/>
                  </a:lnTo>
                  <a:lnTo>
                    <a:pt x="41" y="46"/>
                  </a:lnTo>
                  <a:lnTo>
                    <a:pt x="57" y="4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7" name="Freeform 226"/>
            <p:cNvSpPr>
              <a:spLocks/>
            </p:cNvSpPr>
            <p:nvPr/>
          </p:nvSpPr>
          <p:spPr bwMode="auto">
            <a:xfrm>
              <a:off x="6589337" y="2552677"/>
              <a:ext cx="157438" cy="182485"/>
            </a:xfrm>
            <a:custGeom>
              <a:avLst/>
              <a:gdLst>
                <a:gd name="T0" fmla="*/ 0 w 389"/>
                <a:gd name="T1" fmla="*/ 0 h 447"/>
                <a:gd name="T2" fmla="*/ 0 w 389"/>
                <a:gd name="T3" fmla="*/ 0 h 447"/>
                <a:gd name="T4" fmla="*/ 0 w 389"/>
                <a:gd name="T5" fmla="*/ 0 h 447"/>
                <a:gd name="T6" fmla="*/ 0 w 389"/>
                <a:gd name="T7" fmla="*/ 0 h 447"/>
                <a:gd name="T8" fmla="*/ 0 w 389"/>
                <a:gd name="T9" fmla="*/ 0 h 447"/>
                <a:gd name="T10" fmla="*/ 0 w 389"/>
                <a:gd name="T11" fmla="*/ 0 h 447"/>
                <a:gd name="T12" fmla="*/ 0 w 389"/>
                <a:gd name="T13" fmla="*/ 0 h 447"/>
                <a:gd name="T14" fmla="*/ 0 w 389"/>
                <a:gd name="T15" fmla="*/ 0 h 447"/>
                <a:gd name="T16" fmla="*/ 0 w 389"/>
                <a:gd name="T17" fmla="*/ 0 h 447"/>
                <a:gd name="T18" fmla="*/ 0 w 389"/>
                <a:gd name="T19" fmla="*/ 0 h 447"/>
                <a:gd name="T20" fmla="*/ 0 w 389"/>
                <a:gd name="T21" fmla="*/ 0 h 447"/>
                <a:gd name="T22" fmla="*/ 0 w 389"/>
                <a:gd name="T23" fmla="*/ 0 h 447"/>
                <a:gd name="T24" fmla="*/ 0 w 389"/>
                <a:gd name="T25" fmla="*/ 0 h 447"/>
                <a:gd name="T26" fmla="*/ 0 w 389"/>
                <a:gd name="T27" fmla="*/ 0 h 447"/>
                <a:gd name="T28" fmla="*/ 0 w 389"/>
                <a:gd name="T29" fmla="*/ 0 h 447"/>
                <a:gd name="T30" fmla="*/ 0 w 389"/>
                <a:gd name="T31" fmla="*/ 0 h 447"/>
                <a:gd name="T32" fmla="*/ 0 w 389"/>
                <a:gd name="T33" fmla="*/ 0 h 447"/>
                <a:gd name="T34" fmla="*/ 0 w 389"/>
                <a:gd name="T35" fmla="*/ 0 h 447"/>
                <a:gd name="T36" fmla="*/ 0 w 389"/>
                <a:gd name="T37" fmla="*/ 0 h 447"/>
                <a:gd name="T38" fmla="*/ 0 w 389"/>
                <a:gd name="T39" fmla="*/ 0 h 447"/>
                <a:gd name="T40" fmla="*/ 0 w 389"/>
                <a:gd name="T41" fmla="*/ 0 h 447"/>
                <a:gd name="T42" fmla="*/ 0 w 389"/>
                <a:gd name="T43" fmla="*/ 0 h 447"/>
                <a:gd name="T44" fmla="*/ 0 w 389"/>
                <a:gd name="T45" fmla="*/ 0 h 447"/>
                <a:gd name="T46" fmla="*/ 0 w 389"/>
                <a:gd name="T47" fmla="*/ 0 h 447"/>
                <a:gd name="T48" fmla="*/ 0 w 389"/>
                <a:gd name="T49" fmla="*/ 0 h 447"/>
                <a:gd name="T50" fmla="*/ 0 w 389"/>
                <a:gd name="T51" fmla="*/ 0 h 447"/>
                <a:gd name="T52" fmla="*/ 0 w 389"/>
                <a:gd name="T53" fmla="*/ 0 h 447"/>
                <a:gd name="T54" fmla="*/ 0 w 389"/>
                <a:gd name="T55" fmla="*/ 0 h 447"/>
                <a:gd name="T56" fmla="*/ 0 w 389"/>
                <a:gd name="T57" fmla="*/ 0 h 447"/>
                <a:gd name="T58" fmla="*/ 0 w 389"/>
                <a:gd name="T59" fmla="*/ 0 h 447"/>
                <a:gd name="T60" fmla="*/ 0 w 389"/>
                <a:gd name="T61" fmla="*/ 0 h 447"/>
                <a:gd name="T62" fmla="*/ 0 w 389"/>
                <a:gd name="T63" fmla="*/ 0 h 447"/>
                <a:gd name="T64" fmla="*/ 0 w 389"/>
                <a:gd name="T65" fmla="*/ 0 h 447"/>
                <a:gd name="T66" fmla="*/ 0 w 389"/>
                <a:gd name="T67" fmla="*/ 0 h 447"/>
                <a:gd name="T68" fmla="*/ 0 w 389"/>
                <a:gd name="T69" fmla="*/ 0 h 447"/>
                <a:gd name="T70" fmla="*/ 0 w 389"/>
                <a:gd name="T71" fmla="*/ 0 h 447"/>
                <a:gd name="T72" fmla="*/ 0 w 389"/>
                <a:gd name="T73" fmla="*/ 0 h 447"/>
                <a:gd name="T74" fmla="*/ 0 w 389"/>
                <a:gd name="T75" fmla="*/ 0 h 447"/>
                <a:gd name="T76" fmla="*/ 0 w 389"/>
                <a:gd name="T77" fmla="*/ 0 h 447"/>
                <a:gd name="T78" fmla="*/ 0 w 389"/>
                <a:gd name="T79" fmla="*/ 0 h 447"/>
                <a:gd name="T80" fmla="*/ 0 w 389"/>
                <a:gd name="T81" fmla="*/ 0 h 447"/>
                <a:gd name="T82" fmla="*/ 0 w 389"/>
                <a:gd name="T83" fmla="*/ 0 h 447"/>
                <a:gd name="T84" fmla="*/ 0 w 389"/>
                <a:gd name="T85" fmla="*/ 0 h 44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9"/>
                <a:gd name="T130" fmla="*/ 0 h 447"/>
                <a:gd name="T131" fmla="*/ 389 w 389"/>
                <a:gd name="T132" fmla="*/ 447 h 44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9" h="447">
                  <a:moveTo>
                    <a:pt x="114" y="37"/>
                  </a:moveTo>
                  <a:lnTo>
                    <a:pt x="206" y="53"/>
                  </a:lnTo>
                  <a:lnTo>
                    <a:pt x="203" y="72"/>
                  </a:lnTo>
                  <a:lnTo>
                    <a:pt x="189" y="76"/>
                  </a:lnTo>
                  <a:lnTo>
                    <a:pt x="185" y="110"/>
                  </a:lnTo>
                  <a:lnTo>
                    <a:pt x="173" y="116"/>
                  </a:lnTo>
                  <a:lnTo>
                    <a:pt x="175" y="121"/>
                  </a:lnTo>
                  <a:lnTo>
                    <a:pt x="186" y="117"/>
                  </a:lnTo>
                  <a:lnTo>
                    <a:pt x="186" y="170"/>
                  </a:lnTo>
                  <a:lnTo>
                    <a:pt x="204" y="153"/>
                  </a:lnTo>
                  <a:lnTo>
                    <a:pt x="216" y="118"/>
                  </a:lnTo>
                  <a:lnTo>
                    <a:pt x="223" y="114"/>
                  </a:lnTo>
                  <a:lnTo>
                    <a:pt x="228" y="88"/>
                  </a:lnTo>
                  <a:lnTo>
                    <a:pt x="224" y="88"/>
                  </a:lnTo>
                  <a:lnTo>
                    <a:pt x="228" y="80"/>
                  </a:lnTo>
                  <a:lnTo>
                    <a:pt x="236" y="81"/>
                  </a:lnTo>
                  <a:lnTo>
                    <a:pt x="248" y="128"/>
                  </a:lnTo>
                  <a:lnTo>
                    <a:pt x="245" y="150"/>
                  </a:lnTo>
                  <a:lnTo>
                    <a:pt x="238" y="150"/>
                  </a:lnTo>
                  <a:lnTo>
                    <a:pt x="230" y="162"/>
                  </a:lnTo>
                  <a:lnTo>
                    <a:pt x="237" y="164"/>
                  </a:lnTo>
                  <a:lnTo>
                    <a:pt x="236" y="172"/>
                  </a:lnTo>
                  <a:lnTo>
                    <a:pt x="248" y="175"/>
                  </a:lnTo>
                  <a:lnTo>
                    <a:pt x="261" y="81"/>
                  </a:lnTo>
                  <a:lnTo>
                    <a:pt x="254" y="66"/>
                  </a:lnTo>
                  <a:lnTo>
                    <a:pt x="235" y="60"/>
                  </a:lnTo>
                  <a:lnTo>
                    <a:pt x="233" y="44"/>
                  </a:lnTo>
                  <a:lnTo>
                    <a:pt x="264" y="14"/>
                  </a:lnTo>
                  <a:lnTo>
                    <a:pt x="305" y="8"/>
                  </a:lnTo>
                  <a:lnTo>
                    <a:pt x="309" y="0"/>
                  </a:lnTo>
                  <a:lnTo>
                    <a:pt x="335" y="1"/>
                  </a:lnTo>
                  <a:lnTo>
                    <a:pt x="354" y="29"/>
                  </a:lnTo>
                  <a:lnTo>
                    <a:pt x="368" y="83"/>
                  </a:lnTo>
                  <a:lnTo>
                    <a:pt x="377" y="87"/>
                  </a:lnTo>
                  <a:lnTo>
                    <a:pt x="371" y="105"/>
                  </a:lnTo>
                  <a:lnTo>
                    <a:pt x="375" y="126"/>
                  </a:lnTo>
                  <a:lnTo>
                    <a:pt x="381" y="129"/>
                  </a:lnTo>
                  <a:lnTo>
                    <a:pt x="378" y="153"/>
                  </a:lnTo>
                  <a:lnTo>
                    <a:pt x="389" y="193"/>
                  </a:lnTo>
                  <a:lnTo>
                    <a:pt x="359" y="191"/>
                  </a:lnTo>
                  <a:lnTo>
                    <a:pt x="344" y="204"/>
                  </a:lnTo>
                  <a:lnTo>
                    <a:pt x="324" y="202"/>
                  </a:lnTo>
                  <a:lnTo>
                    <a:pt x="288" y="247"/>
                  </a:lnTo>
                  <a:lnTo>
                    <a:pt x="281" y="276"/>
                  </a:lnTo>
                  <a:lnTo>
                    <a:pt x="306" y="280"/>
                  </a:lnTo>
                  <a:lnTo>
                    <a:pt x="322" y="311"/>
                  </a:lnTo>
                  <a:lnTo>
                    <a:pt x="317" y="350"/>
                  </a:lnTo>
                  <a:lnTo>
                    <a:pt x="255" y="359"/>
                  </a:lnTo>
                  <a:lnTo>
                    <a:pt x="247" y="371"/>
                  </a:lnTo>
                  <a:lnTo>
                    <a:pt x="245" y="387"/>
                  </a:lnTo>
                  <a:lnTo>
                    <a:pt x="252" y="388"/>
                  </a:lnTo>
                  <a:lnTo>
                    <a:pt x="255" y="408"/>
                  </a:lnTo>
                  <a:lnTo>
                    <a:pt x="248" y="408"/>
                  </a:lnTo>
                  <a:lnTo>
                    <a:pt x="244" y="417"/>
                  </a:lnTo>
                  <a:lnTo>
                    <a:pt x="240" y="444"/>
                  </a:lnTo>
                  <a:lnTo>
                    <a:pt x="217" y="447"/>
                  </a:lnTo>
                  <a:lnTo>
                    <a:pt x="206" y="432"/>
                  </a:lnTo>
                  <a:lnTo>
                    <a:pt x="148" y="413"/>
                  </a:lnTo>
                  <a:lnTo>
                    <a:pt x="133" y="402"/>
                  </a:lnTo>
                  <a:lnTo>
                    <a:pt x="134" y="395"/>
                  </a:lnTo>
                  <a:lnTo>
                    <a:pt x="153" y="404"/>
                  </a:lnTo>
                  <a:lnTo>
                    <a:pt x="153" y="377"/>
                  </a:lnTo>
                  <a:lnTo>
                    <a:pt x="159" y="379"/>
                  </a:lnTo>
                  <a:lnTo>
                    <a:pt x="162" y="365"/>
                  </a:lnTo>
                  <a:lnTo>
                    <a:pt x="108" y="345"/>
                  </a:lnTo>
                  <a:lnTo>
                    <a:pt x="55" y="342"/>
                  </a:lnTo>
                  <a:lnTo>
                    <a:pt x="56" y="307"/>
                  </a:lnTo>
                  <a:lnTo>
                    <a:pt x="32" y="294"/>
                  </a:lnTo>
                  <a:lnTo>
                    <a:pt x="27" y="281"/>
                  </a:lnTo>
                  <a:lnTo>
                    <a:pt x="28" y="273"/>
                  </a:lnTo>
                  <a:lnTo>
                    <a:pt x="34" y="272"/>
                  </a:lnTo>
                  <a:lnTo>
                    <a:pt x="50" y="184"/>
                  </a:lnTo>
                  <a:lnTo>
                    <a:pt x="42" y="169"/>
                  </a:lnTo>
                  <a:lnTo>
                    <a:pt x="13" y="162"/>
                  </a:lnTo>
                  <a:lnTo>
                    <a:pt x="7" y="153"/>
                  </a:lnTo>
                  <a:lnTo>
                    <a:pt x="22" y="143"/>
                  </a:lnTo>
                  <a:lnTo>
                    <a:pt x="0" y="134"/>
                  </a:lnTo>
                  <a:lnTo>
                    <a:pt x="2" y="127"/>
                  </a:lnTo>
                  <a:lnTo>
                    <a:pt x="17" y="119"/>
                  </a:lnTo>
                  <a:lnTo>
                    <a:pt x="72" y="127"/>
                  </a:lnTo>
                  <a:lnTo>
                    <a:pt x="95" y="124"/>
                  </a:lnTo>
                  <a:lnTo>
                    <a:pt x="107" y="92"/>
                  </a:lnTo>
                  <a:lnTo>
                    <a:pt x="130" y="95"/>
                  </a:lnTo>
                  <a:lnTo>
                    <a:pt x="141" y="88"/>
                  </a:lnTo>
                  <a:lnTo>
                    <a:pt x="146" y="68"/>
                  </a:lnTo>
                  <a:lnTo>
                    <a:pt x="114" y="37"/>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8" name="Freeform 228"/>
            <p:cNvSpPr>
              <a:spLocks/>
            </p:cNvSpPr>
            <p:nvPr/>
          </p:nvSpPr>
          <p:spPr bwMode="auto">
            <a:xfrm>
              <a:off x="6326942" y="2284193"/>
              <a:ext cx="264495" cy="442579"/>
            </a:xfrm>
            <a:custGeom>
              <a:avLst/>
              <a:gdLst>
                <a:gd name="T0" fmla="*/ 0 w 649"/>
                <a:gd name="T1" fmla="*/ 0 h 1090"/>
                <a:gd name="T2" fmla="*/ 0 w 649"/>
                <a:gd name="T3" fmla="*/ 0 h 1090"/>
                <a:gd name="T4" fmla="*/ 0 w 649"/>
                <a:gd name="T5" fmla="*/ 0 h 1090"/>
                <a:gd name="T6" fmla="*/ 0 w 649"/>
                <a:gd name="T7" fmla="*/ 0 h 1090"/>
                <a:gd name="T8" fmla="*/ 0 w 649"/>
                <a:gd name="T9" fmla="*/ 0 h 1090"/>
                <a:gd name="T10" fmla="*/ 0 w 649"/>
                <a:gd name="T11" fmla="*/ 0 h 1090"/>
                <a:gd name="T12" fmla="*/ 0 w 649"/>
                <a:gd name="T13" fmla="*/ 0 h 1090"/>
                <a:gd name="T14" fmla="*/ 0 w 649"/>
                <a:gd name="T15" fmla="*/ 0 h 1090"/>
                <a:gd name="T16" fmla="*/ 0 w 649"/>
                <a:gd name="T17" fmla="*/ 0 h 1090"/>
                <a:gd name="T18" fmla="*/ 0 w 649"/>
                <a:gd name="T19" fmla="*/ 0 h 1090"/>
                <a:gd name="T20" fmla="*/ 0 w 649"/>
                <a:gd name="T21" fmla="*/ 0 h 1090"/>
                <a:gd name="T22" fmla="*/ 0 w 649"/>
                <a:gd name="T23" fmla="*/ 0 h 1090"/>
                <a:gd name="T24" fmla="*/ 0 w 649"/>
                <a:gd name="T25" fmla="*/ 0 h 1090"/>
                <a:gd name="T26" fmla="*/ 0 w 649"/>
                <a:gd name="T27" fmla="*/ 0 h 1090"/>
                <a:gd name="T28" fmla="*/ 0 w 649"/>
                <a:gd name="T29" fmla="*/ 0 h 1090"/>
                <a:gd name="T30" fmla="*/ 0 w 649"/>
                <a:gd name="T31" fmla="*/ 0 h 1090"/>
                <a:gd name="T32" fmla="*/ 0 w 649"/>
                <a:gd name="T33" fmla="*/ 0 h 1090"/>
                <a:gd name="T34" fmla="*/ 0 w 649"/>
                <a:gd name="T35" fmla="*/ 0 h 1090"/>
                <a:gd name="T36" fmla="*/ 0 w 649"/>
                <a:gd name="T37" fmla="*/ 0 h 1090"/>
                <a:gd name="T38" fmla="*/ 0 w 649"/>
                <a:gd name="T39" fmla="*/ 0 h 1090"/>
                <a:gd name="T40" fmla="*/ 0 w 649"/>
                <a:gd name="T41" fmla="*/ 0 h 1090"/>
                <a:gd name="T42" fmla="*/ 0 w 649"/>
                <a:gd name="T43" fmla="*/ 0 h 1090"/>
                <a:gd name="T44" fmla="*/ 0 w 649"/>
                <a:gd name="T45" fmla="*/ 0 h 1090"/>
                <a:gd name="T46" fmla="*/ 0 w 649"/>
                <a:gd name="T47" fmla="*/ 0 h 1090"/>
                <a:gd name="T48" fmla="*/ 0 w 649"/>
                <a:gd name="T49" fmla="*/ 0 h 1090"/>
                <a:gd name="T50" fmla="*/ 0 w 649"/>
                <a:gd name="T51" fmla="*/ 0 h 1090"/>
                <a:gd name="T52" fmla="*/ 0 w 649"/>
                <a:gd name="T53" fmla="*/ 0 h 1090"/>
                <a:gd name="T54" fmla="*/ 0 w 649"/>
                <a:gd name="T55" fmla="*/ 0 h 1090"/>
                <a:gd name="T56" fmla="*/ 0 w 649"/>
                <a:gd name="T57" fmla="*/ 0 h 1090"/>
                <a:gd name="T58" fmla="*/ 0 w 649"/>
                <a:gd name="T59" fmla="*/ 0 h 1090"/>
                <a:gd name="T60" fmla="*/ 0 w 649"/>
                <a:gd name="T61" fmla="*/ 0 h 1090"/>
                <a:gd name="T62" fmla="*/ 0 w 649"/>
                <a:gd name="T63" fmla="*/ 0 h 1090"/>
                <a:gd name="T64" fmla="*/ 0 w 649"/>
                <a:gd name="T65" fmla="*/ 0 h 1090"/>
                <a:gd name="T66" fmla="*/ 0 w 649"/>
                <a:gd name="T67" fmla="*/ 0 h 1090"/>
                <a:gd name="T68" fmla="*/ 0 w 649"/>
                <a:gd name="T69" fmla="*/ 0 h 1090"/>
                <a:gd name="T70" fmla="*/ 0 w 649"/>
                <a:gd name="T71" fmla="*/ 0 h 1090"/>
                <a:gd name="T72" fmla="*/ 0 w 649"/>
                <a:gd name="T73" fmla="*/ 0 h 1090"/>
                <a:gd name="T74" fmla="*/ 0 w 649"/>
                <a:gd name="T75" fmla="*/ 0 h 10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49"/>
                <a:gd name="T115" fmla="*/ 0 h 1090"/>
                <a:gd name="T116" fmla="*/ 649 w 649"/>
                <a:gd name="T117" fmla="*/ 1090 h 10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49" h="1090">
                  <a:moveTo>
                    <a:pt x="86" y="1048"/>
                  </a:moveTo>
                  <a:lnTo>
                    <a:pt x="121" y="1050"/>
                  </a:lnTo>
                  <a:lnTo>
                    <a:pt x="212" y="1090"/>
                  </a:lnTo>
                  <a:lnTo>
                    <a:pt x="265" y="1074"/>
                  </a:lnTo>
                  <a:lnTo>
                    <a:pt x="271" y="1068"/>
                  </a:lnTo>
                  <a:lnTo>
                    <a:pt x="282" y="1066"/>
                  </a:lnTo>
                  <a:lnTo>
                    <a:pt x="287" y="1078"/>
                  </a:lnTo>
                  <a:lnTo>
                    <a:pt x="307" y="1084"/>
                  </a:lnTo>
                  <a:lnTo>
                    <a:pt x="309" y="1065"/>
                  </a:lnTo>
                  <a:lnTo>
                    <a:pt x="301" y="1047"/>
                  </a:lnTo>
                  <a:lnTo>
                    <a:pt x="287" y="1029"/>
                  </a:lnTo>
                  <a:lnTo>
                    <a:pt x="260" y="1026"/>
                  </a:lnTo>
                  <a:lnTo>
                    <a:pt x="265" y="970"/>
                  </a:lnTo>
                  <a:lnTo>
                    <a:pt x="309" y="949"/>
                  </a:lnTo>
                  <a:lnTo>
                    <a:pt x="312" y="934"/>
                  </a:lnTo>
                  <a:lnTo>
                    <a:pt x="301" y="933"/>
                  </a:lnTo>
                  <a:lnTo>
                    <a:pt x="304" y="898"/>
                  </a:lnTo>
                  <a:lnTo>
                    <a:pt x="320" y="855"/>
                  </a:lnTo>
                  <a:lnTo>
                    <a:pt x="312" y="839"/>
                  </a:lnTo>
                  <a:lnTo>
                    <a:pt x="356" y="803"/>
                  </a:lnTo>
                  <a:lnTo>
                    <a:pt x="355" y="788"/>
                  </a:lnTo>
                  <a:lnTo>
                    <a:pt x="333" y="757"/>
                  </a:lnTo>
                  <a:lnTo>
                    <a:pt x="358" y="752"/>
                  </a:lnTo>
                  <a:lnTo>
                    <a:pt x="408" y="766"/>
                  </a:lnTo>
                  <a:lnTo>
                    <a:pt x="416" y="740"/>
                  </a:lnTo>
                  <a:lnTo>
                    <a:pt x="402" y="706"/>
                  </a:lnTo>
                  <a:lnTo>
                    <a:pt x="421" y="693"/>
                  </a:lnTo>
                  <a:lnTo>
                    <a:pt x="471" y="706"/>
                  </a:lnTo>
                  <a:lnTo>
                    <a:pt x="495" y="680"/>
                  </a:lnTo>
                  <a:lnTo>
                    <a:pt x="491" y="629"/>
                  </a:lnTo>
                  <a:lnTo>
                    <a:pt x="515" y="583"/>
                  </a:lnTo>
                  <a:lnTo>
                    <a:pt x="538" y="580"/>
                  </a:lnTo>
                  <a:lnTo>
                    <a:pt x="534" y="599"/>
                  </a:lnTo>
                  <a:lnTo>
                    <a:pt x="546" y="627"/>
                  </a:lnTo>
                  <a:lnTo>
                    <a:pt x="574" y="599"/>
                  </a:lnTo>
                  <a:lnTo>
                    <a:pt x="577" y="613"/>
                  </a:lnTo>
                  <a:lnTo>
                    <a:pt x="641" y="568"/>
                  </a:lnTo>
                  <a:lnTo>
                    <a:pt x="649" y="525"/>
                  </a:lnTo>
                  <a:lnTo>
                    <a:pt x="647" y="496"/>
                  </a:lnTo>
                  <a:lnTo>
                    <a:pt x="629" y="483"/>
                  </a:lnTo>
                  <a:lnTo>
                    <a:pt x="589" y="483"/>
                  </a:lnTo>
                  <a:lnTo>
                    <a:pt x="560" y="492"/>
                  </a:lnTo>
                  <a:lnTo>
                    <a:pt x="546" y="466"/>
                  </a:lnTo>
                  <a:lnTo>
                    <a:pt x="520" y="463"/>
                  </a:lnTo>
                  <a:lnTo>
                    <a:pt x="500" y="487"/>
                  </a:lnTo>
                  <a:lnTo>
                    <a:pt x="493" y="465"/>
                  </a:lnTo>
                  <a:lnTo>
                    <a:pt x="498" y="442"/>
                  </a:lnTo>
                  <a:lnTo>
                    <a:pt x="529" y="417"/>
                  </a:lnTo>
                  <a:lnTo>
                    <a:pt x="523" y="407"/>
                  </a:lnTo>
                  <a:lnTo>
                    <a:pt x="486" y="414"/>
                  </a:lnTo>
                  <a:lnTo>
                    <a:pt x="488" y="395"/>
                  </a:lnTo>
                  <a:lnTo>
                    <a:pt x="520" y="387"/>
                  </a:lnTo>
                  <a:lnTo>
                    <a:pt x="527" y="355"/>
                  </a:lnTo>
                  <a:lnTo>
                    <a:pt x="533" y="350"/>
                  </a:lnTo>
                  <a:lnTo>
                    <a:pt x="538" y="303"/>
                  </a:lnTo>
                  <a:lnTo>
                    <a:pt x="610" y="183"/>
                  </a:lnTo>
                  <a:lnTo>
                    <a:pt x="614" y="151"/>
                  </a:lnTo>
                  <a:lnTo>
                    <a:pt x="603" y="71"/>
                  </a:lnTo>
                  <a:lnTo>
                    <a:pt x="631" y="11"/>
                  </a:lnTo>
                  <a:lnTo>
                    <a:pt x="625" y="0"/>
                  </a:lnTo>
                  <a:lnTo>
                    <a:pt x="508" y="48"/>
                  </a:lnTo>
                  <a:lnTo>
                    <a:pt x="436" y="108"/>
                  </a:lnTo>
                  <a:lnTo>
                    <a:pt x="418" y="146"/>
                  </a:lnTo>
                  <a:lnTo>
                    <a:pt x="371" y="174"/>
                  </a:lnTo>
                  <a:lnTo>
                    <a:pt x="202" y="181"/>
                  </a:lnTo>
                  <a:lnTo>
                    <a:pt x="161" y="212"/>
                  </a:lnTo>
                  <a:lnTo>
                    <a:pt x="44" y="444"/>
                  </a:lnTo>
                  <a:lnTo>
                    <a:pt x="23" y="607"/>
                  </a:lnTo>
                  <a:lnTo>
                    <a:pt x="31" y="649"/>
                  </a:lnTo>
                  <a:lnTo>
                    <a:pt x="0" y="772"/>
                  </a:lnTo>
                  <a:lnTo>
                    <a:pt x="20" y="774"/>
                  </a:lnTo>
                  <a:lnTo>
                    <a:pt x="36" y="767"/>
                  </a:lnTo>
                  <a:lnTo>
                    <a:pt x="71" y="797"/>
                  </a:lnTo>
                  <a:lnTo>
                    <a:pt x="94" y="831"/>
                  </a:lnTo>
                  <a:lnTo>
                    <a:pt x="107" y="874"/>
                  </a:lnTo>
                  <a:lnTo>
                    <a:pt x="86" y="1048"/>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29" name="Freeform 230"/>
            <p:cNvSpPr>
              <a:spLocks/>
            </p:cNvSpPr>
            <p:nvPr/>
          </p:nvSpPr>
          <p:spPr bwMode="auto">
            <a:xfrm>
              <a:off x="5926001" y="3412663"/>
              <a:ext cx="67173" cy="102779"/>
            </a:xfrm>
            <a:custGeom>
              <a:avLst/>
              <a:gdLst>
                <a:gd name="T0" fmla="*/ 0 w 161"/>
                <a:gd name="T1" fmla="*/ 0 h 250"/>
                <a:gd name="T2" fmla="*/ 0 w 161"/>
                <a:gd name="T3" fmla="*/ 0 h 250"/>
                <a:gd name="T4" fmla="*/ 0 w 161"/>
                <a:gd name="T5" fmla="*/ 0 h 250"/>
                <a:gd name="T6" fmla="*/ 0 w 161"/>
                <a:gd name="T7" fmla="*/ 0 h 250"/>
                <a:gd name="T8" fmla="*/ 0 w 161"/>
                <a:gd name="T9" fmla="*/ 0 h 250"/>
                <a:gd name="T10" fmla="*/ 0 w 161"/>
                <a:gd name="T11" fmla="*/ 0 h 250"/>
                <a:gd name="T12" fmla="*/ 0 w 161"/>
                <a:gd name="T13" fmla="*/ 0 h 250"/>
                <a:gd name="T14" fmla="*/ 0 w 161"/>
                <a:gd name="T15" fmla="*/ 0 h 250"/>
                <a:gd name="T16" fmla="*/ 0 w 161"/>
                <a:gd name="T17" fmla="*/ 0 h 250"/>
                <a:gd name="T18" fmla="*/ 0 w 161"/>
                <a:gd name="T19" fmla="*/ 0 h 250"/>
                <a:gd name="T20" fmla="*/ 0 w 161"/>
                <a:gd name="T21" fmla="*/ 0 h 250"/>
                <a:gd name="T22" fmla="*/ 0 w 161"/>
                <a:gd name="T23" fmla="*/ 0 h 250"/>
                <a:gd name="T24" fmla="*/ 0 w 161"/>
                <a:gd name="T25" fmla="*/ 0 h 250"/>
                <a:gd name="T26" fmla="*/ 0 w 161"/>
                <a:gd name="T27" fmla="*/ 0 h 2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1"/>
                <a:gd name="T43" fmla="*/ 0 h 250"/>
                <a:gd name="T44" fmla="*/ 161 w 161"/>
                <a:gd name="T45" fmla="*/ 250 h 2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1" h="250">
                  <a:moveTo>
                    <a:pt x="72" y="244"/>
                  </a:moveTo>
                  <a:lnTo>
                    <a:pt x="129" y="250"/>
                  </a:lnTo>
                  <a:lnTo>
                    <a:pt x="156" y="226"/>
                  </a:lnTo>
                  <a:lnTo>
                    <a:pt x="161" y="169"/>
                  </a:lnTo>
                  <a:lnTo>
                    <a:pt x="137" y="96"/>
                  </a:lnTo>
                  <a:lnTo>
                    <a:pt x="140" y="62"/>
                  </a:lnTo>
                  <a:lnTo>
                    <a:pt x="158" y="31"/>
                  </a:lnTo>
                  <a:lnTo>
                    <a:pt x="126" y="3"/>
                  </a:lnTo>
                  <a:lnTo>
                    <a:pt x="95" y="0"/>
                  </a:lnTo>
                  <a:lnTo>
                    <a:pt x="45" y="24"/>
                  </a:lnTo>
                  <a:lnTo>
                    <a:pt x="6" y="77"/>
                  </a:lnTo>
                  <a:lnTo>
                    <a:pt x="14" y="139"/>
                  </a:lnTo>
                  <a:lnTo>
                    <a:pt x="0" y="208"/>
                  </a:lnTo>
                  <a:lnTo>
                    <a:pt x="72" y="244"/>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30" name="Freeform 231"/>
            <p:cNvSpPr>
              <a:spLocks/>
            </p:cNvSpPr>
            <p:nvPr/>
          </p:nvSpPr>
          <p:spPr bwMode="auto">
            <a:xfrm>
              <a:off x="5926001" y="3412663"/>
              <a:ext cx="67173" cy="102779"/>
            </a:xfrm>
            <a:custGeom>
              <a:avLst/>
              <a:gdLst>
                <a:gd name="T0" fmla="*/ 0 w 161"/>
                <a:gd name="T1" fmla="*/ 0 h 250"/>
                <a:gd name="T2" fmla="*/ 0 w 161"/>
                <a:gd name="T3" fmla="*/ 0 h 250"/>
                <a:gd name="T4" fmla="*/ 0 w 161"/>
                <a:gd name="T5" fmla="*/ 0 h 250"/>
                <a:gd name="T6" fmla="*/ 0 w 161"/>
                <a:gd name="T7" fmla="*/ 0 h 250"/>
                <a:gd name="T8" fmla="*/ 0 w 161"/>
                <a:gd name="T9" fmla="*/ 0 h 250"/>
                <a:gd name="T10" fmla="*/ 0 w 161"/>
                <a:gd name="T11" fmla="*/ 0 h 250"/>
                <a:gd name="T12" fmla="*/ 0 w 161"/>
                <a:gd name="T13" fmla="*/ 0 h 250"/>
                <a:gd name="T14" fmla="*/ 0 w 161"/>
                <a:gd name="T15" fmla="*/ 0 h 250"/>
                <a:gd name="T16" fmla="*/ 0 w 161"/>
                <a:gd name="T17" fmla="*/ 0 h 250"/>
                <a:gd name="T18" fmla="*/ 0 w 161"/>
                <a:gd name="T19" fmla="*/ 0 h 250"/>
                <a:gd name="T20" fmla="*/ 0 w 161"/>
                <a:gd name="T21" fmla="*/ 0 h 250"/>
                <a:gd name="T22" fmla="*/ 0 w 161"/>
                <a:gd name="T23" fmla="*/ 0 h 250"/>
                <a:gd name="T24" fmla="*/ 0 w 161"/>
                <a:gd name="T25" fmla="*/ 0 h 250"/>
                <a:gd name="T26" fmla="*/ 0 w 161"/>
                <a:gd name="T27" fmla="*/ 0 h 2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1"/>
                <a:gd name="T43" fmla="*/ 0 h 250"/>
                <a:gd name="T44" fmla="*/ 161 w 161"/>
                <a:gd name="T45" fmla="*/ 250 h 2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1" h="250">
                  <a:moveTo>
                    <a:pt x="72" y="244"/>
                  </a:moveTo>
                  <a:lnTo>
                    <a:pt x="129" y="250"/>
                  </a:lnTo>
                  <a:lnTo>
                    <a:pt x="156" y="226"/>
                  </a:lnTo>
                  <a:lnTo>
                    <a:pt x="161" y="169"/>
                  </a:lnTo>
                  <a:lnTo>
                    <a:pt x="137" y="96"/>
                  </a:lnTo>
                  <a:lnTo>
                    <a:pt x="140" y="62"/>
                  </a:lnTo>
                  <a:lnTo>
                    <a:pt x="158" y="31"/>
                  </a:lnTo>
                  <a:lnTo>
                    <a:pt x="126" y="3"/>
                  </a:lnTo>
                  <a:lnTo>
                    <a:pt x="95" y="0"/>
                  </a:lnTo>
                  <a:lnTo>
                    <a:pt x="45" y="24"/>
                  </a:lnTo>
                  <a:lnTo>
                    <a:pt x="6" y="77"/>
                  </a:lnTo>
                  <a:lnTo>
                    <a:pt x="14" y="139"/>
                  </a:lnTo>
                  <a:lnTo>
                    <a:pt x="0" y="208"/>
                  </a:lnTo>
                  <a:lnTo>
                    <a:pt x="72" y="244"/>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31" name="Freeform 232"/>
            <p:cNvSpPr>
              <a:spLocks/>
            </p:cNvSpPr>
            <p:nvPr/>
          </p:nvSpPr>
          <p:spPr bwMode="auto">
            <a:xfrm>
              <a:off x="5224879" y="4499184"/>
              <a:ext cx="37785" cy="35658"/>
            </a:xfrm>
            <a:custGeom>
              <a:avLst/>
              <a:gdLst>
                <a:gd name="T0" fmla="*/ 0 w 93"/>
                <a:gd name="T1" fmla="*/ 0 h 90"/>
                <a:gd name="T2" fmla="*/ 0 w 93"/>
                <a:gd name="T3" fmla="*/ 0 h 90"/>
                <a:gd name="T4" fmla="*/ 0 w 93"/>
                <a:gd name="T5" fmla="*/ 0 h 90"/>
                <a:gd name="T6" fmla="*/ 0 w 93"/>
                <a:gd name="T7" fmla="*/ 0 h 90"/>
                <a:gd name="T8" fmla="*/ 0 w 93"/>
                <a:gd name="T9" fmla="*/ 0 h 90"/>
                <a:gd name="T10" fmla="*/ 0 w 93"/>
                <a:gd name="T11" fmla="*/ 0 h 90"/>
                <a:gd name="T12" fmla="*/ 0 w 93"/>
                <a:gd name="T13" fmla="*/ 0 h 90"/>
                <a:gd name="T14" fmla="*/ 0 w 93"/>
                <a:gd name="T15" fmla="*/ 0 h 90"/>
                <a:gd name="T16" fmla="*/ 0 60000 65536"/>
                <a:gd name="T17" fmla="*/ 0 60000 65536"/>
                <a:gd name="T18" fmla="*/ 0 60000 65536"/>
                <a:gd name="T19" fmla="*/ 0 60000 65536"/>
                <a:gd name="T20" fmla="*/ 0 60000 65536"/>
                <a:gd name="T21" fmla="*/ 0 60000 65536"/>
                <a:gd name="T22" fmla="*/ 0 60000 65536"/>
                <a:gd name="T23" fmla="*/ 0 60000 65536"/>
                <a:gd name="T24" fmla="*/ 0 w 93"/>
                <a:gd name="T25" fmla="*/ 0 h 90"/>
                <a:gd name="T26" fmla="*/ 93 w 93"/>
                <a:gd name="T27" fmla="*/ 90 h 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 h="90">
                  <a:moveTo>
                    <a:pt x="87" y="62"/>
                  </a:moveTo>
                  <a:lnTo>
                    <a:pt x="93" y="86"/>
                  </a:lnTo>
                  <a:lnTo>
                    <a:pt x="69" y="90"/>
                  </a:lnTo>
                  <a:lnTo>
                    <a:pt x="35" y="79"/>
                  </a:lnTo>
                  <a:lnTo>
                    <a:pt x="26" y="44"/>
                  </a:lnTo>
                  <a:lnTo>
                    <a:pt x="0" y="0"/>
                  </a:lnTo>
                  <a:lnTo>
                    <a:pt x="66" y="26"/>
                  </a:lnTo>
                  <a:lnTo>
                    <a:pt x="87" y="62"/>
                  </a:lnTo>
                  <a:close/>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sp>
          <p:nvSpPr>
            <p:cNvPr id="532" name="Freeform 233"/>
            <p:cNvSpPr>
              <a:spLocks/>
            </p:cNvSpPr>
            <p:nvPr/>
          </p:nvSpPr>
          <p:spPr bwMode="auto">
            <a:xfrm>
              <a:off x="5224879" y="4499184"/>
              <a:ext cx="37785" cy="35658"/>
            </a:xfrm>
            <a:custGeom>
              <a:avLst/>
              <a:gdLst>
                <a:gd name="T0" fmla="*/ 0 w 93"/>
                <a:gd name="T1" fmla="*/ 0 h 90"/>
                <a:gd name="T2" fmla="*/ 0 w 93"/>
                <a:gd name="T3" fmla="*/ 0 h 90"/>
                <a:gd name="T4" fmla="*/ 0 w 93"/>
                <a:gd name="T5" fmla="*/ 0 h 90"/>
                <a:gd name="T6" fmla="*/ 0 w 93"/>
                <a:gd name="T7" fmla="*/ 0 h 90"/>
                <a:gd name="T8" fmla="*/ 0 w 93"/>
                <a:gd name="T9" fmla="*/ 0 h 90"/>
                <a:gd name="T10" fmla="*/ 0 w 93"/>
                <a:gd name="T11" fmla="*/ 0 h 90"/>
                <a:gd name="T12" fmla="*/ 0 w 93"/>
                <a:gd name="T13" fmla="*/ 0 h 90"/>
                <a:gd name="T14" fmla="*/ 0 w 93"/>
                <a:gd name="T15" fmla="*/ 0 h 90"/>
                <a:gd name="T16" fmla="*/ 0 60000 65536"/>
                <a:gd name="T17" fmla="*/ 0 60000 65536"/>
                <a:gd name="T18" fmla="*/ 0 60000 65536"/>
                <a:gd name="T19" fmla="*/ 0 60000 65536"/>
                <a:gd name="T20" fmla="*/ 0 60000 65536"/>
                <a:gd name="T21" fmla="*/ 0 60000 65536"/>
                <a:gd name="T22" fmla="*/ 0 60000 65536"/>
                <a:gd name="T23" fmla="*/ 0 60000 65536"/>
                <a:gd name="T24" fmla="*/ 0 w 93"/>
                <a:gd name="T25" fmla="*/ 0 h 90"/>
                <a:gd name="T26" fmla="*/ 93 w 93"/>
                <a:gd name="T27" fmla="*/ 90 h 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 h="90">
                  <a:moveTo>
                    <a:pt x="87" y="62"/>
                  </a:moveTo>
                  <a:lnTo>
                    <a:pt x="93" y="86"/>
                  </a:lnTo>
                  <a:lnTo>
                    <a:pt x="69" y="90"/>
                  </a:lnTo>
                  <a:lnTo>
                    <a:pt x="35" y="79"/>
                  </a:lnTo>
                  <a:lnTo>
                    <a:pt x="26" y="44"/>
                  </a:lnTo>
                  <a:lnTo>
                    <a:pt x="0" y="0"/>
                  </a:lnTo>
                  <a:lnTo>
                    <a:pt x="66" y="26"/>
                  </a:lnTo>
                  <a:lnTo>
                    <a:pt x="87" y="62"/>
                  </a:lnTo>
                </a:path>
              </a:pathLst>
            </a:custGeom>
            <a:noFill/>
            <a:ln w="6350">
              <a:solidFill>
                <a:schemeClr val="accent1"/>
              </a:solidFill>
              <a:round/>
              <a:headEnd/>
              <a:tailEnd/>
            </a:ln>
          </p:spPr>
          <p:txBody>
            <a:bodyPr/>
            <a:lstStyle/>
            <a:p>
              <a:pPr defTabSz="402174"/>
              <a:endParaRPr lang="en-GB" sz="1600" dirty="0">
                <a:solidFill>
                  <a:srgbClr val="197AA0"/>
                </a:solidFill>
                <a:latin typeface="Calibri" pitchFamily="34" charset="0"/>
              </a:endParaRPr>
            </a:p>
          </p:txBody>
        </p:sp>
      </p:grpSp>
      <p:sp>
        <p:nvSpPr>
          <p:cNvPr id="593" name="Rechthoek 10"/>
          <p:cNvSpPr>
            <a:spLocks noChangeAspect="1"/>
          </p:cNvSpPr>
          <p:nvPr/>
        </p:nvSpPr>
        <p:spPr>
          <a:xfrm>
            <a:off x="2932411" y="408505"/>
            <a:ext cx="1692000" cy="1692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35990" tIns="45709" rIns="35990" bIns="45709" rtlCol="0" anchor="ctr"/>
          <a:lstStyle/>
          <a:p>
            <a:pPr algn="ctr" defTabSz="402174"/>
            <a:r>
              <a:rPr lang="en-GB" dirty="0">
                <a:solidFill>
                  <a:prstClr val="white"/>
                </a:solidFill>
                <a:latin typeface="Calibri" pitchFamily="34" charset="0"/>
              </a:rPr>
              <a:t>USEF aims to be the de facto standard for smart energy systems.</a:t>
            </a:r>
          </a:p>
        </p:txBody>
      </p:sp>
      <p:grpSp>
        <p:nvGrpSpPr>
          <p:cNvPr id="597" name="Group 596"/>
          <p:cNvGrpSpPr/>
          <p:nvPr/>
        </p:nvGrpSpPr>
        <p:grpSpPr>
          <a:xfrm rot="10800000">
            <a:off x="3234462" y="3750299"/>
            <a:ext cx="1330174" cy="106597"/>
            <a:chOff x="9241782" y="3989089"/>
            <a:chExt cx="1773564" cy="142129"/>
          </a:xfrm>
        </p:grpSpPr>
        <p:cxnSp>
          <p:nvCxnSpPr>
            <p:cNvPr id="598" name="Straight Connector 597"/>
            <p:cNvCxnSpPr/>
            <p:nvPr/>
          </p:nvCxnSpPr>
          <p:spPr>
            <a:xfrm rot="10800000" flipH="1">
              <a:off x="9291459" y="4060154"/>
              <a:ext cx="1723887"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9" name="Rechthoek 11"/>
            <p:cNvSpPr>
              <a:spLocks noChangeAspect="1"/>
            </p:cNvSpPr>
            <p:nvPr/>
          </p:nvSpPr>
          <p:spPr>
            <a:xfrm>
              <a:off x="9241782" y="3989089"/>
              <a:ext cx="142129" cy="14212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grpSp>
        <p:nvGrpSpPr>
          <p:cNvPr id="609" name="Group 608"/>
          <p:cNvGrpSpPr/>
          <p:nvPr/>
        </p:nvGrpSpPr>
        <p:grpSpPr>
          <a:xfrm>
            <a:off x="5348176" y="723227"/>
            <a:ext cx="1912457" cy="2735487"/>
            <a:chOff x="5280507" y="964300"/>
            <a:chExt cx="2549943" cy="3647316"/>
          </a:xfrm>
        </p:grpSpPr>
        <p:grpSp>
          <p:nvGrpSpPr>
            <p:cNvPr id="610" name="Group 609"/>
            <p:cNvGrpSpPr/>
            <p:nvPr/>
          </p:nvGrpSpPr>
          <p:grpSpPr>
            <a:xfrm>
              <a:off x="5280507" y="1707024"/>
              <a:ext cx="2463733" cy="2904592"/>
              <a:chOff x="5280507" y="1707024"/>
              <a:chExt cx="2463733" cy="2904592"/>
            </a:xfrm>
          </p:grpSpPr>
          <p:grpSp>
            <p:nvGrpSpPr>
              <p:cNvPr id="613" name="Group 612"/>
              <p:cNvGrpSpPr/>
              <p:nvPr/>
            </p:nvGrpSpPr>
            <p:grpSpPr>
              <a:xfrm>
                <a:off x="5280507" y="1707024"/>
                <a:ext cx="2463733" cy="2904592"/>
                <a:chOff x="5280507" y="1707024"/>
                <a:chExt cx="2463733" cy="2904592"/>
              </a:xfrm>
            </p:grpSpPr>
            <p:cxnSp>
              <p:nvCxnSpPr>
                <p:cNvPr id="615" name="Straight Connector 614"/>
                <p:cNvCxnSpPr/>
                <p:nvPr/>
              </p:nvCxnSpPr>
              <p:spPr>
                <a:xfrm flipH="1">
                  <a:off x="5280507" y="3844754"/>
                  <a:ext cx="1463040"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6" name="Straight Connector 615"/>
                <p:cNvCxnSpPr/>
                <p:nvPr/>
              </p:nvCxnSpPr>
              <p:spPr>
                <a:xfrm flipH="1">
                  <a:off x="6244497" y="3234759"/>
                  <a:ext cx="1080598"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7" name="Straight Connector 616"/>
                <p:cNvCxnSpPr/>
                <p:nvPr/>
              </p:nvCxnSpPr>
              <p:spPr>
                <a:xfrm flipV="1">
                  <a:off x="6362628" y="3844754"/>
                  <a:ext cx="0" cy="690087"/>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8" name="Straight Connector 617"/>
                <p:cNvCxnSpPr/>
                <p:nvPr/>
              </p:nvCxnSpPr>
              <p:spPr>
                <a:xfrm flipH="1">
                  <a:off x="6130197" y="4264430"/>
                  <a:ext cx="232431"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9" name="Straight Connector 618"/>
                <p:cNvCxnSpPr/>
                <p:nvPr/>
              </p:nvCxnSpPr>
              <p:spPr>
                <a:xfrm flipV="1">
                  <a:off x="6743547" y="1792861"/>
                  <a:ext cx="0" cy="2267939"/>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0" name="Straight Connector 619"/>
                <p:cNvCxnSpPr/>
                <p:nvPr/>
              </p:nvCxnSpPr>
              <p:spPr>
                <a:xfrm flipH="1">
                  <a:off x="6515789" y="1792861"/>
                  <a:ext cx="1228451"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1" name="Straight Connector 620"/>
                <p:cNvCxnSpPr/>
                <p:nvPr/>
              </p:nvCxnSpPr>
              <p:spPr>
                <a:xfrm flipV="1">
                  <a:off x="7332443" y="3243726"/>
                  <a:ext cx="0" cy="80755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2" name="Rechthoek 11"/>
                <p:cNvSpPr>
                  <a:spLocks noChangeAspect="1"/>
                </p:cNvSpPr>
                <p:nvPr/>
              </p:nvSpPr>
              <p:spPr>
                <a:xfrm>
                  <a:off x="6026111" y="4183366"/>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sp>
              <p:nvSpPr>
                <p:cNvPr id="623" name="Rechthoek 11"/>
                <p:cNvSpPr>
                  <a:spLocks noChangeAspect="1"/>
                </p:cNvSpPr>
                <p:nvPr/>
              </p:nvSpPr>
              <p:spPr>
                <a:xfrm>
                  <a:off x="6274101" y="4438980"/>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sp>
              <p:nvSpPr>
                <p:cNvPr id="624" name="Rechthoek 11"/>
                <p:cNvSpPr>
                  <a:spLocks noChangeAspect="1"/>
                </p:cNvSpPr>
                <p:nvPr/>
              </p:nvSpPr>
              <p:spPr>
                <a:xfrm>
                  <a:off x="6179080" y="3152977"/>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sp>
              <p:nvSpPr>
                <p:cNvPr id="625" name="Rechthoek 11"/>
                <p:cNvSpPr>
                  <a:spLocks noChangeAspect="1"/>
                </p:cNvSpPr>
                <p:nvPr/>
              </p:nvSpPr>
              <p:spPr>
                <a:xfrm>
                  <a:off x="6656258" y="3960977"/>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sp>
              <p:nvSpPr>
                <p:cNvPr id="626" name="Rechthoek 11"/>
                <p:cNvSpPr>
                  <a:spLocks noChangeAspect="1"/>
                </p:cNvSpPr>
                <p:nvPr/>
              </p:nvSpPr>
              <p:spPr>
                <a:xfrm>
                  <a:off x="7246311" y="3960977"/>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sp>
              <p:nvSpPr>
                <p:cNvPr id="627" name="Rechthoek 11"/>
                <p:cNvSpPr>
                  <a:spLocks noChangeAspect="1"/>
                </p:cNvSpPr>
                <p:nvPr/>
              </p:nvSpPr>
              <p:spPr>
                <a:xfrm>
                  <a:off x="6457031" y="1707024"/>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sp>
            <p:nvSpPr>
              <p:cNvPr id="614" name="Rechthoek 11"/>
              <p:cNvSpPr>
                <a:spLocks noChangeAspect="1"/>
              </p:cNvSpPr>
              <p:nvPr/>
            </p:nvSpPr>
            <p:spPr>
              <a:xfrm>
                <a:off x="7237661" y="3520048"/>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cxnSp>
          <p:nvCxnSpPr>
            <p:cNvPr id="611" name="Straight Connector 610"/>
            <p:cNvCxnSpPr/>
            <p:nvPr/>
          </p:nvCxnSpPr>
          <p:spPr>
            <a:xfrm>
              <a:off x="7742708" y="1016231"/>
              <a:ext cx="0" cy="767826"/>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12" name="Rechthoek 11"/>
            <p:cNvSpPr>
              <a:spLocks noChangeAspect="1"/>
            </p:cNvSpPr>
            <p:nvPr/>
          </p:nvSpPr>
          <p:spPr>
            <a:xfrm>
              <a:off x="7657814" y="964300"/>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grpSp>
        <p:nvGrpSpPr>
          <p:cNvPr id="628" name="Group 627"/>
          <p:cNvGrpSpPr/>
          <p:nvPr/>
        </p:nvGrpSpPr>
        <p:grpSpPr>
          <a:xfrm>
            <a:off x="6373591" y="472923"/>
            <a:ext cx="2846612" cy="1732343"/>
            <a:chOff x="5159853" y="1511919"/>
            <a:chExt cx="1856799" cy="1129980"/>
          </a:xfrm>
        </p:grpSpPr>
        <p:grpSp>
          <p:nvGrpSpPr>
            <p:cNvPr id="629" name="Group 628"/>
            <p:cNvGrpSpPr/>
            <p:nvPr/>
          </p:nvGrpSpPr>
          <p:grpSpPr>
            <a:xfrm>
              <a:off x="5206252" y="1511919"/>
              <a:ext cx="1810400" cy="1053247"/>
              <a:chOff x="5391780" y="1454770"/>
              <a:chExt cx="1810400" cy="1053247"/>
            </a:xfrm>
          </p:grpSpPr>
          <p:sp>
            <p:nvSpPr>
              <p:cNvPr id="631" name="Freeform 630"/>
              <p:cNvSpPr/>
              <p:nvPr/>
            </p:nvSpPr>
            <p:spPr>
              <a:xfrm flipH="1">
                <a:off x="5391780" y="1454770"/>
                <a:ext cx="1002397" cy="1053247"/>
              </a:xfrm>
              <a:custGeom>
                <a:avLst/>
                <a:gdLst>
                  <a:gd name="connsiteX0" fmla="*/ 0 w 251927"/>
                  <a:gd name="connsiteY0" fmla="*/ 0 h 373225"/>
                  <a:gd name="connsiteX1" fmla="*/ 0 w 251927"/>
                  <a:gd name="connsiteY1" fmla="*/ 298580 h 373225"/>
                  <a:gd name="connsiteX2" fmla="*/ 251927 w 251927"/>
                  <a:gd name="connsiteY2" fmla="*/ 298580 h 373225"/>
                  <a:gd name="connsiteX3" fmla="*/ 251927 w 251927"/>
                  <a:gd name="connsiteY3" fmla="*/ 373225 h 373225"/>
                </a:gdLst>
                <a:ahLst/>
                <a:cxnLst>
                  <a:cxn ang="0">
                    <a:pos x="connsiteX0" y="connsiteY0"/>
                  </a:cxn>
                  <a:cxn ang="0">
                    <a:pos x="connsiteX1" y="connsiteY1"/>
                  </a:cxn>
                  <a:cxn ang="0">
                    <a:pos x="connsiteX2" y="connsiteY2"/>
                  </a:cxn>
                  <a:cxn ang="0">
                    <a:pos x="connsiteX3" y="connsiteY3"/>
                  </a:cxn>
                </a:cxnLst>
                <a:rect l="l" t="t" r="r" b="b"/>
                <a:pathLst>
                  <a:path w="251927" h="373225">
                    <a:moveTo>
                      <a:pt x="0" y="0"/>
                    </a:moveTo>
                    <a:lnTo>
                      <a:pt x="0" y="298580"/>
                    </a:lnTo>
                    <a:lnTo>
                      <a:pt x="251927" y="298580"/>
                    </a:lnTo>
                    <a:lnTo>
                      <a:pt x="251927" y="373225"/>
                    </a:lnTo>
                  </a:path>
                </a:pathLst>
              </a:custGeom>
              <a:no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srgbClr val="0099C6"/>
                  </a:solidFill>
                  <a:latin typeface="Calibri" pitchFamily="34" charset="0"/>
                </a:endParaRPr>
              </a:p>
            </p:txBody>
          </p:sp>
          <p:cxnSp>
            <p:nvCxnSpPr>
              <p:cNvPr id="632" name="Straight Connector 631"/>
              <p:cNvCxnSpPr/>
              <p:nvPr/>
            </p:nvCxnSpPr>
            <p:spPr>
              <a:xfrm flipH="1">
                <a:off x="6394178" y="1454770"/>
                <a:ext cx="808002"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630" name="Rechthoek 11"/>
            <p:cNvSpPr>
              <a:spLocks noChangeAspect="1"/>
            </p:cNvSpPr>
            <p:nvPr/>
          </p:nvSpPr>
          <p:spPr>
            <a:xfrm>
              <a:off x="5159853" y="2557443"/>
              <a:ext cx="84456" cy="8445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grpSp>
        <p:nvGrpSpPr>
          <p:cNvPr id="633" name="Group 632"/>
          <p:cNvGrpSpPr/>
          <p:nvPr/>
        </p:nvGrpSpPr>
        <p:grpSpPr>
          <a:xfrm>
            <a:off x="7030987" y="2517297"/>
            <a:ext cx="1135784" cy="1974694"/>
            <a:chOff x="7524264" y="3356393"/>
            <a:chExt cx="1514378" cy="2632925"/>
          </a:xfrm>
        </p:grpSpPr>
        <p:grpSp>
          <p:nvGrpSpPr>
            <p:cNvPr id="634" name="Group 633"/>
            <p:cNvGrpSpPr/>
            <p:nvPr/>
          </p:nvGrpSpPr>
          <p:grpSpPr>
            <a:xfrm>
              <a:off x="7531865" y="3356393"/>
              <a:ext cx="1506777" cy="2632925"/>
              <a:chOff x="7531865" y="3356393"/>
              <a:chExt cx="1506777" cy="2632925"/>
            </a:xfrm>
          </p:grpSpPr>
          <p:grpSp>
            <p:nvGrpSpPr>
              <p:cNvPr id="638" name="Group 637"/>
              <p:cNvGrpSpPr/>
              <p:nvPr/>
            </p:nvGrpSpPr>
            <p:grpSpPr>
              <a:xfrm>
                <a:off x="7531865" y="3356393"/>
                <a:ext cx="1506777" cy="2632925"/>
                <a:chOff x="7531865" y="3356393"/>
                <a:chExt cx="1506777" cy="2632925"/>
              </a:xfrm>
            </p:grpSpPr>
            <p:grpSp>
              <p:nvGrpSpPr>
                <p:cNvPr id="642" name="Group 641"/>
                <p:cNvGrpSpPr/>
                <p:nvPr/>
              </p:nvGrpSpPr>
              <p:grpSpPr>
                <a:xfrm>
                  <a:off x="7531865" y="3382618"/>
                  <a:ext cx="1420459" cy="1970579"/>
                  <a:chOff x="5495512" y="1627228"/>
                  <a:chExt cx="694907" cy="964033"/>
                </a:xfrm>
              </p:grpSpPr>
              <p:sp>
                <p:nvSpPr>
                  <p:cNvPr id="645" name="Freeform 644"/>
                  <p:cNvSpPr/>
                  <p:nvPr/>
                </p:nvSpPr>
                <p:spPr>
                  <a:xfrm flipH="1">
                    <a:off x="5538134" y="1627228"/>
                    <a:ext cx="652285" cy="909518"/>
                  </a:xfrm>
                  <a:custGeom>
                    <a:avLst/>
                    <a:gdLst>
                      <a:gd name="connsiteX0" fmla="*/ 0 w 251927"/>
                      <a:gd name="connsiteY0" fmla="*/ 0 h 373225"/>
                      <a:gd name="connsiteX1" fmla="*/ 0 w 251927"/>
                      <a:gd name="connsiteY1" fmla="*/ 298580 h 373225"/>
                      <a:gd name="connsiteX2" fmla="*/ 251927 w 251927"/>
                      <a:gd name="connsiteY2" fmla="*/ 298580 h 373225"/>
                      <a:gd name="connsiteX3" fmla="*/ 251927 w 251927"/>
                      <a:gd name="connsiteY3" fmla="*/ 373225 h 373225"/>
                    </a:gdLst>
                    <a:ahLst/>
                    <a:cxnLst>
                      <a:cxn ang="0">
                        <a:pos x="connsiteX0" y="connsiteY0"/>
                      </a:cxn>
                      <a:cxn ang="0">
                        <a:pos x="connsiteX1" y="connsiteY1"/>
                      </a:cxn>
                      <a:cxn ang="0">
                        <a:pos x="connsiteX2" y="connsiteY2"/>
                      </a:cxn>
                      <a:cxn ang="0">
                        <a:pos x="connsiteX3" y="connsiteY3"/>
                      </a:cxn>
                    </a:cxnLst>
                    <a:rect l="l" t="t" r="r" b="b"/>
                    <a:pathLst>
                      <a:path w="251927" h="373225">
                        <a:moveTo>
                          <a:pt x="0" y="0"/>
                        </a:moveTo>
                        <a:lnTo>
                          <a:pt x="0" y="298580"/>
                        </a:lnTo>
                        <a:lnTo>
                          <a:pt x="251927" y="298580"/>
                        </a:lnTo>
                        <a:lnTo>
                          <a:pt x="251927" y="373225"/>
                        </a:lnTo>
                      </a:path>
                    </a:pathLst>
                  </a:custGeom>
                  <a:no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srgbClr val="0099C6"/>
                      </a:solidFill>
                      <a:latin typeface="Calibri" pitchFamily="34" charset="0"/>
                    </a:endParaRPr>
                  </a:p>
                </p:txBody>
              </p:sp>
              <p:sp>
                <p:nvSpPr>
                  <p:cNvPr id="646" name="Rechthoek 11"/>
                  <p:cNvSpPr>
                    <a:spLocks noChangeAspect="1"/>
                  </p:cNvSpPr>
                  <p:nvPr/>
                </p:nvSpPr>
                <p:spPr>
                  <a:xfrm>
                    <a:off x="5495512" y="2506805"/>
                    <a:ext cx="84456" cy="8445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cxnSp>
              <p:nvCxnSpPr>
                <p:cNvPr id="643" name="Straight Connector 642"/>
                <p:cNvCxnSpPr/>
                <p:nvPr/>
              </p:nvCxnSpPr>
              <p:spPr>
                <a:xfrm flipV="1">
                  <a:off x="8952323" y="4741318"/>
                  <a:ext cx="0" cy="124800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4" name="Rechthoek 11"/>
                <p:cNvSpPr>
                  <a:spLocks noChangeAspect="1"/>
                </p:cNvSpPr>
                <p:nvPr/>
              </p:nvSpPr>
              <p:spPr>
                <a:xfrm>
                  <a:off x="8866006" y="3356393"/>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grpSp>
            <p:nvGrpSpPr>
              <p:cNvPr id="639" name="Group 638"/>
              <p:cNvGrpSpPr/>
              <p:nvPr/>
            </p:nvGrpSpPr>
            <p:grpSpPr>
              <a:xfrm>
                <a:off x="7950984" y="3556416"/>
                <a:ext cx="1001258" cy="892746"/>
                <a:chOff x="7950984" y="3556416"/>
                <a:chExt cx="1001258" cy="892746"/>
              </a:xfrm>
            </p:grpSpPr>
            <p:sp>
              <p:nvSpPr>
                <p:cNvPr id="640" name="Freeform 639"/>
                <p:cNvSpPr/>
                <p:nvPr/>
              </p:nvSpPr>
              <p:spPr>
                <a:xfrm flipH="1">
                  <a:off x="8033926" y="3556416"/>
                  <a:ext cx="918316" cy="781258"/>
                </a:xfrm>
                <a:custGeom>
                  <a:avLst/>
                  <a:gdLst>
                    <a:gd name="connsiteX0" fmla="*/ 0 w 251927"/>
                    <a:gd name="connsiteY0" fmla="*/ 0 h 373225"/>
                    <a:gd name="connsiteX1" fmla="*/ 0 w 251927"/>
                    <a:gd name="connsiteY1" fmla="*/ 298580 h 373225"/>
                    <a:gd name="connsiteX2" fmla="*/ 251927 w 251927"/>
                    <a:gd name="connsiteY2" fmla="*/ 298580 h 373225"/>
                    <a:gd name="connsiteX3" fmla="*/ 251927 w 251927"/>
                    <a:gd name="connsiteY3" fmla="*/ 373225 h 373225"/>
                  </a:gdLst>
                  <a:ahLst/>
                  <a:cxnLst>
                    <a:cxn ang="0">
                      <a:pos x="connsiteX0" y="connsiteY0"/>
                    </a:cxn>
                    <a:cxn ang="0">
                      <a:pos x="connsiteX1" y="connsiteY1"/>
                    </a:cxn>
                    <a:cxn ang="0">
                      <a:pos x="connsiteX2" y="connsiteY2"/>
                    </a:cxn>
                    <a:cxn ang="0">
                      <a:pos x="connsiteX3" y="connsiteY3"/>
                    </a:cxn>
                  </a:cxnLst>
                  <a:rect l="l" t="t" r="r" b="b"/>
                  <a:pathLst>
                    <a:path w="251927" h="373225">
                      <a:moveTo>
                        <a:pt x="0" y="0"/>
                      </a:moveTo>
                      <a:lnTo>
                        <a:pt x="0" y="298580"/>
                      </a:lnTo>
                      <a:lnTo>
                        <a:pt x="251927" y="298580"/>
                      </a:lnTo>
                      <a:lnTo>
                        <a:pt x="251927" y="373225"/>
                      </a:lnTo>
                    </a:path>
                  </a:pathLst>
                </a:custGeom>
                <a:no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srgbClr val="0099C6"/>
                    </a:solidFill>
                    <a:latin typeface="Calibri" pitchFamily="34" charset="0"/>
                  </a:endParaRPr>
                </a:p>
              </p:txBody>
            </p:sp>
            <p:sp>
              <p:nvSpPr>
                <p:cNvPr id="641" name="Rechthoek 11"/>
                <p:cNvSpPr>
                  <a:spLocks noChangeAspect="1"/>
                </p:cNvSpPr>
                <p:nvPr/>
              </p:nvSpPr>
              <p:spPr>
                <a:xfrm>
                  <a:off x="7950984" y="4276526"/>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grpSp>
        <p:grpSp>
          <p:nvGrpSpPr>
            <p:cNvPr id="635" name="Group 634"/>
            <p:cNvGrpSpPr/>
            <p:nvPr/>
          </p:nvGrpSpPr>
          <p:grpSpPr>
            <a:xfrm>
              <a:off x="7524264" y="4391569"/>
              <a:ext cx="172636" cy="527185"/>
              <a:chOff x="7524264" y="4391569"/>
              <a:chExt cx="172636" cy="527185"/>
            </a:xfrm>
          </p:grpSpPr>
          <p:cxnSp>
            <p:nvCxnSpPr>
              <p:cNvPr id="636" name="Straight Connector 635"/>
              <p:cNvCxnSpPr/>
              <p:nvPr/>
            </p:nvCxnSpPr>
            <p:spPr>
              <a:xfrm>
                <a:off x="7618908" y="4474011"/>
                <a:ext cx="0" cy="444743"/>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37" name="Rechthoek 11"/>
              <p:cNvSpPr>
                <a:spLocks noChangeAspect="1"/>
              </p:cNvSpPr>
              <p:nvPr/>
            </p:nvSpPr>
            <p:spPr>
              <a:xfrm>
                <a:off x="7524264" y="4391569"/>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grpSp>
      <p:grpSp>
        <p:nvGrpSpPr>
          <p:cNvPr id="653" name="Group 652"/>
          <p:cNvGrpSpPr/>
          <p:nvPr/>
        </p:nvGrpSpPr>
        <p:grpSpPr>
          <a:xfrm>
            <a:off x="4308224" y="1853829"/>
            <a:ext cx="1544910" cy="1662142"/>
            <a:chOff x="3777686" y="1853829"/>
            <a:chExt cx="1544910" cy="1662142"/>
          </a:xfrm>
        </p:grpSpPr>
        <p:grpSp>
          <p:nvGrpSpPr>
            <p:cNvPr id="600" name="Group 599"/>
            <p:cNvGrpSpPr/>
            <p:nvPr/>
          </p:nvGrpSpPr>
          <p:grpSpPr>
            <a:xfrm>
              <a:off x="3777686" y="1853829"/>
              <a:ext cx="1248550" cy="1662142"/>
              <a:chOff x="3893914" y="2471772"/>
              <a:chExt cx="1664733" cy="2216189"/>
            </a:xfrm>
          </p:grpSpPr>
          <p:cxnSp>
            <p:nvCxnSpPr>
              <p:cNvPr id="601" name="Straight Connector 600"/>
              <p:cNvCxnSpPr/>
              <p:nvPr/>
            </p:nvCxnSpPr>
            <p:spPr>
              <a:xfrm flipH="1">
                <a:off x="3980232" y="4576792"/>
                <a:ext cx="1273379"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2" name="Straight Connector 601"/>
              <p:cNvCxnSpPr/>
              <p:nvPr/>
            </p:nvCxnSpPr>
            <p:spPr>
              <a:xfrm flipH="1">
                <a:off x="4764114" y="2561066"/>
                <a:ext cx="498550"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3" name="Straight Connector 602"/>
              <p:cNvCxnSpPr/>
              <p:nvPr/>
            </p:nvCxnSpPr>
            <p:spPr>
              <a:xfrm flipV="1">
                <a:off x="5261052" y="2550371"/>
                <a:ext cx="0" cy="2030409"/>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4" name="Straight Connector 603"/>
              <p:cNvCxnSpPr/>
              <p:nvPr/>
            </p:nvCxnSpPr>
            <p:spPr>
              <a:xfrm flipH="1">
                <a:off x="5262238" y="2953304"/>
                <a:ext cx="234634"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5" name="Rechthoek 11"/>
              <p:cNvSpPr>
                <a:spLocks noChangeAspect="1"/>
              </p:cNvSpPr>
              <p:nvPr/>
            </p:nvSpPr>
            <p:spPr>
              <a:xfrm>
                <a:off x="4688980" y="2471772"/>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sp>
            <p:nvSpPr>
              <p:cNvPr id="606" name="Rechthoek 11"/>
              <p:cNvSpPr>
                <a:spLocks noChangeAspect="1"/>
              </p:cNvSpPr>
              <p:nvPr/>
            </p:nvSpPr>
            <p:spPr>
              <a:xfrm>
                <a:off x="5386011" y="2866986"/>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sp>
            <p:nvSpPr>
              <p:cNvPr id="607" name="Rechthoek 11"/>
              <p:cNvSpPr>
                <a:spLocks noChangeAspect="1"/>
              </p:cNvSpPr>
              <p:nvPr/>
            </p:nvSpPr>
            <p:spPr>
              <a:xfrm>
                <a:off x="3893914" y="4515325"/>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sp>
            <p:nvSpPr>
              <p:cNvPr id="608" name="Rechthoek 11"/>
              <p:cNvSpPr>
                <a:spLocks noChangeAspect="1"/>
              </p:cNvSpPr>
              <p:nvPr/>
            </p:nvSpPr>
            <p:spPr>
              <a:xfrm>
                <a:off x="5169238" y="4515325"/>
                <a:ext cx="172636" cy="1726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cxnSp>
          <p:nvCxnSpPr>
            <p:cNvPr id="647" name="Straight Connector 646"/>
            <p:cNvCxnSpPr/>
            <p:nvPr/>
          </p:nvCxnSpPr>
          <p:spPr>
            <a:xfrm flipH="1">
              <a:off x="4804248" y="2494210"/>
              <a:ext cx="460125"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8" name="Rechthoek 11"/>
            <p:cNvSpPr>
              <a:spLocks noChangeAspect="1"/>
            </p:cNvSpPr>
            <p:nvPr/>
          </p:nvSpPr>
          <p:spPr>
            <a:xfrm>
              <a:off x="5193119" y="2417675"/>
              <a:ext cx="129477" cy="12947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sp>
          <p:nvSpPr>
            <p:cNvPr id="594" name="Rechthoek 11"/>
            <p:cNvSpPr>
              <a:spLocks noChangeAspect="1"/>
            </p:cNvSpPr>
            <p:nvPr/>
          </p:nvSpPr>
          <p:spPr>
            <a:xfrm>
              <a:off x="4979204" y="2680151"/>
              <a:ext cx="129477" cy="12947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cxnSp>
          <p:nvCxnSpPr>
            <p:cNvPr id="657" name="Straight Connector 656"/>
            <p:cNvCxnSpPr/>
            <p:nvPr/>
          </p:nvCxnSpPr>
          <p:spPr>
            <a:xfrm flipH="1">
              <a:off x="4804248" y="2756764"/>
              <a:ext cx="180000"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654" name="Group 653"/>
          <p:cNvGrpSpPr/>
          <p:nvPr/>
        </p:nvGrpSpPr>
        <p:grpSpPr>
          <a:xfrm>
            <a:off x="5815963" y="0"/>
            <a:ext cx="468157" cy="2345550"/>
            <a:chOff x="5285419" y="0"/>
            <a:chExt cx="468157" cy="2345550"/>
          </a:xfrm>
        </p:grpSpPr>
        <p:cxnSp>
          <p:nvCxnSpPr>
            <p:cNvPr id="649" name="Straight Connector 648"/>
            <p:cNvCxnSpPr/>
            <p:nvPr/>
          </p:nvCxnSpPr>
          <p:spPr>
            <a:xfrm flipV="1">
              <a:off x="5350157" y="0"/>
              <a:ext cx="0" cy="2226849"/>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0" name="Rechthoek 11"/>
            <p:cNvSpPr>
              <a:spLocks noChangeAspect="1"/>
            </p:cNvSpPr>
            <p:nvPr/>
          </p:nvSpPr>
          <p:spPr>
            <a:xfrm>
              <a:off x="5285419" y="2216073"/>
              <a:ext cx="129477" cy="12947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cxnSp>
          <p:nvCxnSpPr>
            <p:cNvPr id="651" name="Straight Connector 650"/>
            <p:cNvCxnSpPr/>
            <p:nvPr/>
          </p:nvCxnSpPr>
          <p:spPr>
            <a:xfrm flipH="1">
              <a:off x="5361577" y="1869884"/>
              <a:ext cx="333767" cy="0"/>
            </a:xfrm>
            <a:prstGeom prst="line">
              <a:avLst/>
            </a:prstGeom>
            <a:ln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2" name="Rechthoek 11"/>
            <p:cNvSpPr>
              <a:spLocks noChangeAspect="1"/>
            </p:cNvSpPr>
            <p:nvPr/>
          </p:nvSpPr>
          <p:spPr>
            <a:xfrm>
              <a:off x="5624099" y="1810440"/>
              <a:ext cx="129477" cy="12947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sp>
        <p:nvSpPr>
          <p:cNvPr id="655" name="Rechthoek 10"/>
          <p:cNvSpPr>
            <a:spLocks noChangeAspect="1"/>
          </p:cNvSpPr>
          <p:nvPr/>
        </p:nvSpPr>
        <p:spPr>
          <a:xfrm>
            <a:off x="1057277" y="193297"/>
            <a:ext cx="1152000" cy="1152000"/>
          </a:xfrm>
          <a:prstGeom prst="rect">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solidFill>
                  <a:prstClr val="white"/>
                </a:solidFill>
                <a:latin typeface="Calibri" pitchFamily="34" charset="0"/>
              </a:rPr>
              <a:t>        </a:t>
            </a:r>
            <a:endParaRPr lang="en-GB" dirty="0">
              <a:solidFill>
                <a:prstClr val="white"/>
              </a:solidFill>
              <a:latin typeface="Calibri" pitchFamily="34" charset="0"/>
            </a:endParaRPr>
          </a:p>
        </p:txBody>
      </p:sp>
      <p:sp>
        <p:nvSpPr>
          <p:cNvPr id="658" name="Rechthoek 10"/>
          <p:cNvSpPr>
            <a:spLocks noChangeAspect="1"/>
          </p:cNvSpPr>
          <p:nvPr/>
        </p:nvSpPr>
        <p:spPr>
          <a:xfrm>
            <a:off x="2932411" y="408505"/>
            <a:ext cx="1692000" cy="1692000"/>
          </a:xfrm>
          <a:prstGeom prst="rect">
            <a:avLst/>
          </a:prstGeom>
          <a:noFill/>
          <a:ln w="12700">
            <a:solidFill>
              <a:srgbClr val="0099C6"/>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solidFill>
                  <a:prstClr val="white"/>
                </a:solidFill>
                <a:latin typeface="Calibri" pitchFamily="34" charset="0"/>
              </a:rPr>
              <a:t>        </a:t>
            </a:r>
            <a:endParaRPr lang="en-GB" dirty="0">
              <a:solidFill>
                <a:prstClr val="white"/>
              </a:solidFill>
              <a:latin typeface="Calibri" pitchFamily="34" charset="0"/>
            </a:endParaRPr>
          </a:p>
        </p:txBody>
      </p:sp>
      <p:grpSp>
        <p:nvGrpSpPr>
          <p:cNvPr id="656" name="Group 655"/>
          <p:cNvGrpSpPr/>
          <p:nvPr/>
        </p:nvGrpSpPr>
        <p:grpSpPr>
          <a:xfrm>
            <a:off x="2219329" y="728756"/>
            <a:ext cx="718570" cy="142763"/>
            <a:chOff x="2219328" y="728749"/>
            <a:chExt cx="718570" cy="142763"/>
          </a:xfrm>
        </p:grpSpPr>
        <p:cxnSp>
          <p:nvCxnSpPr>
            <p:cNvPr id="322" name="Straight Connector 321"/>
            <p:cNvCxnSpPr>
              <a:stCxn id="596" idx="1"/>
            </p:cNvCxnSpPr>
            <p:nvPr/>
          </p:nvCxnSpPr>
          <p:spPr>
            <a:xfrm flipH="1" flipV="1">
              <a:off x="2219328" y="800130"/>
              <a:ext cx="575807" cy="1"/>
            </a:xfrm>
            <a:prstGeom prst="line">
              <a:avLst/>
            </a:prstGeom>
            <a:ln cap="flat">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6" name="Rechthoek 11"/>
            <p:cNvSpPr>
              <a:spLocks noChangeAspect="1"/>
            </p:cNvSpPr>
            <p:nvPr/>
          </p:nvSpPr>
          <p:spPr>
            <a:xfrm>
              <a:off x="2795135" y="728749"/>
              <a:ext cx="142763" cy="14276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grpSp>
        <p:nvGrpSpPr>
          <p:cNvPr id="661" name="Group 660"/>
          <p:cNvGrpSpPr/>
          <p:nvPr/>
        </p:nvGrpSpPr>
        <p:grpSpPr>
          <a:xfrm>
            <a:off x="3020198" y="2108268"/>
            <a:ext cx="144000" cy="385945"/>
            <a:chOff x="2393208" y="1972555"/>
            <a:chExt cx="442240" cy="350537"/>
          </a:xfrm>
        </p:grpSpPr>
        <p:cxnSp>
          <p:nvCxnSpPr>
            <p:cNvPr id="320" name="Straight Connector 319"/>
            <p:cNvCxnSpPr/>
            <p:nvPr/>
          </p:nvCxnSpPr>
          <p:spPr>
            <a:xfrm>
              <a:off x="2614325" y="2107092"/>
              <a:ext cx="0" cy="216000"/>
            </a:xfrm>
            <a:prstGeom prst="line">
              <a:avLst/>
            </a:prstGeom>
            <a:ln cap="flat">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5" name="Rectangle 594"/>
            <p:cNvSpPr/>
            <p:nvPr/>
          </p:nvSpPr>
          <p:spPr>
            <a:xfrm>
              <a:off x="2393208" y="1972555"/>
              <a:ext cx="442240" cy="14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2174"/>
              <a:endParaRPr lang="en-GB" sz="1600" dirty="0">
                <a:solidFill>
                  <a:prstClr val="white"/>
                </a:solidFill>
                <a:latin typeface="Calibri" pitchFamily="34" charset="0"/>
              </a:endParaRPr>
            </a:p>
          </p:txBody>
        </p:sp>
      </p:grpSp>
      <p:sp>
        <p:nvSpPr>
          <p:cNvPr id="323" name="Rechthoek 10"/>
          <p:cNvSpPr>
            <a:spLocks/>
          </p:cNvSpPr>
          <p:nvPr/>
        </p:nvSpPr>
        <p:spPr>
          <a:xfrm>
            <a:off x="1290463" y="2479232"/>
            <a:ext cx="1944000" cy="194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5990" tIns="45709" rIns="35990" bIns="45709" rtlCol="0" anchor="ctr"/>
          <a:lstStyle/>
          <a:p>
            <a:pPr algn="ctr" defTabSz="402174"/>
            <a:r>
              <a:rPr lang="en-GB" dirty="0" smtClean="0">
                <a:solidFill>
                  <a:prstClr val="white"/>
                </a:solidFill>
                <a:latin typeface="Calibri" pitchFamily="34" charset="0"/>
              </a:rPr>
              <a:t>In 2020 we want to be part of 25% of all smart energy systems in at least 5 different markets. </a:t>
            </a:r>
            <a:endParaRPr lang="en-GB" dirty="0">
              <a:solidFill>
                <a:prstClr val="white"/>
              </a:solidFill>
              <a:latin typeface="Calibri" pitchFamily="34" charset="0"/>
            </a:endParaRPr>
          </a:p>
        </p:txBody>
      </p:sp>
      <p:sp>
        <p:nvSpPr>
          <p:cNvPr id="659" name="Rechthoek 10"/>
          <p:cNvSpPr>
            <a:spLocks noChangeAspect="1"/>
          </p:cNvSpPr>
          <p:nvPr/>
        </p:nvSpPr>
        <p:spPr>
          <a:xfrm>
            <a:off x="1290463" y="2479232"/>
            <a:ext cx="1944000" cy="1944000"/>
          </a:xfrm>
          <a:prstGeom prst="rect">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solidFill>
                  <a:prstClr val="white"/>
                </a:solidFill>
                <a:latin typeface="Calibri" pitchFamily="34" charset="0"/>
              </a:rPr>
              <a:t>        </a:t>
            </a:r>
            <a:endParaRPr lang="en-GB" dirty="0">
              <a:solidFill>
                <a:prstClr val="white"/>
              </a:solidFill>
              <a:latin typeface="Calibri" pitchFamily="34" charset="0"/>
            </a:endParaRPr>
          </a:p>
        </p:txBody>
      </p:sp>
    </p:spTree>
    <p:extLst>
      <p:ext uri="{BB962C8B-B14F-4D97-AF65-F5344CB8AC3E}">
        <p14:creationId xmlns:p14="http://schemas.microsoft.com/office/powerpoint/2010/main" val="371228263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5"/>
          <p:cNvSpPr>
            <a:spLocks/>
          </p:cNvSpPr>
          <p:nvPr/>
        </p:nvSpPr>
        <p:spPr>
          <a:xfrm>
            <a:off x="0" y="0"/>
            <a:ext cx="9144000" cy="4464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solidFill>
                  <a:prstClr val="white"/>
                </a:solidFill>
                <a:latin typeface="Calibri" pitchFamily="34" charset="0"/>
              </a:rPr>
              <a:t>        </a:t>
            </a:r>
            <a:endParaRPr lang="en-GB" dirty="0">
              <a:solidFill>
                <a:prstClr val="white"/>
              </a:solidFill>
              <a:latin typeface="Calibri" pitchFamily="34" charset="0"/>
            </a:endParaRPr>
          </a:p>
        </p:txBody>
      </p:sp>
      <p:pic>
        <p:nvPicPr>
          <p:cNvPr id="5" name="Afbeelding 7" descr="USEF outline blauw_20%.png"/>
          <p:cNvPicPr>
            <a:picLocks noChangeAspect="1"/>
          </p:cNvPicPr>
          <p:nvPr/>
        </p:nvPicPr>
        <p:blipFill rotWithShape="1">
          <a:blip r:embed="rId3">
            <a:extLst>
              <a:ext uri="{28A0092B-C50C-407E-A947-70E740481C1C}">
                <a14:useLocalDpi xmlns:a14="http://schemas.microsoft.com/office/drawing/2010/main" val="0"/>
              </a:ext>
            </a:extLst>
          </a:blip>
          <a:srcRect r="39303"/>
          <a:stretch/>
        </p:blipFill>
        <p:spPr>
          <a:xfrm>
            <a:off x="8300903" y="152487"/>
            <a:ext cx="843103" cy="2471141"/>
          </a:xfrm>
          <a:prstGeom prst="rect">
            <a:avLst/>
          </a:prstGeom>
        </p:spPr>
      </p:pic>
      <p:pic>
        <p:nvPicPr>
          <p:cNvPr id="6" name="Tijdelijke aanduiding voor inhoud 23" descr="USEF Windmolens.jp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4837309" y="361942"/>
            <a:ext cx="1453987" cy="1453987"/>
          </a:xfrm>
          <a:prstGeom prst="rect">
            <a:avLst/>
          </a:prstGeom>
          <a:ln>
            <a:solidFill>
              <a:schemeClr val="bg1"/>
            </a:solidFill>
          </a:ln>
        </p:spPr>
      </p:pic>
      <p:pic>
        <p:nvPicPr>
          <p:cNvPr id="7" name="Tijdelijke aanduiding voor inhoud 24" descr="USEF Zonnepanelen.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1728002" y="362495"/>
            <a:ext cx="1452660" cy="1452660"/>
          </a:xfrm>
          <a:prstGeom prst="rect">
            <a:avLst/>
          </a:prstGeom>
          <a:ln>
            <a:solidFill>
              <a:schemeClr val="bg1"/>
            </a:solidFill>
          </a:ln>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5388" y="361943"/>
            <a:ext cx="1453987" cy="1453987"/>
          </a:xfrm>
          <a:prstGeom prst="rect">
            <a:avLst/>
          </a:prstGeom>
          <a:ln>
            <a:solidFill>
              <a:schemeClr val="bg1"/>
            </a:solidFill>
          </a:ln>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79302" y="363062"/>
            <a:ext cx="1459373" cy="1451333"/>
          </a:xfrm>
          <a:prstGeom prst="rect">
            <a:avLst/>
          </a:prstGeom>
          <a:ln>
            <a:solidFill>
              <a:schemeClr val="bg1"/>
            </a:solidFill>
          </a:ln>
        </p:spPr>
      </p:pic>
      <p:sp>
        <p:nvSpPr>
          <p:cNvPr id="10" name="Titel 1"/>
          <p:cNvSpPr txBox="1">
            <a:spLocks/>
          </p:cNvSpPr>
          <p:nvPr/>
        </p:nvSpPr>
        <p:spPr>
          <a:xfrm>
            <a:off x="133765" y="1892591"/>
            <a:ext cx="5993026" cy="624273"/>
          </a:xfrm>
          <a:prstGeom prst="rect">
            <a:avLst/>
          </a:prstGeom>
        </p:spPr>
        <p:txBody>
          <a:bodyPr lIns="91417" tIns="45709" rIns="91417" bIns="45709"/>
          <a:lstStyle>
            <a:lvl1pPr algn="l" defTabSz="457200" rtl="0" eaLnBrk="1" latinLnBrk="0" hangingPunct="1">
              <a:spcBef>
                <a:spcPct val="0"/>
              </a:spcBef>
              <a:buNone/>
              <a:defRPr sz="4400" b="0" i="0" kern="1200">
                <a:solidFill>
                  <a:schemeClr val="bg1"/>
                </a:solidFill>
                <a:latin typeface="Arial"/>
                <a:ea typeface="+mj-ea"/>
                <a:cs typeface="Arial"/>
              </a:defRPr>
            </a:lvl1pPr>
          </a:lstStyle>
          <a:p>
            <a:r>
              <a:rPr lang="en-GB" b="1" dirty="0" smtClean="0">
                <a:solidFill>
                  <a:prstClr val="white"/>
                </a:solidFill>
                <a:latin typeface="Calibri" pitchFamily="34" charset="0"/>
              </a:rPr>
              <a:t>Join us</a:t>
            </a:r>
            <a:endParaRPr lang="en-GB" b="1" dirty="0">
              <a:solidFill>
                <a:prstClr val="white"/>
              </a:solidFill>
              <a:latin typeface="Calibri" pitchFamily="34" charset="0"/>
            </a:endParaRPr>
          </a:p>
        </p:txBody>
      </p:sp>
      <p:sp>
        <p:nvSpPr>
          <p:cNvPr id="11" name="Titel 1"/>
          <p:cNvSpPr txBox="1">
            <a:spLocks/>
          </p:cNvSpPr>
          <p:nvPr/>
        </p:nvSpPr>
        <p:spPr>
          <a:xfrm>
            <a:off x="133770" y="3075284"/>
            <a:ext cx="5396405" cy="1127309"/>
          </a:xfrm>
          <a:prstGeom prst="rect">
            <a:avLst/>
          </a:prstGeom>
        </p:spPr>
        <p:txBody>
          <a:bodyPr lIns="91417" tIns="45709" rIns="91417" bIns="45709"/>
          <a:lstStyle>
            <a:lvl1pPr algn="l" defTabSz="457200" rtl="0" eaLnBrk="1" latinLnBrk="0" hangingPunct="1">
              <a:spcBef>
                <a:spcPct val="0"/>
              </a:spcBef>
              <a:buNone/>
              <a:defRPr sz="4400" b="0" i="0" kern="1200">
                <a:solidFill>
                  <a:schemeClr val="bg1"/>
                </a:solidFill>
                <a:latin typeface="Arial"/>
                <a:ea typeface="+mj-ea"/>
                <a:cs typeface="Arial"/>
              </a:defRPr>
            </a:lvl1pPr>
          </a:lstStyle>
          <a:p>
            <a:pPr>
              <a:spcAft>
                <a:spcPts val="600"/>
              </a:spcAft>
            </a:pPr>
            <a:r>
              <a:rPr lang="en-GB" sz="1600" dirty="0">
                <a:solidFill>
                  <a:prstClr val="white"/>
                </a:solidFill>
                <a:latin typeface="Calibri" pitchFamily="34" charset="0"/>
              </a:rPr>
              <a:t>Name: Peter </a:t>
            </a:r>
            <a:r>
              <a:rPr lang="en-GB" sz="1600" dirty="0" err="1">
                <a:solidFill>
                  <a:prstClr val="white"/>
                </a:solidFill>
                <a:latin typeface="Calibri" pitchFamily="34" charset="0"/>
              </a:rPr>
              <a:t>Molengraaf</a:t>
            </a:r>
            <a:endParaRPr lang="en-GB" sz="1600" b="1" dirty="0">
              <a:solidFill>
                <a:prstClr val="white"/>
              </a:solidFill>
              <a:latin typeface="Calibri" pitchFamily="34" charset="0"/>
            </a:endParaRPr>
          </a:p>
          <a:p>
            <a:pPr>
              <a:spcAft>
                <a:spcPts val="600"/>
              </a:spcAft>
            </a:pPr>
            <a:r>
              <a:rPr lang="en-GB" sz="1600" dirty="0">
                <a:solidFill>
                  <a:prstClr val="white"/>
                </a:solidFill>
                <a:latin typeface="Calibri" pitchFamily="34" charset="0"/>
              </a:rPr>
              <a:t>Email: contact@usef.info</a:t>
            </a:r>
          </a:p>
          <a:p>
            <a:pPr>
              <a:spcAft>
                <a:spcPts val="600"/>
              </a:spcAft>
            </a:pPr>
            <a:r>
              <a:rPr lang="en-GB" sz="1600" dirty="0">
                <a:solidFill>
                  <a:prstClr val="white"/>
                </a:solidFill>
                <a:latin typeface="Calibri" pitchFamily="34" charset="0"/>
              </a:rPr>
              <a:t>www.usef.energy</a:t>
            </a:r>
          </a:p>
          <a:p>
            <a:pPr>
              <a:spcAft>
                <a:spcPts val="600"/>
              </a:spcAft>
            </a:pPr>
            <a:r>
              <a:rPr lang="en-GB" sz="1600" dirty="0">
                <a:solidFill>
                  <a:prstClr val="white"/>
                </a:solidFill>
                <a:latin typeface="Calibri" pitchFamily="34" charset="0"/>
              </a:rPr>
              <a:t>Twitter: @</a:t>
            </a:r>
            <a:r>
              <a:rPr lang="en-GB" sz="1600" dirty="0" err="1">
                <a:solidFill>
                  <a:prstClr val="white"/>
                </a:solidFill>
                <a:latin typeface="Calibri" pitchFamily="34" charset="0"/>
              </a:rPr>
              <a:t>USEFsmartenergy</a:t>
            </a:r>
            <a:endParaRPr lang="en-GB" sz="1600" dirty="0">
              <a:solidFill>
                <a:prstClr val="white"/>
              </a:solidFill>
              <a:latin typeface="Calibri" pitchFamily="34" charset="0"/>
            </a:endParaRPr>
          </a:p>
        </p:txBody>
      </p:sp>
      <p:sp>
        <p:nvSpPr>
          <p:cNvPr id="12" name="Rectangle 11"/>
          <p:cNvSpPr/>
          <p:nvPr/>
        </p:nvSpPr>
        <p:spPr>
          <a:xfrm>
            <a:off x="7392288" y="2881889"/>
            <a:ext cx="1512000" cy="1512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sz="1600" b="1" dirty="0">
                <a:solidFill>
                  <a:prstClr val="white"/>
                </a:solidFill>
                <a:latin typeface="Calibri" pitchFamily="34" charset="0"/>
                <a:ea typeface="Calibri" pitchFamily="34" charset="0"/>
                <a:cs typeface="Times New Roman" panose="02020603050405020304" pitchFamily="18" charset="0"/>
              </a:rPr>
              <a:t>A solid foundation for smart energy futures</a:t>
            </a:r>
            <a:endParaRPr lang="en-GB" sz="1600" dirty="0">
              <a:solidFill>
                <a:prstClr val="white"/>
              </a:solidFill>
              <a:latin typeface="Calibri" pitchFamily="34" charset="0"/>
            </a:endParaRPr>
          </a:p>
        </p:txBody>
      </p:sp>
    </p:spTree>
    <p:extLst>
      <p:ext uri="{BB962C8B-B14F-4D97-AF65-F5344CB8AC3E}">
        <p14:creationId xmlns:p14="http://schemas.microsoft.com/office/powerpoint/2010/main" val="18863602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voettekst 2"/>
          <p:cNvSpPr>
            <a:spLocks noGrp="1"/>
          </p:cNvSpPr>
          <p:nvPr>
            <p:ph type="ftr" sz="quarter" idx="11"/>
          </p:nvPr>
        </p:nvSpPr>
        <p:spPr/>
        <p:txBody>
          <a:bodyPr/>
          <a:lstStyle/>
          <a:p>
            <a:endParaRPr lang="en-GB" dirty="0"/>
          </a:p>
        </p:txBody>
      </p:sp>
      <p:grpSp>
        <p:nvGrpSpPr>
          <p:cNvPr id="7" name="Group 5"/>
          <p:cNvGrpSpPr/>
          <p:nvPr/>
        </p:nvGrpSpPr>
        <p:grpSpPr>
          <a:xfrm>
            <a:off x="-131229" y="1484102"/>
            <a:ext cx="9311243" cy="2302913"/>
            <a:chOff x="287524" y="1484101"/>
            <a:chExt cx="8509095" cy="2104521"/>
          </a:xfrm>
        </p:grpSpPr>
        <p:sp>
          <p:nvSpPr>
            <p:cNvPr id="8" name="Line 5"/>
            <p:cNvSpPr>
              <a:spLocks noChangeShapeType="1"/>
            </p:cNvSpPr>
            <p:nvPr/>
          </p:nvSpPr>
          <p:spPr bwMode="auto">
            <a:xfrm>
              <a:off x="793751" y="1962944"/>
              <a:ext cx="58737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9" name="Freeform 6"/>
            <p:cNvSpPr>
              <a:spLocks/>
            </p:cNvSpPr>
            <p:nvPr/>
          </p:nvSpPr>
          <p:spPr bwMode="auto">
            <a:xfrm>
              <a:off x="793751" y="1962944"/>
              <a:ext cx="457200" cy="438150"/>
            </a:xfrm>
            <a:custGeom>
              <a:avLst/>
              <a:gdLst>
                <a:gd name="T0" fmla="*/ 288 w 288"/>
                <a:gd name="T1" fmla="*/ 276 h 276"/>
                <a:gd name="T2" fmla="*/ 288 w 288"/>
                <a:gd name="T3" fmla="*/ 159 h 276"/>
                <a:gd name="T4" fmla="*/ 0 w 288"/>
                <a:gd name="T5" fmla="*/ 159 h 276"/>
                <a:gd name="T6" fmla="*/ 0 w 288"/>
                <a:gd name="T7" fmla="*/ 0 h 276"/>
              </a:gdLst>
              <a:ahLst/>
              <a:cxnLst>
                <a:cxn ang="0">
                  <a:pos x="T0" y="T1"/>
                </a:cxn>
                <a:cxn ang="0">
                  <a:pos x="T2" y="T3"/>
                </a:cxn>
                <a:cxn ang="0">
                  <a:pos x="T4" y="T5"/>
                </a:cxn>
                <a:cxn ang="0">
                  <a:pos x="T6" y="T7"/>
                </a:cxn>
              </a:cxnLst>
              <a:rect l="0" t="0" r="r" b="b"/>
              <a:pathLst>
                <a:path w="288" h="276">
                  <a:moveTo>
                    <a:pt x="288" y="276"/>
                  </a:moveTo>
                  <a:lnTo>
                    <a:pt x="288" y="159"/>
                  </a:lnTo>
                  <a:lnTo>
                    <a:pt x="0" y="159"/>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0" name="Freeform 7"/>
            <p:cNvSpPr>
              <a:spLocks/>
            </p:cNvSpPr>
            <p:nvPr/>
          </p:nvSpPr>
          <p:spPr bwMode="auto">
            <a:xfrm>
              <a:off x="392113" y="2401094"/>
              <a:ext cx="858838" cy="455613"/>
            </a:xfrm>
            <a:custGeom>
              <a:avLst/>
              <a:gdLst>
                <a:gd name="T0" fmla="*/ 0 w 541"/>
                <a:gd name="T1" fmla="*/ 287 h 287"/>
                <a:gd name="T2" fmla="*/ 253 w 541"/>
                <a:gd name="T3" fmla="*/ 287 h 287"/>
                <a:gd name="T4" fmla="*/ 253 w 541"/>
                <a:gd name="T5" fmla="*/ 0 h 287"/>
                <a:gd name="T6" fmla="*/ 541 w 541"/>
                <a:gd name="T7" fmla="*/ 0 h 287"/>
              </a:gdLst>
              <a:ahLst/>
              <a:cxnLst>
                <a:cxn ang="0">
                  <a:pos x="T0" y="T1"/>
                </a:cxn>
                <a:cxn ang="0">
                  <a:pos x="T2" y="T3"/>
                </a:cxn>
                <a:cxn ang="0">
                  <a:pos x="T4" y="T5"/>
                </a:cxn>
                <a:cxn ang="0">
                  <a:pos x="T6" y="T7"/>
                </a:cxn>
              </a:cxnLst>
              <a:rect l="0" t="0" r="r" b="b"/>
              <a:pathLst>
                <a:path w="541" h="287">
                  <a:moveTo>
                    <a:pt x="0" y="287"/>
                  </a:moveTo>
                  <a:lnTo>
                    <a:pt x="253" y="287"/>
                  </a:lnTo>
                  <a:lnTo>
                    <a:pt x="253" y="0"/>
                  </a:lnTo>
                  <a:lnTo>
                    <a:pt x="541"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1" name="Freeform 8"/>
            <p:cNvSpPr>
              <a:spLocks/>
            </p:cNvSpPr>
            <p:nvPr/>
          </p:nvSpPr>
          <p:spPr bwMode="auto">
            <a:xfrm>
              <a:off x="552451" y="1756569"/>
              <a:ext cx="1071563" cy="960438"/>
            </a:xfrm>
            <a:custGeom>
              <a:avLst/>
              <a:gdLst>
                <a:gd name="T0" fmla="*/ 675 w 675"/>
                <a:gd name="T1" fmla="*/ 0 h 605"/>
                <a:gd name="T2" fmla="*/ 0 w 675"/>
                <a:gd name="T3" fmla="*/ 0 h 605"/>
                <a:gd name="T4" fmla="*/ 0 w 675"/>
                <a:gd name="T5" fmla="*/ 605 h 605"/>
              </a:gdLst>
              <a:ahLst/>
              <a:cxnLst>
                <a:cxn ang="0">
                  <a:pos x="T0" y="T1"/>
                </a:cxn>
                <a:cxn ang="0">
                  <a:pos x="T2" y="T3"/>
                </a:cxn>
                <a:cxn ang="0">
                  <a:pos x="T4" y="T5"/>
                </a:cxn>
              </a:cxnLst>
              <a:rect l="0" t="0" r="r" b="b"/>
              <a:pathLst>
                <a:path w="675" h="605">
                  <a:moveTo>
                    <a:pt x="675" y="0"/>
                  </a:moveTo>
                  <a:lnTo>
                    <a:pt x="0" y="0"/>
                  </a:lnTo>
                  <a:lnTo>
                    <a:pt x="0" y="605"/>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2" name="Freeform 9"/>
            <p:cNvSpPr>
              <a:spLocks/>
            </p:cNvSpPr>
            <p:nvPr/>
          </p:nvSpPr>
          <p:spPr bwMode="auto">
            <a:xfrm>
              <a:off x="1624013" y="1756569"/>
              <a:ext cx="590550" cy="898525"/>
            </a:xfrm>
            <a:custGeom>
              <a:avLst/>
              <a:gdLst>
                <a:gd name="T0" fmla="*/ 372 w 372"/>
                <a:gd name="T1" fmla="*/ 566 h 566"/>
                <a:gd name="T2" fmla="*/ 0 w 372"/>
                <a:gd name="T3" fmla="*/ 566 h 566"/>
                <a:gd name="T4" fmla="*/ 0 w 372"/>
                <a:gd name="T5" fmla="*/ 0 h 566"/>
              </a:gdLst>
              <a:ahLst/>
              <a:cxnLst>
                <a:cxn ang="0">
                  <a:pos x="T0" y="T1"/>
                </a:cxn>
                <a:cxn ang="0">
                  <a:pos x="T2" y="T3"/>
                </a:cxn>
                <a:cxn ang="0">
                  <a:pos x="T4" y="T5"/>
                </a:cxn>
              </a:cxnLst>
              <a:rect l="0" t="0" r="r" b="b"/>
              <a:pathLst>
                <a:path w="372" h="566">
                  <a:moveTo>
                    <a:pt x="372" y="566"/>
                  </a:moveTo>
                  <a:lnTo>
                    <a:pt x="0" y="566"/>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3" name="Line 10"/>
            <p:cNvSpPr>
              <a:spLocks noChangeShapeType="1"/>
            </p:cNvSpPr>
            <p:nvPr/>
          </p:nvSpPr>
          <p:spPr bwMode="auto">
            <a:xfrm>
              <a:off x="2214563" y="1624806"/>
              <a:ext cx="0" cy="103028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4" name="Freeform 11"/>
            <p:cNvSpPr>
              <a:spLocks/>
            </p:cNvSpPr>
            <p:nvPr/>
          </p:nvSpPr>
          <p:spPr bwMode="auto">
            <a:xfrm>
              <a:off x="2455863" y="1756569"/>
              <a:ext cx="931863" cy="354013"/>
            </a:xfrm>
            <a:custGeom>
              <a:avLst/>
              <a:gdLst>
                <a:gd name="T0" fmla="*/ 587 w 587"/>
                <a:gd name="T1" fmla="*/ 223 h 223"/>
                <a:gd name="T2" fmla="*/ 453 w 587"/>
                <a:gd name="T3" fmla="*/ 0 h 223"/>
                <a:gd name="T4" fmla="*/ 0 w 587"/>
                <a:gd name="T5" fmla="*/ 0 h 223"/>
              </a:gdLst>
              <a:ahLst/>
              <a:cxnLst>
                <a:cxn ang="0">
                  <a:pos x="T0" y="T1"/>
                </a:cxn>
                <a:cxn ang="0">
                  <a:pos x="T2" y="T3"/>
                </a:cxn>
                <a:cxn ang="0">
                  <a:pos x="T4" y="T5"/>
                </a:cxn>
              </a:cxnLst>
              <a:rect l="0" t="0" r="r" b="b"/>
              <a:pathLst>
                <a:path w="587" h="223">
                  <a:moveTo>
                    <a:pt x="587" y="223"/>
                  </a:moveTo>
                  <a:lnTo>
                    <a:pt x="453" y="0"/>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5" name="Freeform 12"/>
            <p:cNvSpPr>
              <a:spLocks/>
            </p:cNvSpPr>
            <p:nvPr/>
          </p:nvSpPr>
          <p:spPr bwMode="auto">
            <a:xfrm>
              <a:off x="3387726" y="1756569"/>
              <a:ext cx="776288" cy="354013"/>
            </a:xfrm>
            <a:custGeom>
              <a:avLst/>
              <a:gdLst>
                <a:gd name="T0" fmla="*/ 489 w 489"/>
                <a:gd name="T1" fmla="*/ 0 h 223"/>
                <a:gd name="T2" fmla="*/ 139 w 489"/>
                <a:gd name="T3" fmla="*/ 0 h 223"/>
                <a:gd name="T4" fmla="*/ 0 w 489"/>
                <a:gd name="T5" fmla="*/ 223 h 223"/>
              </a:gdLst>
              <a:ahLst/>
              <a:cxnLst>
                <a:cxn ang="0">
                  <a:pos x="T0" y="T1"/>
                </a:cxn>
                <a:cxn ang="0">
                  <a:pos x="T2" y="T3"/>
                </a:cxn>
                <a:cxn ang="0">
                  <a:pos x="T4" y="T5"/>
                </a:cxn>
              </a:cxnLst>
              <a:rect l="0" t="0" r="r" b="b"/>
              <a:pathLst>
                <a:path w="489" h="223">
                  <a:moveTo>
                    <a:pt x="489" y="0"/>
                  </a:moveTo>
                  <a:lnTo>
                    <a:pt x="139" y="0"/>
                  </a:lnTo>
                  <a:lnTo>
                    <a:pt x="0" y="223"/>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6" name="Freeform 13"/>
            <p:cNvSpPr>
              <a:spLocks/>
            </p:cNvSpPr>
            <p:nvPr/>
          </p:nvSpPr>
          <p:spPr bwMode="auto">
            <a:xfrm>
              <a:off x="4533901" y="1756569"/>
              <a:ext cx="628650" cy="273050"/>
            </a:xfrm>
            <a:custGeom>
              <a:avLst/>
              <a:gdLst>
                <a:gd name="T0" fmla="*/ 197 w 197"/>
                <a:gd name="T1" fmla="*/ 85 h 85"/>
                <a:gd name="T2" fmla="*/ 189 w 197"/>
                <a:gd name="T3" fmla="*/ 45 h 85"/>
                <a:gd name="T4" fmla="*/ 167 w 197"/>
                <a:gd name="T5" fmla="*/ 19 h 85"/>
                <a:gd name="T6" fmla="*/ 132 w 197"/>
                <a:gd name="T7" fmla="*/ 5 h 85"/>
                <a:gd name="T8" fmla="*/ 88 w 197"/>
                <a:gd name="T9" fmla="*/ 0 h 85"/>
                <a:gd name="T10" fmla="*/ 0 w 197"/>
                <a:gd name="T11" fmla="*/ 0 h 85"/>
              </a:gdLst>
              <a:ahLst/>
              <a:cxnLst>
                <a:cxn ang="0">
                  <a:pos x="T0" y="T1"/>
                </a:cxn>
                <a:cxn ang="0">
                  <a:pos x="T2" y="T3"/>
                </a:cxn>
                <a:cxn ang="0">
                  <a:pos x="T4" y="T5"/>
                </a:cxn>
                <a:cxn ang="0">
                  <a:pos x="T6" y="T7"/>
                </a:cxn>
                <a:cxn ang="0">
                  <a:pos x="T8" y="T9"/>
                </a:cxn>
                <a:cxn ang="0">
                  <a:pos x="T10" y="T11"/>
                </a:cxn>
              </a:cxnLst>
              <a:rect l="0" t="0" r="r" b="b"/>
              <a:pathLst>
                <a:path w="197" h="85">
                  <a:moveTo>
                    <a:pt x="197" y="85"/>
                  </a:moveTo>
                  <a:cubicBezTo>
                    <a:pt x="197" y="69"/>
                    <a:pt x="194" y="56"/>
                    <a:pt x="189" y="45"/>
                  </a:cubicBezTo>
                  <a:cubicBezTo>
                    <a:pt x="184" y="34"/>
                    <a:pt x="176" y="25"/>
                    <a:pt x="167" y="19"/>
                  </a:cubicBezTo>
                  <a:cubicBezTo>
                    <a:pt x="157" y="12"/>
                    <a:pt x="146" y="8"/>
                    <a:pt x="132" y="5"/>
                  </a:cubicBezTo>
                  <a:cubicBezTo>
                    <a:pt x="119" y="2"/>
                    <a:pt x="104" y="0"/>
                    <a:pt x="88" y="0"/>
                  </a:cubicBezTo>
                  <a:cubicBezTo>
                    <a:pt x="0" y="0"/>
                    <a:pt x="0" y="0"/>
                    <a:pt x="0" y="0"/>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7" name="Freeform 14"/>
            <p:cNvSpPr>
              <a:spLocks/>
            </p:cNvSpPr>
            <p:nvPr/>
          </p:nvSpPr>
          <p:spPr bwMode="auto">
            <a:xfrm>
              <a:off x="5011738" y="2029619"/>
              <a:ext cx="287338" cy="641350"/>
            </a:xfrm>
            <a:custGeom>
              <a:avLst/>
              <a:gdLst>
                <a:gd name="T0" fmla="*/ 90 w 90"/>
                <a:gd name="T1" fmla="*/ 200 h 200"/>
                <a:gd name="T2" fmla="*/ 55 w 90"/>
                <a:gd name="T3" fmla="*/ 200 h 200"/>
                <a:gd name="T4" fmla="*/ 63 w 90"/>
                <a:gd name="T5" fmla="*/ 159 h 200"/>
                <a:gd name="T6" fmla="*/ 48 w 90"/>
                <a:gd name="T7" fmla="*/ 104 h 200"/>
                <a:gd name="T8" fmla="*/ 0 w 90"/>
                <a:gd name="T9" fmla="*/ 72 h 200"/>
                <a:gd name="T10" fmla="*/ 35 w 90"/>
                <a:gd name="T11" fmla="*/ 43 h 200"/>
                <a:gd name="T12" fmla="*/ 47 w 90"/>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90" h="200">
                  <a:moveTo>
                    <a:pt x="90" y="200"/>
                  </a:moveTo>
                  <a:cubicBezTo>
                    <a:pt x="55" y="200"/>
                    <a:pt x="55" y="200"/>
                    <a:pt x="55" y="200"/>
                  </a:cubicBezTo>
                  <a:cubicBezTo>
                    <a:pt x="61" y="188"/>
                    <a:pt x="63" y="174"/>
                    <a:pt x="63" y="159"/>
                  </a:cubicBezTo>
                  <a:cubicBezTo>
                    <a:pt x="63" y="137"/>
                    <a:pt x="58" y="119"/>
                    <a:pt x="48" y="104"/>
                  </a:cubicBezTo>
                  <a:cubicBezTo>
                    <a:pt x="37" y="89"/>
                    <a:pt x="22" y="78"/>
                    <a:pt x="0" y="72"/>
                  </a:cubicBezTo>
                  <a:cubicBezTo>
                    <a:pt x="16" y="64"/>
                    <a:pt x="27" y="55"/>
                    <a:pt x="35" y="43"/>
                  </a:cubicBezTo>
                  <a:cubicBezTo>
                    <a:pt x="43" y="32"/>
                    <a:pt x="47" y="18"/>
                    <a:pt x="47" y="0"/>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8" name="Freeform 15"/>
            <p:cNvSpPr>
              <a:spLocks/>
            </p:cNvSpPr>
            <p:nvPr/>
          </p:nvSpPr>
          <p:spPr bwMode="auto">
            <a:xfrm>
              <a:off x="5299076" y="1756569"/>
              <a:ext cx="615950" cy="914400"/>
            </a:xfrm>
            <a:custGeom>
              <a:avLst/>
              <a:gdLst>
                <a:gd name="T0" fmla="*/ 388 w 388"/>
                <a:gd name="T1" fmla="*/ 0 h 576"/>
                <a:gd name="T2" fmla="*/ 0 w 388"/>
                <a:gd name="T3" fmla="*/ 0 h 576"/>
                <a:gd name="T4" fmla="*/ 0 w 388"/>
                <a:gd name="T5" fmla="*/ 576 h 576"/>
              </a:gdLst>
              <a:ahLst/>
              <a:cxnLst>
                <a:cxn ang="0">
                  <a:pos x="T0" y="T1"/>
                </a:cxn>
                <a:cxn ang="0">
                  <a:pos x="T2" y="T3"/>
                </a:cxn>
                <a:cxn ang="0">
                  <a:pos x="T4" y="T5"/>
                </a:cxn>
              </a:cxnLst>
              <a:rect l="0" t="0" r="r" b="b"/>
              <a:pathLst>
                <a:path w="388" h="576">
                  <a:moveTo>
                    <a:pt x="388" y="0"/>
                  </a:moveTo>
                  <a:lnTo>
                    <a:pt x="0" y="0"/>
                  </a:lnTo>
                  <a:lnTo>
                    <a:pt x="0" y="576"/>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9" name="Freeform 16"/>
            <p:cNvSpPr>
              <a:spLocks/>
            </p:cNvSpPr>
            <p:nvPr/>
          </p:nvSpPr>
          <p:spPr bwMode="auto">
            <a:xfrm>
              <a:off x="5915026" y="1756569"/>
              <a:ext cx="590550" cy="898525"/>
            </a:xfrm>
            <a:custGeom>
              <a:avLst/>
              <a:gdLst>
                <a:gd name="T0" fmla="*/ 372 w 372"/>
                <a:gd name="T1" fmla="*/ 566 h 566"/>
                <a:gd name="T2" fmla="*/ 0 w 372"/>
                <a:gd name="T3" fmla="*/ 566 h 566"/>
                <a:gd name="T4" fmla="*/ 0 w 372"/>
                <a:gd name="T5" fmla="*/ 0 h 566"/>
              </a:gdLst>
              <a:ahLst/>
              <a:cxnLst>
                <a:cxn ang="0">
                  <a:pos x="T0" y="T1"/>
                </a:cxn>
                <a:cxn ang="0">
                  <a:pos x="T2" y="T3"/>
                </a:cxn>
                <a:cxn ang="0">
                  <a:pos x="T4" y="T5"/>
                </a:cxn>
              </a:cxnLst>
              <a:rect l="0" t="0" r="r" b="b"/>
              <a:pathLst>
                <a:path w="372" h="566">
                  <a:moveTo>
                    <a:pt x="372" y="566"/>
                  </a:moveTo>
                  <a:lnTo>
                    <a:pt x="0" y="566"/>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0" name="Line 17"/>
            <p:cNvSpPr>
              <a:spLocks noChangeShapeType="1"/>
            </p:cNvSpPr>
            <p:nvPr/>
          </p:nvSpPr>
          <p:spPr bwMode="auto">
            <a:xfrm>
              <a:off x="6505576" y="1962944"/>
              <a:ext cx="0" cy="6921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1" name="Freeform 18"/>
            <p:cNvSpPr>
              <a:spLocks/>
            </p:cNvSpPr>
            <p:nvPr/>
          </p:nvSpPr>
          <p:spPr bwMode="auto">
            <a:xfrm>
              <a:off x="6319838" y="1756569"/>
              <a:ext cx="1774825" cy="436563"/>
            </a:xfrm>
            <a:custGeom>
              <a:avLst/>
              <a:gdLst>
                <a:gd name="T0" fmla="*/ 1118 w 1118"/>
                <a:gd name="T1" fmla="*/ 275 h 275"/>
                <a:gd name="T2" fmla="*/ 957 w 1118"/>
                <a:gd name="T3" fmla="*/ 0 h 275"/>
                <a:gd name="T4" fmla="*/ 0 w 1118"/>
                <a:gd name="T5" fmla="*/ 0 h 275"/>
              </a:gdLst>
              <a:ahLst/>
              <a:cxnLst>
                <a:cxn ang="0">
                  <a:pos x="T0" y="T1"/>
                </a:cxn>
                <a:cxn ang="0">
                  <a:pos x="T2" y="T3"/>
                </a:cxn>
                <a:cxn ang="0">
                  <a:pos x="T4" y="T5"/>
                </a:cxn>
              </a:cxnLst>
              <a:rect l="0" t="0" r="r" b="b"/>
              <a:pathLst>
                <a:path w="1118" h="275">
                  <a:moveTo>
                    <a:pt x="1118" y="275"/>
                  </a:moveTo>
                  <a:lnTo>
                    <a:pt x="957" y="0"/>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2" name="Freeform 19"/>
            <p:cNvSpPr>
              <a:spLocks/>
            </p:cNvSpPr>
            <p:nvPr/>
          </p:nvSpPr>
          <p:spPr bwMode="auto">
            <a:xfrm>
              <a:off x="8094663" y="1756569"/>
              <a:ext cx="382588" cy="436563"/>
            </a:xfrm>
            <a:custGeom>
              <a:avLst/>
              <a:gdLst>
                <a:gd name="T0" fmla="*/ 241 w 241"/>
                <a:gd name="T1" fmla="*/ 0 h 275"/>
                <a:gd name="T2" fmla="*/ 161 w 241"/>
                <a:gd name="T3" fmla="*/ 0 h 275"/>
                <a:gd name="T4" fmla="*/ 0 w 241"/>
                <a:gd name="T5" fmla="*/ 275 h 275"/>
              </a:gdLst>
              <a:ahLst/>
              <a:cxnLst>
                <a:cxn ang="0">
                  <a:pos x="T0" y="T1"/>
                </a:cxn>
                <a:cxn ang="0">
                  <a:pos x="T2" y="T3"/>
                </a:cxn>
                <a:cxn ang="0">
                  <a:pos x="T4" y="T5"/>
                </a:cxn>
              </a:cxnLst>
              <a:rect l="0" t="0" r="r" b="b"/>
              <a:pathLst>
                <a:path w="241" h="275">
                  <a:moveTo>
                    <a:pt x="241" y="0"/>
                  </a:moveTo>
                  <a:lnTo>
                    <a:pt x="161" y="0"/>
                  </a:lnTo>
                  <a:lnTo>
                    <a:pt x="0" y="275"/>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3" name="Freeform 20"/>
            <p:cNvSpPr>
              <a:spLocks/>
            </p:cNvSpPr>
            <p:nvPr/>
          </p:nvSpPr>
          <p:spPr bwMode="auto">
            <a:xfrm>
              <a:off x="7969251" y="1545431"/>
              <a:ext cx="779463" cy="1311275"/>
            </a:xfrm>
            <a:custGeom>
              <a:avLst/>
              <a:gdLst>
                <a:gd name="T0" fmla="*/ 0 w 491"/>
                <a:gd name="T1" fmla="*/ 826 h 826"/>
                <a:gd name="T2" fmla="*/ 151 w 491"/>
                <a:gd name="T3" fmla="*/ 826 h 826"/>
                <a:gd name="T4" fmla="*/ 151 w 491"/>
                <a:gd name="T5" fmla="*/ 562 h 826"/>
                <a:gd name="T6" fmla="*/ 491 w 491"/>
                <a:gd name="T7" fmla="*/ 0 h 826"/>
              </a:gdLst>
              <a:ahLst/>
              <a:cxnLst>
                <a:cxn ang="0">
                  <a:pos x="T0" y="T1"/>
                </a:cxn>
                <a:cxn ang="0">
                  <a:pos x="T2" y="T3"/>
                </a:cxn>
                <a:cxn ang="0">
                  <a:pos x="T4" y="T5"/>
                </a:cxn>
                <a:cxn ang="0">
                  <a:pos x="T6" y="T7"/>
                </a:cxn>
              </a:cxnLst>
              <a:rect l="0" t="0" r="r" b="b"/>
              <a:pathLst>
                <a:path w="491" h="826">
                  <a:moveTo>
                    <a:pt x="0" y="826"/>
                  </a:moveTo>
                  <a:lnTo>
                    <a:pt x="151" y="826"/>
                  </a:lnTo>
                  <a:lnTo>
                    <a:pt x="151" y="562"/>
                  </a:lnTo>
                  <a:lnTo>
                    <a:pt x="491"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4" name="Freeform 21"/>
            <p:cNvSpPr>
              <a:spLocks/>
            </p:cNvSpPr>
            <p:nvPr/>
          </p:nvSpPr>
          <p:spPr bwMode="auto">
            <a:xfrm>
              <a:off x="7689851" y="1962944"/>
              <a:ext cx="279400" cy="893763"/>
            </a:xfrm>
            <a:custGeom>
              <a:avLst/>
              <a:gdLst>
                <a:gd name="T0" fmla="*/ 0 w 176"/>
                <a:gd name="T1" fmla="*/ 0 h 563"/>
                <a:gd name="T2" fmla="*/ 176 w 176"/>
                <a:gd name="T3" fmla="*/ 295 h 563"/>
                <a:gd name="T4" fmla="*/ 176 w 176"/>
                <a:gd name="T5" fmla="*/ 563 h 563"/>
              </a:gdLst>
              <a:ahLst/>
              <a:cxnLst>
                <a:cxn ang="0">
                  <a:pos x="T0" y="T1"/>
                </a:cxn>
                <a:cxn ang="0">
                  <a:pos x="T2" y="T3"/>
                </a:cxn>
                <a:cxn ang="0">
                  <a:pos x="T4" y="T5"/>
                </a:cxn>
              </a:cxnLst>
              <a:rect l="0" t="0" r="r" b="b"/>
              <a:pathLst>
                <a:path w="176" h="563">
                  <a:moveTo>
                    <a:pt x="0" y="0"/>
                  </a:moveTo>
                  <a:lnTo>
                    <a:pt x="176" y="295"/>
                  </a:lnTo>
                  <a:lnTo>
                    <a:pt x="176" y="563"/>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5" name="Freeform 22"/>
            <p:cNvSpPr>
              <a:spLocks/>
            </p:cNvSpPr>
            <p:nvPr/>
          </p:nvSpPr>
          <p:spPr bwMode="auto">
            <a:xfrm>
              <a:off x="7364413" y="1962944"/>
              <a:ext cx="325438" cy="893763"/>
            </a:xfrm>
            <a:custGeom>
              <a:avLst/>
              <a:gdLst>
                <a:gd name="T0" fmla="*/ 0 w 205"/>
                <a:gd name="T1" fmla="*/ 563 h 563"/>
                <a:gd name="T2" fmla="*/ 0 w 205"/>
                <a:gd name="T3" fmla="*/ 0 h 563"/>
                <a:gd name="T4" fmla="*/ 205 w 205"/>
                <a:gd name="T5" fmla="*/ 0 h 563"/>
              </a:gdLst>
              <a:ahLst/>
              <a:cxnLst>
                <a:cxn ang="0">
                  <a:pos x="T0" y="T1"/>
                </a:cxn>
                <a:cxn ang="0">
                  <a:pos x="T2" y="T3"/>
                </a:cxn>
                <a:cxn ang="0">
                  <a:pos x="T4" y="T5"/>
                </a:cxn>
              </a:cxnLst>
              <a:rect l="0" t="0" r="r" b="b"/>
              <a:pathLst>
                <a:path w="205" h="563">
                  <a:moveTo>
                    <a:pt x="0" y="563"/>
                  </a:moveTo>
                  <a:lnTo>
                    <a:pt x="0" y="0"/>
                  </a:lnTo>
                  <a:lnTo>
                    <a:pt x="205"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6" name="Freeform 23"/>
            <p:cNvSpPr>
              <a:spLocks/>
            </p:cNvSpPr>
            <p:nvPr/>
          </p:nvSpPr>
          <p:spPr bwMode="auto">
            <a:xfrm>
              <a:off x="7124701" y="1962944"/>
              <a:ext cx="239713" cy="893763"/>
            </a:xfrm>
            <a:custGeom>
              <a:avLst/>
              <a:gdLst>
                <a:gd name="T0" fmla="*/ 0 w 151"/>
                <a:gd name="T1" fmla="*/ 0 h 563"/>
                <a:gd name="T2" fmla="*/ 0 w 151"/>
                <a:gd name="T3" fmla="*/ 563 h 563"/>
                <a:gd name="T4" fmla="*/ 151 w 151"/>
                <a:gd name="T5" fmla="*/ 563 h 563"/>
              </a:gdLst>
              <a:ahLst/>
              <a:cxnLst>
                <a:cxn ang="0">
                  <a:pos x="T0" y="T1"/>
                </a:cxn>
                <a:cxn ang="0">
                  <a:pos x="T2" y="T3"/>
                </a:cxn>
                <a:cxn ang="0">
                  <a:pos x="T4" y="T5"/>
                </a:cxn>
              </a:cxnLst>
              <a:rect l="0" t="0" r="r" b="b"/>
              <a:pathLst>
                <a:path w="151" h="563">
                  <a:moveTo>
                    <a:pt x="0" y="0"/>
                  </a:moveTo>
                  <a:lnTo>
                    <a:pt x="0" y="563"/>
                  </a:lnTo>
                  <a:lnTo>
                    <a:pt x="151" y="563"/>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7" name="Freeform 24"/>
            <p:cNvSpPr>
              <a:spLocks/>
            </p:cNvSpPr>
            <p:nvPr/>
          </p:nvSpPr>
          <p:spPr bwMode="auto">
            <a:xfrm>
              <a:off x="6748463" y="1962944"/>
              <a:ext cx="376238" cy="1458990"/>
            </a:xfrm>
            <a:custGeom>
              <a:avLst/>
              <a:gdLst>
                <a:gd name="T0" fmla="*/ 0 w 237"/>
                <a:gd name="T1" fmla="*/ 707 h 707"/>
                <a:gd name="T2" fmla="*/ 0 w 237"/>
                <a:gd name="T3" fmla="*/ 0 h 707"/>
                <a:gd name="T4" fmla="*/ 237 w 237"/>
                <a:gd name="T5" fmla="*/ 0 h 707"/>
              </a:gdLst>
              <a:ahLst/>
              <a:cxnLst>
                <a:cxn ang="0">
                  <a:pos x="T0" y="T1"/>
                </a:cxn>
                <a:cxn ang="0">
                  <a:pos x="T2" y="T3"/>
                </a:cxn>
                <a:cxn ang="0">
                  <a:pos x="T4" y="T5"/>
                </a:cxn>
              </a:cxnLst>
              <a:rect l="0" t="0" r="r" b="b"/>
              <a:pathLst>
                <a:path w="237" h="707">
                  <a:moveTo>
                    <a:pt x="0" y="707"/>
                  </a:moveTo>
                  <a:lnTo>
                    <a:pt x="0" y="0"/>
                  </a:lnTo>
                  <a:lnTo>
                    <a:pt x="237"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8" name="Freeform 25"/>
            <p:cNvSpPr>
              <a:spLocks/>
            </p:cNvSpPr>
            <p:nvPr/>
          </p:nvSpPr>
          <p:spPr bwMode="auto">
            <a:xfrm>
              <a:off x="5675313" y="1935956"/>
              <a:ext cx="830263" cy="920750"/>
            </a:xfrm>
            <a:custGeom>
              <a:avLst/>
              <a:gdLst>
                <a:gd name="T0" fmla="*/ 0 w 523"/>
                <a:gd name="T1" fmla="*/ 0 h 580"/>
                <a:gd name="T2" fmla="*/ 0 w 523"/>
                <a:gd name="T3" fmla="*/ 580 h 580"/>
                <a:gd name="T4" fmla="*/ 523 w 523"/>
                <a:gd name="T5" fmla="*/ 580 h 580"/>
              </a:gdLst>
              <a:ahLst/>
              <a:cxnLst>
                <a:cxn ang="0">
                  <a:pos x="T0" y="T1"/>
                </a:cxn>
                <a:cxn ang="0">
                  <a:pos x="T2" y="T3"/>
                </a:cxn>
                <a:cxn ang="0">
                  <a:pos x="T4" y="T5"/>
                </a:cxn>
              </a:cxnLst>
              <a:rect l="0" t="0" r="r" b="b"/>
              <a:pathLst>
                <a:path w="523" h="580">
                  <a:moveTo>
                    <a:pt x="0" y="0"/>
                  </a:moveTo>
                  <a:lnTo>
                    <a:pt x="0" y="580"/>
                  </a:lnTo>
                  <a:lnTo>
                    <a:pt x="523" y="58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9" name="Line 26"/>
            <p:cNvSpPr>
              <a:spLocks noChangeShapeType="1"/>
            </p:cNvSpPr>
            <p:nvPr/>
          </p:nvSpPr>
          <p:spPr bwMode="auto">
            <a:xfrm flipV="1">
              <a:off x="5541963" y="1935956"/>
              <a:ext cx="0" cy="9207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0" name="Freeform 27"/>
            <p:cNvSpPr>
              <a:spLocks/>
            </p:cNvSpPr>
            <p:nvPr/>
          </p:nvSpPr>
          <p:spPr bwMode="auto">
            <a:xfrm>
              <a:off x="4297363" y="1935956"/>
              <a:ext cx="1244600" cy="920750"/>
            </a:xfrm>
            <a:custGeom>
              <a:avLst/>
              <a:gdLst>
                <a:gd name="T0" fmla="*/ 0 w 784"/>
                <a:gd name="T1" fmla="*/ 0 h 580"/>
                <a:gd name="T2" fmla="*/ 0 w 784"/>
                <a:gd name="T3" fmla="*/ 580 h 580"/>
                <a:gd name="T4" fmla="*/ 784 w 784"/>
                <a:gd name="T5" fmla="*/ 580 h 580"/>
              </a:gdLst>
              <a:ahLst/>
              <a:cxnLst>
                <a:cxn ang="0">
                  <a:pos x="T0" y="T1"/>
                </a:cxn>
                <a:cxn ang="0">
                  <a:pos x="T2" y="T3"/>
                </a:cxn>
                <a:cxn ang="0">
                  <a:pos x="T4" y="T5"/>
                </a:cxn>
              </a:cxnLst>
              <a:rect l="0" t="0" r="r" b="b"/>
              <a:pathLst>
                <a:path w="784" h="580">
                  <a:moveTo>
                    <a:pt x="0" y="0"/>
                  </a:moveTo>
                  <a:lnTo>
                    <a:pt x="0" y="580"/>
                  </a:lnTo>
                  <a:lnTo>
                    <a:pt x="784" y="58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1" name="Freeform 28"/>
            <p:cNvSpPr>
              <a:spLocks/>
            </p:cNvSpPr>
            <p:nvPr/>
          </p:nvSpPr>
          <p:spPr bwMode="auto">
            <a:xfrm>
              <a:off x="3924301" y="1935956"/>
              <a:ext cx="373063" cy="920750"/>
            </a:xfrm>
            <a:custGeom>
              <a:avLst/>
              <a:gdLst>
                <a:gd name="T0" fmla="*/ 0 w 235"/>
                <a:gd name="T1" fmla="*/ 580 h 580"/>
                <a:gd name="T2" fmla="*/ 151 w 235"/>
                <a:gd name="T3" fmla="*/ 580 h 580"/>
                <a:gd name="T4" fmla="*/ 151 w 235"/>
                <a:gd name="T5" fmla="*/ 0 h 580"/>
                <a:gd name="T6" fmla="*/ 235 w 235"/>
                <a:gd name="T7" fmla="*/ 0 h 580"/>
              </a:gdLst>
              <a:ahLst/>
              <a:cxnLst>
                <a:cxn ang="0">
                  <a:pos x="T0" y="T1"/>
                </a:cxn>
                <a:cxn ang="0">
                  <a:pos x="T2" y="T3"/>
                </a:cxn>
                <a:cxn ang="0">
                  <a:pos x="T4" y="T5"/>
                </a:cxn>
                <a:cxn ang="0">
                  <a:pos x="T6" y="T7"/>
                </a:cxn>
              </a:cxnLst>
              <a:rect l="0" t="0" r="r" b="b"/>
              <a:pathLst>
                <a:path w="235" h="580">
                  <a:moveTo>
                    <a:pt x="0" y="580"/>
                  </a:moveTo>
                  <a:lnTo>
                    <a:pt x="151" y="580"/>
                  </a:lnTo>
                  <a:lnTo>
                    <a:pt x="151" y="0"/>
                  </a:lnTo>
                  <a:lnTo>
                    <a:pt x="235"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2" name="Freeform 29"/>
            <p:cNvSpPr>
              <a:spLocks/>
            </p:cNvSpPr>
            <p:nvPr/>
          </p:nvSpPr>
          <p:spPr bwMode="auto">
            <a:xfrm>
              <a:off x="3136901" y="2475706"/>
              <a:ext cx="481013" cy="381000"/>
            </a:xfrm>
            <a:custGeom>
              <a:avLst/>
              <a:gdLst>
                <a:gd name="T0" fmla="*/ 0 w 303"/>
                <a:gd name="T1" fmla="*/ 240 h 240"/>
                <a:gd name="T2" fmla="*/ 152 w 303"/>
                <a:gd name="T3" fmla="*/ 0 h 240"/>
                <a:gd name="T4" fmla="*/ 303 w 303"/>
                <a:gd name="T5" fmla="*/ 240 h 240"/>
              </a:gdLst>
              <a:ahLst/>
              <a:cxnLst>
                <a:cxn ang="0">
                  <a:pos x="T0" y="T1"/>
                </a:cxn>
                <a:cxn ang="0">
                  <a:pos x="T2" y="T3"/>
                </a:cxn>
                <a:cxn ang="0">
                  <a:pos x="T4" y="T5"/>
                </a:cxn>
              </a:cxnLst>
              <a:rect l="0" t="0" r="r" b="b"/>
              <a:pathLst>
                <a:path w="303" h="240">
                  <a:moveTo>
                    <a:pt x="0" y="240"/>
                  </a:moveTo>
                  <a:lnTo>
                    <a:pt x="152" y="0"/>
                  </a:lnTo>
                  <a:lnTo>
                    <a:pt x="303" y="24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3" name="Freeform 30"/>
            <p:cNvSpPr>
              <a:spLocks/>
            </p:cNvSpPr>
            <p:nvPr/>
          </p:nvSpPr>
          <p:spPr bwMode="auto">
            <a:xfrm>
              <a:off x="1384301" y="2129631"/>
              <a:ext cx="1752600" cy="727075"/>
            </a:xfrm>
            <a:custGeom>
              <a:avLst/>
              <a:gdLst>
                <a:gd name="T0" fmla="*/ 0 w 1104"/>
                <a:gd name="T1" fmla="*/ 0 h 458"/>
                <a:gd name="T2" fmla="*/ 0 w 1104"/>
                <a:gd name="T3" fmla="*/ 458 h 458"/>
                <a:gd name="T4" fmla="*/ 1104 w 1104"/>
                <a:gd name="T5" fmla="*/ 458 h 458"/>
              </a:gdLst>
              <a:ahLst/>
              <a:cxnLst>
                <a:cxn ang="0">
                  <a:pos x="T0" y="T1"/>
                </a:cxn>
                <a:cxn ang="0">
                  <a:pos x="T2" y="T3"/>
                </a:cxn>
                <a:cxn ang="0">
                  <a:pos x="T4" y="T5"/>
                </a:cxn>
              </a:cxnLst>
              <a:rect l="0" t="0" r="r" b="b"/>
              <a:pathLst>
                <a:path w="1104" h="458">
                  <a:moveTo>
                    <a:pt x="0" y="0"/>
                  </a:moveTo>
                  <a:lnTo>
                    <a:pt x="0" y="458"/>
                  </a:lnTo>
                  <a:lnTo>
                    <a:pt x="1104" y="458"/>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4" name="Freeform 31"/>
            <p:cNvSpPr>
              <a:spLocks/>
            </p:cNvSpPr>
            <p:nvPr/>
          </p:nvSpPr>
          <p:spPr bwMode="auto">
            <a:xfrm>
              <a:off x="2455863" y="1962944"/>
              <a:ext cx="792163" cy="320675"/>
            </a:xfrm>
            <a:custGeom>
              <a:avLst/>
              <a:gdLst>
                <a:gd name="T0" fmla="*/ 0 w 499"/>
                <a:gd name="T1" fmla="*/ 0 h 202"/>
                <a:gd name="T2" fmla="*/ 362 w 499"/>
                <a:gd name="T3" fmla="*/ 0 h 202"/>
                <a:gd name="T4" fmla="*/ 499 w 499"/>
                <a:gd name="T5" fmla="*/ 202 h 202"/>
              </a:gdLst>
              <a:ahLst/>
              <a:cxnLst>
                <a:cxn ang="0">
                  <a:pos x="T0" y="T1"/>
                </a:cxn>
                <a:cxn ang="0">
                  <a:pos x="T2" y="T3"/>
                </a:cxn>
                <a:cxn ang="0">
                  <a:pos x="T4" y="T5"/>
                </a:cxn>
              </a:cxnLst>
              <a:rect l="0" t="0" r="r" b="b"/>
              <a:pathLst>
                <a:path w="499" h="202">
                  <a:moveTo>
                    <a:pt x="0" y="0"/>
                  </a:moveTo>
                  <a:lnTo>
                    <a:pt x="362" y="0"/>
                  </a:lnTo>
                  <a:lnTo>
                    <a:pt x="499" y="202"/>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5" name="Freeform 32"/>
            <p:cNvSpPr>
              <a:spLocks/>
            </p:cNvSpPr>
            <p:nvPr/>
          </p:nvSpPr>
          <p:spPr bwMode="auto">
            <a:xfrm>
              <a:off x="2455863" y="1962944"/>
              <a:ext cx="530225" cy="422275"/>
            </a:xfrm>
            <a:custGeom>
              <a:avLst/>
              <a:gdLst>
                <a:gd name="T0" fmla="*/ 334 w 334"/>
                <a:gd name="T1" fmla="*/ 266 h 266"/>
                <a:gd name="T2" fmla="*/ 334 w 334"/>
                <a:gd name="T3" fmla="*/ 147 h 266"/>
                <a:gd name="T4" fmla="*/ 0 w 334"/>
                <a:gd name="T5" fmla="*/ 147 h 266"/>
                <a:gd name="T6" fmla="*/ 0 w 334"/>
                <a:gd name="T7" fmla="*/ 0 h 266"/>
              </a:gdLst>
              <a:ahLst/>
              <a:cxnLst>
                <a:cxn ang="0">
                  <a:pos x="T0" y="T1"/>
                </a:cxn>
                <a:cxn ang="0">
                  <a:pos x="T2" y="T3"/>
                </a:cxn>
                <a:cxn ang="0">
                  <a:pos x="T4" y="T5"/>
                </a:cxn>
                <a:cxn ang="0">
                  <a:pos x="T6" y="T7"/>
                </a:cxn>
              </a:cxnLst>
              <a:rect l="0" t="0" r="r" b="b"/>
              <a:pathLst>
                <a:path w="334" h="266">
                  <a:moveTo>
                    <a:pt x="334" y="266"/>
                  </a:moveTo>
                  <a:lnTo>
                    <a:pt x="334" y="147"/>
                  </a:lnTo>
                  <a:lnTo>
                    <a:pt x="0" y="147"/>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6" name="Freeform 33"/>
            <p:cNvSpPr>
              <a:spLocks/>
            </p:cNvSpPr>
            <p:nvPr/>
          </p:nvSpPr>
          <p:spPr bwMode="auto">
            <a:xfrm>
              <a:off x="2455863" y="2385219"/>
              <a:ext cx="530225" cy="269875"/>
            </a:xfrm>
            <a:custGeom>
              <a:avLst/>
              <a:gdLst>
                <a:gd name="T0" fmla="*/ 0 w 334"/>
                <a:gd name="T1" fmla="*/ 170 h 170"/>
                <a:gd name="T2" fmla="*/ 0 w 334"/>
                <a:gd name="T3" fmla="*/ 0 h 170"/>
                <a:gd name="T4" fmla="*/ 334 w 334"/>
                <a:gd name="T5" fmla="*/ 0 h 170"/>
              </a:gdLst>
              <a:ahLst/>
              <a:cxnLst>
                <a:cxn ang="0">
                  <a:pos x="T0" y="T1"/>
                </a:cxn>
                <a:cxn ang="0">
                  <a:pos x="T2" y="T3"/>
                </a:cxn>
                <a:cxn ang="0">
                  <a:pos x="T4" y="T5"/>
                </a:cxn>
              </a:cxnLst>
              <a:rect l="0" t="0" r="r" b="b"/>
              <a:pathLst>
                <a:path w="334" h="170">
                  <a:moveTo>
                    <a:pt x="0" y="170"/>
                  </a:moveTo>
                  <a:lnTo>
                    <a:pt x="0" y="0"/>
                  </a:lnTo>
                  <a:lnTo>
                    <a:pt x="334"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7" name="Freeform 34"/>
            <p:cNvSpPr>
              <a:spLocks/>
            </p:cNvSpPr>
            <p:nvPr/>
          </p:nvSpPr>
          <p:spPr bwMode="auto">
            <a:xfrm>
              <a:off x="2455863" y="2283619"/>
              <a:ext cx="792163" cy="371475"/>
            </a:xfrm>
            <a:custGeom>
              <a:avLst/>
              <a:gdLst>
                <a:gd name="T0" fmla="*/ 499 w 499"/>
                <a:gd name="T1" fmla="*/ 0 h 234"/>
                <a:gd name="T2" fmla="*/ 342 w 499"/>
                <a:gd name="T3" fmla="*/ 234 h 234"/>
                <a:gd name="T4" fmla="*/ 0 w 499"/>
                <a:gd name="T5" fmla="*/ 234 h 234"/>
              </a:gdLst>
              <a:ahLst/>
              <a:cxnLst>
                <a:cxn ang="0">
                  <a:pos x="T0" y="T1"/>
                </a:cxn>
                <a:cxn ang="0">
                  <a:pos x="T2" y="T3"/>
                </a:cxn>
                <a:cxn ang="0">
                  <a:pos x="T4" y="T5"/>
                </a:cxn>
              </a:cxnLst>
              <a:rect l="0" t="0" r="r" b="b"/>
              <a:pathLst>
                <a:path w="499" h="234">
                  <a:moveTo>
                    <a:pt x="499" y="0"/>
                  </a:moveTo>
                  <a:lnTo>
                    <a:pt x="342" y="234"/>
                  </a:lnTo>
                  <a:lnTo>
                    <a:pt x="0" y="234"/>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8" name="Freeform 35"/>
            <p:cNvSpPr>
              <a:spLocks/>
            </p:cNvSpPr>
            <p:nvPr/>
          </p:nvSpPr>
          <p:spPr bwMode="auto">
            <a:xfrm>
              <a:off x="3522663" y="1935956"/>
              <a:ext cx="315913" cy="822325"/>
            </a:xfrm>
            <a:custGeom>
              <a:avLst/>
              <a:gdLst>
                <a:gd name="T0" fmla="*/ 199 w 199"/>
                <a:gd name="T1" fmla="*/ 518 h 518"/>
                <a:gd name="T2" fmla="*/ 0 w 199"/>
                <a:gd name="T3" fmla="*/ 219 h 518"/>
                <a:gd name="T4" fmla="*/ 144 w 199"/>
                <a:gd name="T5" fmla="*/ 0 h 518"/>
              </a:gdLst>
              <a:ahLst/>
              <a:cxnLst>
                <a:cxn ang="0">
                  <a:pos x="T0" y="T1"/>
                </a:cxn>
                <a:cxn ang="0">
                  <a:pos x="T2" y="T3"/>
                </a:cxn>
                <a:cxn ang="0">
                  <a:pos x="T4" y="T5"/>
                </a:cxn>
              </a:cxnLst>
              <a:rect l="0" t="0" r="r" b="b"/>
              <a:pathLst>
                <a:path w="199" h="518">
                  <a:moveTo>
                    <a:pt x="199" y="518"/>
                  </a:moveTo>
                  <a:lnTo>
                    <a:pt x="0" y="219"/>
                  </a:lnTo>
                  <a:lnTo>
                    <a:pt x="144"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9" name="Line 36"/>
            <p:cNvSpPr>
              <a:spLocks noChangeShapeType="1"/>
            </p:cNvSpPr>
            <p:nvPr/>
          </p:nvSpPr>
          <p:spPr bwMode="auto">
            <a:xfrm>
              <a:off x="3924301" y="1935956"/>
              <a:ext cx="0" cy="9207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0" name="Line 37"/>
            <p:cNvSpPr>
              <a:spLocks noChangeShapeType="1"/>
            </p:cNvSpPr>
            <p:nvPr/>
          </p:nvSpPr>
          <p:spPr bwMode="auto">
            <a:xfrm flipV="1">
              <a:off x="4540251" y="1947069"/>
              <a:ext cx="0" cy="25558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1" name="Freeform 38"/>
            <p:cNvSpPr>
              <a:spLocks/>
            </p:cNvSpPr>
            <p:nvPr/>
          </p:nvSpPr>
          <p:spPr bwMode="auto">
            <a:xfrm>
              <a:off x="4540251" y="2070894"/>
              <a:ext cx="388938" cy="131763"/>
            </a:xfrm>
            <a:custGeom>
              <a:avLst/>
              <a:gdLst>
                <a:gd name="T0" fmla="*/ 122 w 122"/>
                <a:gd name="T1" fmla="*/ 0 h 41"/>
                <a:gd name="T2" fmla="*/ 109 w 122"/>
                <a:gd name="T3" fmla="*/ 31 h 41"/>
                <a:gd name="T4" fmla="*/ 76 w 122"/>
                <a:gd name="T5" fmla="*/ 41 h 41"/>
                <a:gd name="T6" fmla="*/ 0 w 122"/>
                <a:gd name="T7" fmla="*/ 41 h 41"/>
              </a:gdLst>
              <a:ahLst/>
              <a:cxnLst>
                <a:cxn ang="0">
                  <a:pos x="T0" y="T1"/>
                </a:cxn>
                <a:cxn ang="0">
                  <a:pos x="T2" y="T3"/>
                </a:cxn>
                <a:cxn ang="0">
                  <a:pos x="T4" y="T5"/>
                </a:cxn>
                <a:cxn ang="0">
                  <a:pos x="T6" y="T7"/>
                </a:cxn>
              </a:cxnLst>
              <a:rect l="0" t="0" r="r" b="b"/>
              <a:pathLst>
                <a:path w="122" h="41">
                  <a:moveTo>
                    <a:pt x="122" y="0"/>
                  </a:moveTo>
                  <a:cubicBezTo>
                    <a:pt x="122" y="15"/>
                    <a:pt x="118" y="25"/>
                    <a:pt x="109" y="31"/>
                  </a:cubicBezTo>
                  <a:cubicBezTo>
                    <a:pt x="100" y="38"/>
                    <a:pt x="89" y="41"/>
                    <a:pt x="76" y="41"/>
                  </a:cubicBezTo>
                  <a:cubicBezTo>
                    <a:pt x="0" y="41"/>
                    <a:pt x="0" y="41"/>
                    <a:pt x="0" y="41"/>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2" name="Freeform 39"/>
            <p:cNvSpPr>
              <a:spLocks/>
            </p:cNvSpPr>
            <p:nvPr/>
          </p:nvSpPr>
          <p:spPr bwMode="auto">
            <a:xfrm>
              <a:off x="4540251" y="1947069"/>
              <a:ext cx="388938" cy="123825"/>
            </a:xfrm>
            <a:custGeom>
              <a:avLst/>
              <a:gdLst>
                <a:gd name="T0" fmla="*/ 0 w 122"/>
                <a:gd name="T1" fmla="*/ 0 h 39"/>
                <a:gd name="T2" fmla="*/ 70 w 122"/>
                <a:gd name="T3" fmla="*/ 0 h 39"/>
                <a:gd name="T4" fmla="*/ 90 w 122"/>
                <a:gd name="T5" fmla="*/ 2 h 39"/>
                <a:gd name="T6" fmla="*/ 106 w 122"/>
                <a:gd name="T7" fmla="*/ 8 h 39"/>
                <a:gd name="T8" fmla="*/ 118 w 122"/>
                <a:gd name="T9" fmla="*/ 20 h 39"/>
                <a:gd name="T10" fmla="*/ 122 w 122"/>
                <a:gd name="T11" fmla="*/ 39 h 39"/>
              </a:gdLst>
              <a:ahLst/>
              <a:cxnLst>
                <a:cxn ang="0">
                  <a:pos x="T0" y="T1"/>
                </a:cxn>
                <a:cxn ang="0">
                  <a:pos x="T2" y="T3"/>
                </a:cxn>
                <a:cxn ang="0">
                  <a:pos x="T4" y="T5"/>
                </a:cxn>
                <a:cxn ang="0">
                  <a:pos x="T6" y="T7"/>
                </a:cxn>
                <a:cxn ang="0">
                  <a:pos x="T8" y="T9"/>
                </a:cxn>
                <a:cxn ang="0">
                  <a:pos x="T10" y="T11"/>
                </a:cxn>
              </a:cxnLst>
              <a:rect l="0" t="0" r="r" b="b"/>
              <a:pathLst>
                <a:path w="122" h="39">
                  <a:moveTo>
                    <a:pt x="0" y="0"/>
                  </a:moveTo>
                  <a:cubicBezTo>
                    <a:pt x="70" y="0"/>
                    <a:pt x="70" y="0"/>
                    <a:pt x="70" y="0"/>
                  </a:cubicBezTo>
                  <a:cubicBezTo>
                    <a:pt x="77" y="0"/>
                    <a:pt x="83" y="0"/>
                    <a:pt x="90" y="2"/>
                  </a:cubicBezTo>
                  <a:cubicBezTo>
                    <a:pt x="96" y="3"/>
                    <a:pt x="101" y="5"/>
                    <a:pt x="106" y="8"/>
                  </a:cubicBezTo>
                  <a:cubicBezTo>
                    <a:pt x="111" y="10"/>
                    <a:pt x="115" y="14"/>
                    <a:pt x="118" y="20"/>
                  </a:cubicBezTo>
                  <a:cubicBezTo>
                    <a:pt x="121" y="25"/>
                    <a:pt x="122" y="31"/>
                    <a:pt x="122" y="39"/>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3" name="Freeform 40"/>
            <p:cNvSpPr>
              <a:spLocks/>
            </p:cNvSpPr>
            <p:nvPr/>
          </p:nvSpPr>
          <p:spPr bwMode="auto">
            <a:xfrm>
              <a:off x="4795838" y="2523331"/>
              <a:ext cx="177800" cy="144463"/>
            </a:xfrm>
            <a:custGeom>
              <a:avLst/>
              <a:gdLst>
                <a:gd name="T0" fmla="*/ 56 w 56"/>
                <a:gd name="T1" fmla="*/ 0 h 45"/>
                <a:gd name="T2" fmla="*/ 51 w 56"/>
                <a:gd name="T3" fmla="*/ 22 h 45"/>
                <a:gd name="T4" fmla="*/ 39 w 56"/>
                <a:gd name="T5" fmla="*/ 36 h 45"/>
                <a:gd name="T6" fmla="*/ 21 w 56"/>
                <a:gd name="T7" fmla="*/ 43 h 45"/>
                <a:gd name="T8" fmla="*/ 0 w 56"/>
                <a:gd name="T9" fmla="*/ 45 h 45"/>
              </a:gdLst>
              <a:ahLst/>
              <a:cxnLst>
                <a:cxn ang="0">
                  <a:pos x="T0" y="T1"/>
                </a:cxn>
                <a:cxn ang="0">
                  <a:pos x="T2" y="T3"/>
                </a:cxn>
                <a:cxn ang="0">
                  <a:pos x="T4" y="T5"/>
                </a:cxn>
                <a:cxn ang="0">
                  <a:pos x="T6" y="T7"/>
                </a:cxn>
                <a:cxn ang="0">
                  <a:pos x="T8" y="T9"/>
                </a:cxn>
              </a:cxnLst>
              <a:rect l="0" t="0" r="r" b="b"/>
              <a:pathLst>
                <a:path w="56" h="45">
                  <a:moveTo>
                    <a:pt x="56" y="0"/>
                  </a:moveTo>
                  <a:cubicBezTo>
                    <a:pt x="56" y="9"/>
                    <a:pt x="54" y="17"/>
                    <a:pt x="51" y="22"/>
                  </a:cubicBezTo>
                  <a:cubicBezTo>
                    <a:pt x="48" y="28"/>
                    <a:pt x="44" y="33"/>
                    <a:pt x="39" y="36"/>
                  </a:cubicBezTo>
                  <a:cubicBezTo>
                    <a:pt x="34" y="39"/>
                    <a:pt x="28" y="42"/>
                    <a:pt x="21" y="43"/>
                  </a:cubicBezTo>
                  <a:cubicBezTo>
                    <a:pt x="15" y="45"/>
                    <a:pt x="8" y="45"/>
                    <a:pt x="0" y="45"/>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4" name="Freeform 41"/>
            <p:cNvSpPr>
              <a:spLocks/>
            </p:cNvSpPr>
            <p:nvPr/>
          </p:nvSpPr>
          <p:spPr bwMode="auto">
            <a:xfrm>
              <a:off x="4540251" y="2366169"/>
              <a:ext cx="433388" cy="157163"/>
            </a:xfrm>
            <a:custGeom>
              <a:avLst/>
              <a:gdLst>
                <a:gd name="T0" fmla="*/ 0 w 136"/>
                <a:gd name="T1" fmla="*/ 0 h 49"/>
                <a:gd name="T2" fmla="*/ 82 w 136"/>
                <a:gd name="T3" fmla="*/ 0 h 49"/>
                <a:gd name="T4" fmla="*/ 121 w 136"/>
                <a:gd name="T5" fmla="*/ 12 h 49"/>
                <a:gd name="T6" fmla="*/ 136 w 136"/>
                <a:gd name="T7" fmla="*/ 49 h 49"/>
              </a:gdLst>
              <a:ahLst/>
              <a:cxnLst>
                <a:cxn ang="0">
                  <a:pos x="T0" y="T1"/>
                </a:cxn>
                <a:cxn ang="0">
                  <a:pos x="T2" y="T3"/>
                </a:cxn>
                <a:cxn ang="0">
                  <a:pos x="T4" y="T5"/>
                </a:cxn>
                <a:cxn ang="0">
                  <a:pos x="T6" y="T7"/>
                </a:cxn>
              </a:cxnLst>
              <a:rect l="0" t="0" r="r" b="b"/>
              <a:pathLst>
                <a:path w="136" h="49">
                  <a:moveTo>
                    <a:pt x="0" y="0"/>
                  </a:moveTo>
                  <a:cubicBezTo>
                    <a:pt x="82" y="0"/>
                    <a:pt x="82" y="0"/>
                    <a:pt x="82" y="0"/>
                  </a:cubicBezTo>
                  <a:cubicBezTo>
                    <a:pt x="98" y="0"/>
                    <a:pt x="111" y="4"/>
                    <a:pt x="121" y="12"/>
                  </a:cubicBezTo>
                  <a:cubicBezTo>
                    <a:pt x="131" y="19"/>
                    <a:pt x="136" y="32"/>
                    <a:pt x="136" y="49"/>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5" name="Line 42"/>
            <p:cNvSpPr>
              <a:spLocks noChangeShapeType="1"/>
            </p:cNvSpPr>
            <p:nvPr/>
          </p:nvSpPr>
          <p:spPr bwMode="auto">
            <a:xfrm flipV="1">
              <a:off x="4540251" y="2366169"/>
              <a:ext cx="0" cy="3016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6" name="Rectangle 35"/>
            <p:cNvSpPr>
              <a:spLocks noChangeArrowheads="1"/>
            </p:cNvSpPr>
            <p:nvPr/>
          </p:nvSpPr>
          <p:spPr bwMode="auto">
            <a:xfrm>
              <a:off x="467544" y="260022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7" name="Rectangle 35"/>
            <p:cNvSpPr>
              <a:spLocks noChangeArrowheads="1"/>
            </p:cNvSpPr>
            <p:nvPr/>
          </p:nvSpPr>
          <p:spPr bwMode="auto">
            <a:xfrm>
              <a:off x="287524" y="27802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8" name="Rectangle 35"/>
            <p:cNvSpPr>
              <a:spLocks noChangeArrowheads="1"/>
            </p:cNvSpPr>
            <p:nvPr/>
          </p:nvSpPr>
          <p:spPr bwMode="auto">
            <a:xfrm>
              <a:off x="1295636" y="18801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9" name="Rectangle 35"/>
            <p:cNvSpPr>
              <a:spLocks noChangeArrowheads="1"/>
            </p:cNvSpPr>
            <p:nvPr/>
          </p:nvSpPr>
          <p:spPr bwMode="auto">
            <a:xfrm>
              <a:off x="1295636" y="2096169"/>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0" name="Rectangle 35"/>
            <p:cNvSpPr>
              <a:spLocks noChangeArrowheads="1"/>
            </p:cNvSpPr>
            <p:nvPr/>
          </p:nvSpPr>
          <p:spPr bwMode="auto">
            <a:xfrm>
              <a:off x="2139630" y="1548158"/>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1" name="Rectangle 35"/>
            <p:cNvSpPr>
              <a:spLocks noChangeArrowheads="1"/>
            </p:cNvSpPr>
            <p:nvPr/>
          </p:nvSpPr>
          <p:spPr bwMode="auto">
            <a:xfrm>
              <a:off x="2389088"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2" name="Rectangle 35"/>
            <p:cNvSpPr>
              <a:spLocks noChangeArrowheads="1"/>
            </p:cNvSpPr>
            <p:nvPr/>
          </p:nvSpPr>
          <p:spPr bwMode="auto">
            <a:xfrm>
              <a:off x="3715855" y="2672233"/>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3" name="Rectangle 35"/>
            <p:cNvSpPr>
              <a:spLocks noChangeArrowheads="1"/>
            </p:cNvSpPr>
            <p:nvPr/>
          </p:nvSpPr>
          <p:spPr bwMode="auto">
            <a:xfrm>
              <a:off x="3497261" y="27802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4" name="Rectangle 35"/>
            <p:cNvSpPr>
              <a:spLocks noChangeArrowheads="1"/>
            </p:cNvSpPr>
            <p:nvPr/>
          </p:nvSpPr>
          <p:spPr bwMode="auto">
            <a:xfrm>
              <a:off x="3651798" y="18801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5" name="Rectangle 35"/>
            <p:cNvSpPr>
              <a:spLocks noChangeArrowheads="1"/>
            </p:cNvSpPr>
            <p:nvPr/>
          </p:nvSpPr>
          <p:spPr bwMode="auto">
            <a:xfrm>
              <a:off x="4103948"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6" name="Rectangle 35"/>
            <p:cNvSpPr>
              <a:spLocks noChangeArrowheads="1"/>
            </p:cNvSpPr>
            <p:nvPr/>
          </p:nvSpPr>
          <p:spPr bwMode="auto">
            <a:xfrm>
              <a:off x="3851920" y="18801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7" name="Rectangle 35"/>
            <p:cNvSpPr>
              <a:spLocks noChangeArrowheads="1"/>
            </p:cNvSpPr>
            <p:nvPr/>
          </p:nvSpPr>
          <p:spPr bwMode="auto">
            <a:xfrm>
              <a:off x="4427984"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8" name="Rectangle 35"/>
            <p:cNvSpPr>
              <a:spLocks noChangeArrowheads="1"/>
            </p:cNvSpPr>
            <p:nvPr/>
          </p:nvSpPr>
          <p:spPr bwMode="auto">
            <a:xfrm>
              <a:off x="4427984" y="2584323"/>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9" name="Rectangle 35"/>
            <p:cNvSpPr>
              <a:spLocks noChangeArrowheads="1"/>
            </p:cNvSpPr>
            <p:nvPr/>
          </p:nvSpPr>
          <p:spPr bwMode="auto">
            <a:xfrm>
              <a:off x="4716016" y="2584323"/>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0" name="Rectangle 35"/>
            <p:cNvSpPr>
              <a:spLocks noChangeArrowheads="1"/>
            </p:cNvSpPr>
            <p:nvPr/>
          </p:nvSpPr>
          <p:spPr bwMode="auto">
            <a:xfrm>
              <a:off x="5444047" y="1880145"/>
              <a:ext cx="166688" cy="166688"/>
            </a:xfrm>
            <a:prstGeom prst="rect">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1" name="Rectangle 35"/>
            <p:cNvSpPr>
              <a:spLocks noChangeArrowheads="1"/>
            </p:cNvSpPr>
            <p:nvPr/>
          </p:nvSpPr>
          <p:spPr bwMode="auto">
            <a:xfrm>
              <a:off x="5600214" y="1880145"/>
              <a:ext cx="166688" cy="166688"/>
            </a:xfrm>
            <a:prstGeom prst="rect">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2" name="Rectangle 35"/>
            <p:cNvSpPr>
              <a:spLocks noChangeArrowheads="1"/>
            </p:cNvSpPr>
            <p:nvPr/>
          </p:nvSpPr>
          <p:spPr bwMode="auto">
            <a:xfrm>
              <a:off x="6444208" y="27802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3" name="Rectangle 35"/>
            <p:cNvSpPr>
              <a:spLocks noChangeArrowheads="1"/>
            </p:cNvSpPr>
            <p:nvPr/>
          </p:nvSpPr>
          <p:spPr bwMode="auto">
            <a:xfrm>
              <a:off x="6416155" y="18801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4" name="Rectangle 35"/>
            <p:cNvSpPr>
              <a:spLocks noChangeArrowheads="1"/>
            </p:cNvSpPr>
            <p:nvPr/>
          </p:nvSpPr>
          <p:spPr bwMode="auto">
            <a:xfrm>
              <a:off x="6228184"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5" name="Rectangle 35"/>
            <p:cNvSpPr>
              <a:spLocks noChangeArrowheads="1"/>
            </p:cNvSpPr>
            <p:nvPr/>
          </p:nvSpPr>
          <p:spPr bwMode="auto">
            <a:xfrm>
              <a:off x="8352420"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6" name="Rectangle 35"/>
            <p:cNvSpPr>
              <a:spLocks noChangeArrowheads="1"/>
            </p:cNvSpPr>
            <p:nvPr/>
          </p:nvSpPr>
          <p:spPr bwMode="auto">
            <a:xfrm>
              <a:off x="8629931" y="1484101"/>
              <a:ext cx="166688" cy="166688"/>
            </a:xfrm>
            <a:prstGeom prst="rect">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7" name="Rectangle 35"/>
            <p:cNvSpPr>
              <a:spLocks noChangeArrowheads="1"/>
            </p:cNvSpPr>
            <p:nvPr/>
          </p:nvSpPr>
          <p:spPr bwMode="auto">
            <a:xfrm>
              <a:off x="6668183" y="3421934"/>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sp>
        <p:nvSpPr>
          <p:cNvPr id="69" name="Rectangle 2"/>
          <p:cNvSpPr/>
          <p:nvPr/>
        </p:nvSpPr>
        <p:spPr>
          <a:xfrm>
            <a:off x="823987" y="340934"/>
            <a:ext cx="7465764" cy="769431"/>
          </a:xfrm>
          <a:prstGeom prst="rect">
            <a:avLst/>
          </a:prstGeom>
        </p:spPr>
        <p:txBody>
          <a:bodyPr wrap="square" lIns="91430" tIns="45715" rIns="91430" bIns="45715">
            <a:spAutoFit/>
          </a:bodyPr>
          <a:lstStyle/>
          <a:p>
            <a:pPr lvl="0" algn="ctr">
              <a:defRPr/>
            </a:pPr>
            <a:r>
              <a:rPr lang="nl-NL" sz="2200" dirty="0">
                <a:solidFill>
                  <a:srgbClr val="207C9E"/>
                </a:solidFill>
              </a:rPr>
              <a:t>To make the energy market truly sustainable – green, reliable and affordable- our system needs more flexibility. </a:t>
            </a:r>
          </a:p>
        </p:txBody>
      </p:sp>
    </p:spTree>
    <p:extLst>
      <p:ext uri="{BB962C8B-B14F-4D97-AF65-F5344CB8AC3E}">
        <p14:creationId xmlns:p14="http://schemas.microsoft.com/office/powerpoint/2010/main" val="157035954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p:cNvSpPr/>
          <p:nvPr/>
        </p:nvSpPr>
        <p:spPr>
          <a:xfrm>
            <a:off x="6158415" y="2611536"/>
            <a:ext cx="2813482" cy="1455638"/>
          </a:xfrm>
          <a:prstGeom prst="rect">
            <a:avLst/>
          </a:prstGeom>
          <a:solidFill>
            <a:schemeClr val="accent5">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rgbClr val="264054"/>
                </a:solidFill>
              </a:rPr>
              <a:t>No constraints: normal operation</a:t>
            </a:r>
            <a:endParaRPr lang="en-GB" sz="1400" dirty="0">
              <a:solidFill>
                <a:srgbClr val="264054"/>
              </a:solidFill>
            </a:endParaRPr>
          </a:p>
        </p:txBody>
      </p:sp>
      <p:sp>
        <p:nvSpPr>
          <p:cNvPr id="95" name="Rectangle 94"/>
          <p:cNvSpPr/>
          <p:nvPr/>
        </p:nvSpPr>
        <p:spPr>
          <a:xfrm>
            <a:off x="6158415" y="1989482"/>
            <a:ext cx="2813482" cy="634601"/>
          </a:xfrm>
          <a:prstGeom prst="rect">
            <a:avLst/>
          </a:prstGeom>
          <a:solidFill>
            <a:schemeClr val="bg2">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rgbClr val="264054"/>
                </a:solidFill>
              </a:rPr>
              <a:t>Flex to fix constraints</a:t>
            </a:r>
            <a:endParaRPr lang="en-GB" sz="1400" dirty="0">
              <a:solidFill>
                <a:srgbClr val="264054"/>
              </a:solidFill>
            </a:endParaRPr>
          </a:p>
        </p:txBody>
      </p:sp>
      <p:sp>
        <p:nvSpPr>
          <p:cNvPr id="94" name="Rectangle 93"/>
          <p:cNvSpPr/>
          <p:nvPr/>
        </p:nvSpPr>
        <p:spPr>
          <a:xfrm>
            <a:off x="6158415" y="1285874"/>
            <a:ext cx="2813481" cy="703609"/>
          </a:xfrm>
          <a:prstGeom prst="rect">
            <a:avLst/>
          </a:prstGeom>
          <a:solidFill>
            <a:schemeClr val="tx2">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rgbClr val="264054"/>
                </a:solidFill>
              </a:rPr>
              <a:t>When flex does not suffice: graceful degradation</a:t>
            </a:r>
            <a:endParaRPr lang="en-GB" sz="1400" dirty="0">
              <a:solidFill>
                <a:srgbClr val="264054"/>
              </a:solidFill>
            </a:endParaRPr>
          </a:p>
        </p:txBody>
      </p:sp>
      <p:sp>
        <p:nvSpPr>
          <p:cNvPr id="68" name="Rechthoek 10"/>
          <p:cNvSpPr>
            <a:spLocks noChangeAspect="1"/>
          </p:cNvSpPr>
          <p:nvPr/>
        </p:nvSpPr>
        <p:spPr>
          <a:xfrm>
            <a:off x="6158416" y="781023"/>
            <a:ext cx="2884587" cy="3286152"/>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smtClean="0">
                <a:solidFill>
                  <a:srgbClr val="E95120"/>
                </a:solidFill>
              </a:rPr>
              <a:t>        </a:t>
            </a:r>
            <a:endParaRPr lang="nl-NL" dirty="0">
              <a:solidFill>
                <a:srgbClr val="E95120"/>
              </a:solidFill>
            </a:endParaRPr>
          </a:p>
        </p:txBody>
      </p:sp>
      <p:grpSp>
        <p:nvGrpSpPr>
          <p:cNvPr id="108" name="Group 107"/>
          <p:cNvGrpSpPr/>
          <p:nvPr/>
        </p:nvGrpSpPr>
        <p:grpSpPr>
          <a:xfrm>
            <a:off x="5832976" y="771549"/>
            <a:ext cx="268885" cy="3295626"/>
            <a:chOff x="1562098" y="771549"/>
            <a:chExt cx="325438" cy="3295626"/>
          </a:xfrm>
        </p:grpSpPr>
        <p:sp>
          <p:nvSpPr>
            <p:cNvPr id="112" name="Rectangle 111"/>
            <p:cNvSpPr/>
            <p:nvPr/>
          </p:nvSpPr>
          <p:spPr>
            <a:xfrm>
              <a:off x="1562099" y="2624083"/>
              <a:ext cx="325437" cy="1443091"/>
            </a:xfrm>
            <a:prstGeom prst="rect">
              <a:avLst/>
            </a:prstGeom>
            <a:solidFill>
              <a:schemeClr val="accent5">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103" name="Rectangle 102"/>
            <p:cNvSpPr/>
            <p:nvPr/>
          </p:nvSpPr>
          <p:spPr>
            <a:xfrm>
              <a:off x="1562099" y="1989484"/>
              <a:ext cx="325437" cy="634599"/>
            </a:xfrm>
            <a:prstGeom prst="rect">
              <a:avLst/>
            </a:prstGeom>
            <a:solidFill>
              <a:schemeClr val="bg2">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100" name="Rectangle 99"/>
            <p:cNvSpPr/>
            <p:nvPr/>
          </p:nvSpPr>
          <p:spPr>
            <a:xfrm>
              <a:off x="1562099" y="781023"/>
              <a:ext cx="325437" cy="504852"/>
            </a:xfrm>
            <a:prstGeom prst="rect">
              <a:avLst/>
            </a:prstGeom>
            <a:solidFill>
              <a:srgbClr val="C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102" name="Rectangle 101"/>
            <p:cNvSpPr/>
            <p:nvPr/>
          </p:nvSpPr>
          <p:spPr>
            <a:xfrm>
              <a:off x="1562099" y="1285875"/>
              <a:ext cx="325437" cy="703607"/>
            </a:xfrm>
            <a:prstGeom prst="rect">
              <a:avLst/>
            </a:prstGeom>
            <a:solidFill>
              <a:schemeClr val="tx2">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101" name="Rechthoek 10"/>
            <p:cNvSpPr>
              <a:spLocks noChangeAspect="1"/>
            </p:cNvSpPr>
            <p:nvPr/>
          </p:nvSpPr>
          <p:spPr>
            <a:xfrm>
              <a:off x="1562098" y="781023"/>
              <a:ext cx="325437" cy="3286152"/>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smtClean="0">
                  <a:solidFill>
                    <a:prstClr val="white"/>
                  </a:solidFill>
                </a:rPr>
                <a:t>        </a:t>
              </a:r>
              <a:endParaRPr lang="nl-NL" dirty="0">
                <a:solidFill>
                  <a:prstClr val="white"/>
                </a:solidFill>
              </a:endParaRPr>
            </a:p>
          </p:txBody>
        </p:sp>
        <p:sp>
          <p:nvSpPr>
            <p:cNvPr id="104" name="Titel 7"/>
            <p:cNvSpPr txBox="1">
              <a:spLocks/>
            </p:cNvSpPr>
            <p:nvPr/>
          </p:nvSpPr>
          <p:spPr>
            <a:xfrm rot="16200000">
              <a:off x="1259438" y="3437911"/>
              <a:ext cx="930755" cy="288091"/>
            </a:xfrm>
            <a:prstGeom prst="rect">
              <a:avLst/>
            </a:prstGeom>
          </p:spPr>
          <p:txBody>
            <a:bodyPr lIns="0" tIns="34290" rIns="6858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srgbClr val="197AA0"/>
                  </a:solidFill>
                </a:rPr>
                <a:t>Normal Operation</a:t>
              </a:r>
              <a:endParaRPr lang="nl-NL" sz="900" dirty="0">
                <a:solidFill>
                  <a:srgbClr val="197AA0"/>
                </a:solidFill>
              </a:endParaRPr>
            </a:p>
          </p:txBody>
        </p:sp>
        <p:sp>
          <p:nvSpPr>
            <p:cNvPr id="105" name="Titel 7"/>
            <p:cNvSpPr txBox="1">
              <a:spLocks/>
            </p:cNvSpPr>
            <p:nvPr/>
          </p:nvSpPr>
          <p:spPr>
            <a:xfrm rot="16200000">
              <a:off x="1166327" y="2403926"/>
              <a:ext cx="1116977" cy="288091"/>
            </a:xfrm>
            <a:prstGeom prst="rect">
              <a:avLst/>
            </a:prstGeom>
          </p:spPr>
          <p:txBody>
            <a:bodyPr lIns="0" tIns="34290" rIns="6858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srgbClr val="197AA0"/>
                  </a:solidFill>
                </a:rPr>
                <a:t>Capacity Management</a:t>
              </a:r>
              <a:endParaRPr lang="nl-NL" sz="900" dirty="0">
                <a:solidFill>
                  <a:srgbClr val="197AA0"/>
                </a:solidFill>
              </a:endParaRPr>
            </a:p>
          </p:txBody>
        </p:sp>
        <p:sp>
          <p:nvSpPr>
            <p:cNvPr id="106" name="Titel 7"/>
            <p:cNvSpPr txBox="1">
              <a:spLocks/>
            </p:cNvSpPr>
            <p:nvPr/>
          </p:nvSpPr>
          <p:spPr>
            <a:xfrm rot="16200000">
              <a:off x="1375021" y="1495643"/>
              <a:ext cx="699589" cy="288091"/>
            </a:xfrm>
            <a:prstGeom prst="rect">
              <a:avLst/>
            </a:prstGeom>
          </p:spPr>
          <p:txBody>
            <a:bodyPr lIns="0" tIns="34290" rIns="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a:solidFill>
                    <a:srgbClr val="197AA0"/>
                  </a:solidFill>
                </a:rPr>
                <a:t>Graceful Degradation</a:t>
              </a:r>
            </a:p>
          </p:txBody>
        </p:sp>
        <p:sp>
          <p:nvSpPr>
            <p:cNvPr id="107" name="Titel 7"/>
            <p:cNvSpPr txBox="1">
              <a:spLocks/>
            </p:cNvSpPr>
            <p:nvPr/>
          </p:nvSpPr>
          <p:spPr>
            <a:xfrm rot="16200000">
              <a:off x="1455746" y="896573"/>
              <a:ext cx="538139" cy="288091"/>
            </a:xfrm>
            <a:prstGeom prst="rect">
              <a:avLst/>
            </a:prstGeom>
          </p:spPr>
          <p:txBody>
            <a:bodyPr lIns="0" tIns="34290" rIns="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prstClr val="white"/>
                  </a:solidFill>
                </a:rPr>
                <a:t>Power Outage</a:t>
              </a:r>
              <a:endParaRPr lang="nl-NL" sz="900" dirty="0">
                <a:solidFill>
                  <a:prstClr val="white"/>
                </a:solidFill>
              </a:endParaRPr>
            </a:p>
          </p:txBody>
        </p:sp>
      </p:grpSp>
      <p:grpSp>
        <p:nvGrpSpPr>
          <p:cNvPr id="121" name="Group 120"/>
          <p:cNvGrpSpPr/>
          <p:nvPr/>
        </p:nvGrpSpPr>
        <p:grpSpPr>
          <a:xfrm>
            <a:off x="477877" y="793569"/>
            <a:ext cx="961806" cy="3267508"/>
            <a:chOff x="755574" y="771549"/>
            <a:chExt cx="325439" cy="3295626"/>
          </a:xfrm>
        </p:grpSpPr>
        <p:grpSp>
          <p:nvGrpSpPr>
            <p:cNvPr id="109" name="Group 108"/>
            <p:cNvGrpSpPr/>
            <p:nvPr/>
          </p:nvGrpSpPr>
          <p:grpSpPr>
            <a:xfrm>
              <a:off x="755576" y="771549"/>
              <a:ext cx="325437" cy="3295626"/>
              <a:chOff x="1562098" y="771549"/>
              <a:chExt cx="325437" cy="3295626"/>
            </a:xfrm>
          </p:grpSpPr>
          <p:sp>
            <p:nvSpPr>
              <p:cNvPr id="113" name="Rechthoek 10"/>
              <p:cNvSpPr>
                <a:spLocks noChangeAspect="1"/>
              </p:cNvSpPr>
              <p:nvPr/>
            </p:nvSpPr>
            <p:spPr>
              <a:xfrm>
                <a:off x="1562098" y="781023"/>
                <a:ext cx="325437" cy="3286152"/>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smtClean="0">
                    <a:solidFill>
                      <a:prstClr val="white"/>
                    </a:solidFill>
                  </a:rPr>
                  <a:t>        </a:t>
                </a:r>
                <a:endParaRPr lang="nl-NL" dirty="0">
                  <a:solidFill>
                    <a:prstClr val="white"/>
                  </a:solidFill>
                </a:endParaRPr>
              </a:p>
            </p:txBody>
          </p:sp>
          <p:sp>
            <p:nvSpPr>
              <p:cNvPr id="114" name="Titel 7"/>
              <p:cNvSpPr txBox="1">
                <a:spLocks/>
              </p:cNvSpPr>
              <p:nvPr/>
            </p:nvSpPr>
            <p:spPr>
              <a:xfrm rot="16200000">
                <a:off x="997249" y="3175722"/>
                <a:ext cx="1455134" cy="288091"/>
              </a:xfrm>
              <a:prstGeom prst="rect">
                <a:avLst/>
              </a:prstGeom>
              <a:solidFill>
                <a:srgbClr val="00B050"/>
              </a:solidFill>
            </p:spPr>
            <p:txBody>
              <a:bodyPr lIns="0" tIns="34290" rIns="6858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srgbClr val="197AA0"/>
                    </a:solidFill>
                  </a:rPr>
                  <a:t>Normal Operation</a:t>
                </a:r>
                <a:endParaRPr lang="nl-NL" sz="900" dirty="0">
                  <a:solidFill>
                    <a:srgbClr val="197AA0"/>
                  </a:solidFill>
                </a:endParaRPr>
              </a:p>
            </p:txBody>
          </p:sp>
          <p:sp>
            <p:nvSpPr>
              <p:cNvPr id="117" name="Titel 7"/>
              <p:cNvSpPr txBox="1">
                <a:spLocks/>
              </p:cNvSpPr>
              <p:nvPr/>
            </p:nvSpPr>
            <p:spPr>
              <a:xfrm rot="16200000">
                <a:off x="1257184" y="1095135"/>
                <a:ext cx="935264" cy="288091"/>
              </a:xfrm>
              <a:prstGeom prst="rect">
                <a:avLst/>
              </a:prstGeom>
              <a:solidFill>
                <a:srgbClr val="FF0000"/>
              </a:solidFill>
            </p:spPr>
            <p:txBody>
              <a:bodyPr lIns="0" tIns="34290" rIns="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srgbClr val="197AA0"/>
                    </a:solidFill>
                  </a:rPr>
                  <a:t>Power Outage</a:t>
                </a:r>
                <a:endParaRPr lang="nl-NL" sz="900" dirty="0">
                  <a:solidFill>
                    <a:srgbClr val="197AA0"/>
                  </a:solidFill>
                </a:endParaRPr>
              </a:p>
            </p:txBody>
          </p:sp>
        </p:grpSp>
        <p:cxnSp>
          <p:nvCxnSpPr>
            <p:cNvPr id="119" name="Straight Connector 118"/>
            <p:cNvCxnSpPr/>
            <p:nvPr/>
          </p:nvCxnSpPr>
          <p:spPr>
            <a:xfrm flipH="1">
              <a:off x="755574" y="2588304"/>
              <a:ext cx="325438" cy="0"/>
            </a:xfrm>
            <a:prstGeom prst="lin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cxnSp>
      </p:grpSp>
      <p:grpSp>
        <p:nvGrpSpPr>
          <p:cNvPr id="132" name="Group 131"/>
          <p:cNvGrpSpPr/>
          <p:nvPr/>
        </p:nvGrpSpPr>
        <p:grpSpPr>
          <a:xfrm>
            <a:off x="5508642" y="1989323"/>
            <a:ext cx="238028" cy="2077853"/>
            <a:chOff x="1160509" y="1989323"/>
            <a:chExt cx="288091" cy="2077853"/>
          </a:xfrm>
        </p:grpSpPr>
        <p:grpSp>
          <p:nvGrpSpPr>
            <p:cNvPr id="130" name="Group 129"/>
            <p:cNvGrpSpPr/>
            <p:nvPr/>
          </p:nvGrpSpPr>
          <p:grpSpPr>
            <a:xfrm>
              <a:off x="1228092" y="1989323"/>
              <a:ext cx="152925" cy="2077853"/>
              <a:chOff x="1228092" y="1989323"/>
              <a:chExt cx="152925" cy="2077853"/>
            </a:xfrm>
          </p:grpSpPr>
          <p:sp>
            <p:nvSpPr>
              <p:cNvPr id="122" name="Rectangle 121"/>
              <p:cNvSpPr/>
              <p:nvPr/>
            </p:nvSpPr>
            <p:spPr>
              <a:xfrm rot="16200000">
                <a:off x="403420" y="3005387"/>
                <a:ext cx="1802268" cy="4571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125" name="Isosceles Triangle 124"/>
              <p:cNvSpPr/>
              <p:nvPr/>
            </p:nvSpPr>
            <p:spPr>
              <a:xfrm>
                <a:off x="1228092" y="1989323"/>
                <a:ext cx="152925" cy="137790"/>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128" name="Isosceles Triangle 127"/>
              <p:cNvSpPr/>
              <p:nvPr/>
            </p:nvSpPr>
            <p:spPr>
              <a:xfrm rot="10800000" flipH="1">
                <a:off x="1228092" y="3929386"/>
                <a:ext cx="152925" cy="137790"/>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grpSp>
        <p:sp>
          <p:nvSpPr>
            <p:cNvPr id="131" name="Titel 7"/>
            <p:cNvSpPr txBox="1">
              <a:spLocks/>
            </p:cNvSpPr>
            <p:nvPr/>
          </p:nvSpPr>
          <p:spPr>
            <a:xfrm rot="16200000">
              <a:off x="917304" y="2854741"/>
              <a:ext cx="774502" cy="288091"/>
            </a:xfrm>
            <a:prstGeom prst="rect">
              <a:avLst/>
            </a:prstGeom>
            <a:solidFill>
              <a:schemeClr val="bg1"/>
            </a:solidFill>
          </p:spPr>
          <p:txBody>
            <a:bodyPr lIns="0" tIns="34290" rIns="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srgbClr val="197AA0"/>
                  </a:solidFill>
                </a:rPr>
                <a:t>Free Market</a:t>
              </a:r>
              <a:endParaRPr lang="nl-NL" sz="900" dirty="0">
                <a:solidFill>
                  <a:srgbClr val="197AA0"/>
                </a:solidFill>
              </a:endParaRPr>
            </a:p>
          </p:txBody>
        </p:sp>
      </p:grpSp>
      <p:grpSp>
        <p:nvGrpSpPr>
          <p:cNvPr id="133" name="Group 132"/>
          <p:cNvGrpSpPr/>
          <p:nvPr/>
        </p:nvGrpSpPr>
        <p:grpSpPr>
          <a:xfrm>
            <a:off x="39131" y="3100452"/>
            <a:ext cx="261901" cy="966724"/>
            <a:chOff x="1160511" y="3100452"/>
            <a:chExt cx="288091" cy="966724"/>
          </a:xfrm>
        </p:grpSpPr>
        <p:grpSp>
          <p:nvGrpSpPr>
            <p:cNvPr id="134" name="Group 133"/>
            <p:cNvGrpSpPr/>
            <p:nvPr/>
          </p:nvGrpSpPr>
          <p:grpSpPr>
            <a:xfrm>
              <a:off x="1228092" y="3100452"/>
              <a:ext cx="152925" cy="966724"/>
              <a:chOff x="1228092" y="3100452"/>
              <a:chExt cx="152925" cy="966724"/>
            </a:xfrm>
          </p:grpSpPr>
          <p:sp>
            <p:nvSpPr>
              <p:cNvPr id="136" name="Rectangle 135"/>
              <p:cNvSpPr/>
              <p:nvPr/>
            </p:nvSpPr>
            <p:spPr>
              <a:xfrm rot="16200000">
                <a:off x="948163" y="3550127"/>
                <a:ext cx="712785" cy="4572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137" name="Isosceles Triangle 136"/>
              <p:cNvSpPr/>
              <p:nvPr/>
            </p:nvSpPr>
            <p:spPr>
              <a:xfrm>
                <a:off x="1228092" y="3100452"/>
                <a:ext cx="152925" cy="137790"/>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138" name="Isosceles Triangle 137"/>
              <p:cNvSpPr/>
              <p:nvPr/>
            </p:nvSpPr>
            <p:spPr>
              <a:xfrm rot="10800000" flipH="1">
                <a:off x="1228092" y="3929386"/>
                <a:ext cx="152925" cy="137790"/>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grpSp>
        <p:sp>
          <p:nvSpPr>
            <p:cNvPr id="135" name="Titel 7"/>
            <p:cNvSpPr txBox="1">
              <a:spLocks/>
            </p:cNvSpPr>
            <p:nvPr/>
          </p:nvSpPr>
          <p:spPr>
            <a:xfrm rot="16200000">
              <a:off x="1016918" y="3426544"/>
              <a:ext cx="575278" cy="288091"/>
            </a:xfrm>
            <a:prstGeom prst="rect">
              <a:avLst/>
            </a:prstGeom>
            <a:solidFill>
              <a:schemeClr val="bg1"/>
            </a:solidFill>
          </p:spPr>
          <p:txBody>
            <a:bodyPr lIns="0" tIns="34290" rIns="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srgbClr val="197AA0"/>
                  </a:solidFill>
                </a:rPr>
                <a:t>Free Market</a:t>
              </a:r>
              <a:endParaRPr lang="nl-NL" sz="900" dirty="0">
                <a:solidFill>
                  <a:srgbClr val="197AA0"/>
                </a:solidFill>
              </a:endParaRPr>
            </a:p>
          </p:txBody>
        </p:sp>
      </p:grpSp>
      <p:sp>
        <p:nvSpPr>
          <p:cNvPr id="2" name="Tekstvak 1"/>
          <p:cNvSpPr txBox="1"/>
          <p:nvPr/>
        </p:nvSpPr>
        <p:spPr>
          <a:xfrm>
            <a:off x="-14352" y="15240"/>
            <a:ext cx="1236236" cy="646331"/>
          </a:xfrm>
          <a:prstGeom prst="rect">
            <a:avLst/>
          </a:prstGeom>
          <a:noFill/>
        </p:spPr>
        <p:txBody>
          <a:bodyPr wrap="none" rtlCol="0">
            <a:spAutoFit/>
          </a:bodyPr>
          <a:lstStyle/>
          <a:p>
            <a:pPr algn="ctr"/>
            <a:r>
              <a:rPr lang="en-GB" dirty="0" smtClean="0">
                <a:solidFill>
                  <a:srgbClr val="6BA6C3"/>
                </a:solidFill>
              </a:rPr>
              <a:t>CLASSIC </a:t>
            </a:r>
          </a:p>
          <a:p>
            <a:pPr algn="ctr"/>
            <a:r>
              <a:rPr lang="en-GB" dirty="0" smtClean="0">
                <a:solidFill>
                  <a:srgbClr val="6BA6C3"/>
                </a:solidFill>
              </a:rPr>
              <a:t>GRID</a:t>
            </a:r>
            <a:endParaRPr lang="en-GB" dirty="0">
              <a:solidFill>
                <a:srgbClr val="6BA6C3"/>
              </a:solidFill>
            </a:endParaRPr>
          </a:p>
        </p:txBody>
      </p:sp>
      <p:sp>
        <p:nvSpPr>
          <p:cNvPr id="78" name="Tekstvak 77"/>
          <p:cNvSpPr txBox="1"/>
          <p:nvPr/>
        </p:nvSpPr>
        <p:spPr>
          <a:xfrm>
            <a:off x="1963056" y="0"/>
            <a:ext cx="7062610" cy="369332"/>
          </a:xfrm>
          <a:prstGeom prst="rect">
            <a:avLst/>
          </a:prstGeom>
          <a:noFill/>
        </p:spPr>
        <p:txBody>
          <a:bodyPr wrap="square" rtlCol="0">
            <a:spAutoFit/>
          </a:bodyPr>
          <a:lstStyle/>
          <a:p>
            <a:pPr algn="ctr"/>
            <a:r>
              <a:rPr lang="en-GB" dirty="0" smtClean="0">
                <a:solidFill>
                  <a:srgbClr val="6BA6C3"/>
                </a:solidFill>
              </a:rPr>
              <a:t>SMART GRID</a:t>
            </a:r>
            <a:endParaRPr lang="en-GB" dirty="0">
              <a:solidFill>
                <a:srgbClr val="6BA6C3"/>
              </a:solidFill>
            </a:endParaRPr>
          </a:p>
        </p:txBody>
      </p:sp>
      <p:sp>
        <p:nvSpPr>
          <p:cNvPr id="3" name="Rechthoek 2"/>
          <p:cNvSpPr/>
          <p:nvPr/>
        </p:nvSpPr>
        <p:spPr>
          <a:xfrm>
            <a:off x="6158416" y="771548"/>
            <a:ext cx="2813480" cy="5381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prstClr val="white"/>
              </a:solidFill>
            </a:endParaRPr>
          </a:p>
        </p:txBody>
      </p:sp>
      <p:sp>
        <p:nvSpPr>
          <p:cNvPr id="42" name="Rectangle 114"/>
          <p:cNvSpPr/>
          <p:nvPr/>
        </p:nvSpPr>
        <p:spPr>
          <a:xfrm>
            <a:off x="2362629" y="2624082"/>
            <a:ext cx="2813482" cy="1455638"/>
          </a:xfrm>
          <a:prstGeom prst="rect">
            <a:avLst/>
          </a:prstGeom>
          <a:solidFill>
            <a:schemeClr val="accent5">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rgbClr val="264054"/>
                </a:solidFill>
              </a:rPr>
              <a:t>No constraints: normal operation</a:t>
            </a:r>
            <a:endParaRPr lang="en-GB" sz="1400" dirty="0">
              <a:solidFill>
                <a:srgbClr val="264054"/>
              </a:solidFill>
            </a:endParaRPr>
          </a:p>
        </p:txBody>
      </p:sp>
      <p:sp>
        <p:nvSpPr>
          <p:cNvPr id="43" name="Rectangle 94"/>
          <p:cNvSpPr/>
          <p:nvPr/>
        </p:nvSpPr>
        <p:spPr>
          <a:xfrm>
            <a:off x="2362629" y="2002028"/>
            <a:ext cx="2813482" cy="747522"/>
          </a:xfrm>
          <a:prstGeom prst="rect">
            <a:avLst/>
          </a:prstGeom>
          <a:solidFill>
            <a:schemeClr val="bg2">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rgbClr val="264054"/>
                </a:solidFill>
              </a:rPr>
              <a:t>‘Yellow is the new green’</a:t>
            </a:r>
          </a:p>
          <a:p>
            <a:pPr algn="ctr"/>
            <a:r>
              <a:rPr lang="en-GB" sz="1400" dirty="0" smtClean="0">
                <a:solidFill>
                  <a:srgbClr val="264054"/>
                </a:solidFill>
              </a:rPr>
              <a:t>Flex to fix constraints</a:t>
            </a:r>
            <a:endParaRPr lang="en-GB" sz="1400" dirty="0">
              <a:solidFill>
                <a:srgbClr val="264054"/>
              </a:solidFill>
            </a:endParaRPr>
          </a:p>
        </p:txBody>
      </p:sp>
      <p:sp>
        <p:nvSpPr>
          <p:cNvPr id="45" name="Rechthoek 10"/>
          <p:cNvSpPr>
            <a:spLocks noChangeAspect="1"/>
          </p:cNvSpPr>
          <p:nvPr/>
        </p:nvSpPr>
        <p:spPr>
          <a:xfrm>
            <a:off x="2362630" y="793569"/>
            <a:ext cx="2884587" cy="3286152"/>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smtClean="0">
                <a:solidFill>
                  <a:srgbClr val="E95120"/>
                </a:solidFill>
              </a:rPr>
              <a:t>        </a:t>
            </a:r>
            <a:endParaRPr lang="nl-NL" dirty="0">
              <a:solidFill>
                <a:srgbClr val="E95120"/>
              </a:solidFill>
            </a:endParaRPr>
          </a:p>
        </p:txBody>
      </p:sp>
      <p:grpSp>
        <p:nvGrpSpPr>
          <p:cNvPr id="46" name="Group 107"/>
          <p:cNvGrpSpPr/>
          <p:nvPr/>
        </p:nvGrpSpPr>
        <p:grpSpPr>
          <a:xfrm>
            <a:off x="2037190" y="784094"/>
            <a:ext cx="268885" cy="3295627"/>
            <a:chOff x="1562098" y="771548"/>
            <a:chExt cx="325438" cy="3295627"/>
          </a:xfrm>
        </p:grpSpPr>
        <p:sp>
          <p:nvSpPr>
            <p:cNvPr id="47" name="Rectangle 111"/>
            <p:cNvSpPr/>
            <p:nvPr/>
          </p:nvSpPr>
          <p:spPr>
            <a:xfrm>
              <a:off x="1562099" y="2611537"/>
              <a:ext cx="325437" cy="1455638"/>
            </a:xfrm>
            <a:prstGeom prst="rect">
              <a:avLst/>
            </a:prstGeom>
            <a:solidFill>
              <a:schemeClr val="accent5">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48" name="Rectangle 102"/>
            <p:cNvSpPr/>
            <p:nvPr/>
          </p:nvSpPr>
          <p:spPr>
            <a:xfrm>
              <a:off x="1562099" y="1989484"/>
              <a:ext cx="325437" cy="622052"/>
            </a:xfrm>
            <a:prstGeom prst="rect">
              <a:avLst/>
            </a:prstGeom>
            <a:solidFill>
              <a:schemeClr val="bg2">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49" name="Rectangle 99"/>
            <p:cNvSpPr/>
            <p:nvPr/>
          </p:nvSpPr>
          <p:spPr>
            <a:xfrm>
              <a:off x="1580770" y="781023"/>
              <a:ext cx="306766" cy="1208300"/>
            </a:xfrm>
            <a:prstGeom prst="rect">
              <a:avLst/>
            </a:prstGeom>
            <a:solidFill>
              <a:srgbClr val="C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50" name="Rectangle 101"/>
            <p:cNvSpPr/>
            <p:nvPr/>
          </p:nvSpPr>
          <p:spPr>
            <a:xfrm>
              <a:off x="1562099" y="1285875"/>
              <a:ext cx="325437" cy="703607"/>
            </a:xfrm>
            <a:prstGeom prst="rect">
              <a:avLst/>
            </a:prstGeom>
            <a:solidFill>
              <a:schemeClr val="tx2">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51" name="Rechthoek 10"/>
            <p:cNvSpPr>
              <a:spLocks noChangeAspect="1"/>
            </p:cNvSpPr>
            <p:nvPr/>
          </p:nvSpPr>
          <p:spPr>
            <a:xfrm>
              <a:off x="1562098" y="781023"/>
              <a:ext cx="325437" cy="3286152"/>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smtClean="0">
                  <a:solidFill>
                    <a:prstClr val="white"/>
                  </a:solidFill>
                </a:rPr>
                <a:t>        </a:t>
              </a:r>
              <a:endParaRPr lang="nl-NL" dirty="0">
                <a:solidFill>
                  <a:prstClr val="white"/>
                </a:solidFill>
              </a:endParaRPr>
            </a:p>
          </p:txBody>
        </p:sp>
        <p:sp>
          <p:nvSpPr>
            <p:cNvPr id="52" name="Titel 7"/>
            <p:cNvSpPr txBox="1">
              <a:spLocks/>
            </p:cNvSpPr>
            <p:nvPr/>
          </p:nvSpPr>
          <p:spPr>
            <a:xfrm rot="16200000">
              <a:off x="1259438" y="3437911"/>
              <a:ext cx="930755" cy="288091"/>
            </a:xfrm>
            <a:prstGeom prst="rect">
              <a:avLst/>
            </a:prstGeom>
          </p:spPr>
          <p:txBody>
            <a:bodyPr lIns="0" tIns="34290" rIns="6858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srgbClr val="197AA0"/>
                  </a:solidFill>
                </a:rPr>
                <a:t>Normal Operation</a:t>
              </a:r>
              <a:endParaRPr lang="nl-NL" sz="900" dirty="0">
                <a:solidFill>
                  <a:srgbClr val="197AA0"/>
                </a:solidFill>
              </a:endParaRPr>
            </a:p>
          </p:txBody>
        </p:sp>
        <p:sp>
          <p:nvSpPr>
            <p:cNvPr id="53" name="Titel 7"/>
            <p:cNvSpPr txBox="1">
              <a:spLocks/>
            </p:cNvSpPr>
            <p:nvPr/>
          </p:nvSpPr>
          <p:spPr>
            <a:xfrm rot="16200000">
              <a:off x="1413790" y="2156464"/>
              <a:ext cx="622052" cy="288091"/>
            </a:xfrm>
            <a:prstGeom prst="rect">
              <a:avLst/>
            </a:prstGeom>
          </p:spPr>
          <p:txBody>
            <a:bodyPr lIns="0" tIns="34290" rIns="6858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srgbClr val="197AA0"/>
                  </a:solidFill>
                </a:rPr>
                <a:t>Capacity Management</a:t>
              </a:r>
              <a:endParaRPr lang="nl-NL" sz="900" dirty="0">
                <a:solidFill>
                  <a:srgbClr val="197AA0"/>
                </a:solidFill>
              </a:endParaRPr>
            </a:p>
          </p:txBody>
        </p:sp>
        <p:sp>
          <p:nvSpPr>
            <p:cNvPr id="55" name="Titel 7"/>
            <p:cNvSpPr txBox="1">
              <a:spLocks/>
            </p:cNvSpPr>
            <p:nvPr/>
          </p:nvSpPr>
          <p:spPr>
            <a:xfrm rot="16200000">
              <a:off x="1142464" y="1209854"/>
              <a:ext cx="1164704" cy="288092"/>
            </a:xfrm>
            <a:prstGeom prst="rect">
              <a:avLst/>
            </a:prstGeom>
          </p:spPr>
          <p:txBody>
            <a:bodyPr lIns="0" tIns="34290" rIns="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prstClr val="white"/>
                  </a:solidFill>
                </a:rPr>
                <a:t>Power Outage</a:t>
              </a:r>
              <a:endParaRPr lang="nl-NL" sz="900" dirty="0">
                <a:solidFill>
                  <a:prstClr val="white"/>
                </a:solidFill>
              </a:endParaRPr>
            </a:p>
          </p:txBody>
        </p:sp>
      </p:grpSp>
      <p:grpSp>
        <p:nvGrpSpPr>
          <p:cNvPr id="56" name="Group 131"/>
          <p:cNvGrpSpPr/>
          <p:nvPr/>
        </p:nvGrpSpPr>
        <p:grpSpPr>
          <a:xfrm>
            <a:off x="1680582" y="2001869"/>
            <a:ext cx="238028" cy="2077853"/>
            <a:chOff x="1160509" y="1989323"/>
            <a:chExt cx="288091" cy="2077853"/>
          </a:xfrm>
        </p:grpSpPr>
        <p:grpSp>
          <p:nvGrpSpPr>
            <p:cNvPr id="57" name="Group 129"/>
            <p:cNvGrpSpPr/>
            <p:nvPr/>
          </p:nvGrpSpPr>
          <p:grpSpPr>
            <a:xfrm>
              <a:off x="1228092" y="1989323"/>
              <a:ext cx="152925" cy="2077853"/>
              <a:chOff x="1228092" y="1989323"/>
              <a:chExt cx="152925" cy="2077853"/>
            </a:xfrm>
          </p:grpSpPr>
          <p:sp>
            <p:nvSpPr>
              <p:cNvPr id="59" name="Rectangle 121"/>
              <p:cNvSpPr/>
              <p:nvPr/>
            </p:nvSpPr>
            <p:spPr>
              <a:xfrm rot="16200000">
                <a:off x="403420" y="3005387"/>
                <a:ext cx="1802268" cy="4571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60" name="Isosceles Triangle 124"/>
              <p:cNvSpPr/>
              <p:nvPr/>
            </p:nvSpPr>
            <p:spPr>
              <a:xfrm>
                <a:off x="1228092" y="1989323"/>
                <a:ext cx="152925" cy="137790"/>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61" name="Isosceles Triangle 127"/>
              <p:cNvSpPr/>
              <p:nvPr/>
            </p:nvSpPr>
            <p:spPr>
              <a:xfrm rot="10800000" flipH="1">
                <a:off x="1228092" y="3929386"/>
                <a:ext cx="152925" cy="137790"/>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grpSp>
        <p:sp>
          <p:nvSpPr>
            <p:cNvPr id="58" name="Titel 7"/>
            <p:cNvSpPr txBox="1">
              <a:spLocks/>
            </p:cNvSpPr>
            <p:nvPr/>
          </p:nvSpPr>
          <p:spPr>
            <a:xfrm rot="16200000">
              <a:off x="917304" y="2854741"/>
              <a:ext cx="774502" cy="288091"/>
            </a:xfrm>
            <a:prstGeom prst="rect">
              <a:avLst/>
            </a:prstGeom>
            <a:solidFill>
              <a:schemeClr val="bg1"/>
            </a:solidFill>
          </p:spPr>
          <p:txBody>
            <a:bodyPr lIns="0" tIns="34290" rIns="0" bIns="34290" anchor="ctr"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nl-NL" sz="900" dirty="0" smtClean="0">
                  <a:solidFill>
                    <a:srgbClr val="197AA0"/>
                  </a:solidFill>
                </a:rPr>
                <a:t>Free Market</a:t>
              </a:r>
              <a:endParaRPr lang="nl-NL" sz="900" dirty="0">
                <a:solidFill>
                  <a:srgbClr val="197AA0"/>
                </a:solidFill>
              </a:endParaRPr>
            </a:p>
          </p:txBody>
        </p:sp>
      </p:grpSp>
      <p:sp>
        <p:nvSpPr>
          <p:cNvPr id="62" name="Rechthoek 61"/>
          <p:cNvSpPr/>
          <p:nvPr/>
        </p:nvSpPr>
        <p:spPr>
          <a:xfrm>
            <a:off x="2362630" y="784094"/>
            <a:ext cx="2813480" cy="121793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prstClr val="white"/>
              </a:solidFill>
            </a:endParaRPr>
          </a:p>
        </p:txBody>
      </p:sp>
      <p:sp>
        <p:nvSpPr>
          <p:cNvPr id="6" name="Rechthoek 5"/>
          <p:cNvSpPr/>
          <p:nvPr/>
        </p:nvSpPr>
        <p:spPr>
          <a:xfrm>
            <a:off x="533067" y="1892300"/>
            <a:ext cx="851426" cy="706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GB" sz="1200" dirty="0" smtClean="0">
                <a:solidFill>
                  <a:srgbClr val="7030A0"/>
                </a:solidFill>
              </a:rPr>
              <a:t>unused capacity</a:t>
            </a:r>
            <a:endParaRPr lang="en-GB" sz="1200" dirty="0">
              <a:solidFill>
                <a:srgbClr val="7030A0"/>
              </a:solidFill>
            </a:endParaRPr>
          </a:p>
        </p:txBody>
      </p:sp>
    </p:spTree>
    <p:extLst>
      <p:ext uri="{BB962C8B-B14F-4D97-AF65-F5344CB8AC3E}">
        <p14:creationId xmlns:p14="http://schemas.microsoft.com/office/powerpoint/2010/main" val="209164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fade">
                                      <p:cBhvr>
                                        <p:cTn id="7" dur="750"/>
                                        <p:tgtEl>
                                          <p:spTgt spid="9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fade">
                                      <p:cBhvr>
                                        <p:cTn id="10" dur="750"/>
                                        <p:tgtEl>
                                          <p:spTgt spid="95"/>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750"/>
                                        <p:tgtEl>
                                          <p:spTgt spid="10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5"/>
                                        </p:tgtEl>
                                        <p:attrNameLst>
                                          <p:attrName>style.visibility</p:attrName>
                                        </p:attrNameLst>
                                      </p:cBhvr>
                                      <p:to>
                                        <p:strVal val="visible"/>
                                      </p:to>
                                    </p:set>
                                    <p:animEffect transition="in" filter="fade">
                                      <p:cBhvr>
                                        <p:cTn id="16" dur="750"/>
                                        <p:tgtEl>
                                          <p:spTgt spid="115"/>
                                        </p:tgtEl>
                                      </p:cBhvr>
                                    </p:animEffect>
                                  </p:childTnLst>
                                </p:cTn>
                              </p:par>
                              <p:par>
                                <p:cTn id="17" presetID="10" presetClass="entr" presetSubtype="0" fill="hold" nodeType="with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750"/>
                                        <p:tgtEl>
                                          <p:spTgt spid="121"/>
                                        </p:tgtEl>
                                      </p:cBhvr>
                                    </p:animEffect>
                                  </p:childTnLst>
                                </p:cTn>
                              </p:par>
                              <p:par>
                                <p:cTn id="20" presetID="10" presetClass="entr" presetSubtype="0" fill="hold" nodeType="withEffect">
                                  <p:stCondLst>
                                    <p:cond delay="0"/>
                                  </p:stCondLst>
                                  <p:childTnLst>
                                    <p:set>
                                      <p:cBhvr>
                                        <p:cTn id="21" dur="1" fill="hold">
                                          <p:stCondLst>
                                            <p:cond delay="0"/>
                                          </p:stCondLst>
                                        </p:cTn>
                                        <p:tgtEl>
                                          <p:spTgt spid="132"/>
                                        </p:tgtEl>
                                        <p:attrNameLst>
                                          <p:attrName>style.visibility</p:attrName>
                                        </p:attrNameLst>
                                      </p:cBhvr>
                                      <p:to>
                                        <p:strVal val="visible"/>
                                      </p:to>
                                    </p:set>
                                    <p:animEffect transition="in" filter="fade">
                                      <p:cBhvr>
                                        <p:cTn id="22" dur="750"/>
                                        <p:tgtEl>
                                          <p:spTgt spid="132"/>
                                        </p:tgtEl>
                                      </p:cBhvr>
                                    </p:animEffect>
                                  </p:childTnLst>
                                </p:cTn>
                              </p:par>
                              <p:par>
                                <p:cTn id="23" presetID="10" presetClass="entr" presetSubtype="0" fill="hold" nodeType="with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750"/>
                                        <p:tgtEl>
                                          <p:spTgt spid="13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750"/>
                                        <p:tgtEl>
                                          <p:spTgt spid="43"/>
                                        </p:tgtEl>
                                      </p:cBhvr>
                                    </p:animEffect>
                                  </p:childTnLst>
                                </p:cTn>
                              </p:par>
                              <p:par>
                                <p:cTn id="29" presetID="10" presetClass="entr" presetSubtype="0" fill="hold"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750"/>
                                        <p:tgtEl>
                                          <p:spTgt spid="4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750"/>
                                        <p:tgtEl>
                                          <p:spTgt spid="42"/>
                                        </p:tgtEl>
                                      </p:cBhvr>
                                    </p:animEffect>
                                  </p:childTnLst>
                                </p:cTn>
                              </p:par>
                              <p:par>
                                <p:cTn id="35" presetID="10" presetClass="entr" presetSubtype="0" fill="hold" nodeType="withEffect">
                                  <p:stCondLst>
                                    <p:cond delay="0"/>
                                  </p:stCondLst>
                                  <p:childTnLst>
                                    <p:set>
                                      <p:cBhvr>
                                        <p:cTn id="36" dur="1" fill="hold">
                                          <p:stCondLst>
                                            <p:cond delay="0"/>
                                          </p:stCondLst>
                                        </p:cTn>
                                        <p:tgtEl>
                                          <p:spTgt spid="56"/>
                                        </p:tgtEl>
                                        <p:attrNameLst>
                                          <p:attrName>style.visibility</p:attrName>
                                        </p:attrNameLst>
                                      </p:cBhvr>
                                      <p:to>
                                        <p:strVal val="visible"/>
                                      </p:to>
                                    </p:set>
                                    <p:animEffect transition="in" filter="fade">
                                      <p:cBhvr>
                                        <p:cTn id="37" dur="75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95" grpId="0" animBg="1"/>
      <p:bldP spid="94" grpId="0" animBg="1"/>
      <p:bldP spid="42" grpId="0" animBg="1"/>
      <p:bldP spid="4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p:cNvSpPr/>
          <p:nvPr/>
        </p:nvSpPr>
        <p:spPr>
          <a:xfrm>
            <a:off x="207097" y="166250"/>
            <a:ext cx="4305300" cy="2137559"/>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GB" sz="1600" dirty="0">
                <a:solidFill>
                  <a:schemeClr val="accent4">
                    <a:lumMod val="75000"/>
                  </a:schemeClr>
                </a:solidFill>
              </a:rPr>
              <a:t>In search for a more sustainable energy system, many different pilots are initiated, often focussing on very similar energy flexibility concepts.</a:t>
            </a:r>
          </a:p>
          <a:p>
            <a:pPr algn="ctr"/>
            <a:endParaRPr lang="en-GB" sz="1600" dirty="0">
              <a:solidFill>
                <a:schemeClr val="accent4">
                  <a:lumMod val="75000"/>
                </a:schemeClr>
              </a:solidFill>
            </a:endParaRPr>
          </a:p>
        </p:txBody>
      </p:sp>
      <p:sp>
        <p:nvSpPr>
          <p:cNvPr id="6" name="Rechthoek 5"/>
          <p:cNvSpPr/>
          <p:nvPr/>
        </p:nvSpPr>
        <p:spPr>
          <a:xfrm>
            <a:off x="4598988" y="160313"/>
            <a:ext cx="4305300" cy="2137559"/>
          </a:xfrm>
          <a:prstGeom prst="rect">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GB" sz="1600" dirty="0"/>
              <a:t>While technology pushes the market forward at considerable speed, we risk wasting time and money reinventing the wheel, or addressing incompatibility issues later.</a:t>
            </a:r>
          </a:p>
          <a:p>
            <a:pPr algn="ctr"/>
            <a:endParaRPr lang="en-GB" sz="1600" dirty="0"/>
          </a:p>
        </p:txBody>
      </p:sp>
      <p:sp>
        <p:nvSpPr>
          <p:cNvPr id="7" name="Rechthoek 6"/>
          <p:cNvSpPr/>
          <p:nvPr/>
        </p:nvSpPr>
        <p:spPr>
          <a:xfrm>
            <a:off x="207097" y="2363186"/>
            <a:ext cx="4305300" cy="200099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GB" sz="1600" dirty="0"/>
              <a:t>USEF delivers the market structure, the tools </a:t>
            </a:r>
          </a:p>
          <a:p>
            <a:pPr algn="ctr"/>
            <a:r>
              <a:rPr lang="en-GB" sz="1600" dirty="0"/>
              <a:t>and the rules for energy flexibility trading. It provides a common standard for a unified </a:t>
            </a:r>
          </a:p>
          <a:p>
            <a:pPr algn="ctr"/>
            <a:r>
              <a:rPr lang="en-GB" sz="1600" dirty="0"/>
              <a:t>smart energy market that is easy to build on. </a:t>
            </a:r>
          </a:p>
        </p:txBody>
      </p:sp>
      <p:sp>
        <p:nvSpPr>
          <p:cNvPr id="8" name="Rechthoek 7"/>
          <p:cNvSpPr/>
          <p:nvPr/>
        </p:nvSpPr>
        <p:spPr>
          <a:xfrm>
            <a:off x="4598988" y="2357249"/>
            <a:ext cx="4305300" cy="2000993"/>
          </a:xfrm>
          <a:prstGeom prst="rect">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GB" sz="1600" dirty="0"/>
              <a:t>With existing detailed specifications and the first real-life pilots in the market, USEF is the most advanced initiative of its kind, enabling implementations to accelerate and scale rapidly and assuring product </a:t>
            </a:r>
            <a:r>
              <a:rPr lang="en-GB" sz="1600" dirty="0" err="1"/>
              <a:t>connectability</a:t>
            </a:r>
            <a:r>
              <a:rPr lang="en-GB" sz="1600" dirty="0"/>
              <a:t>.</a:t>
            </a:r>
          </a:p>
        </p:txBody>
      </p:sp>
      <p:sp>
        <p:nvSpPr>
          <p:cNvPr id="2" name="PIJL-RECHTS 1"/>
          <p:cNvSpPr/>
          <p:nvPr/>
        </p:nvSpPr>
        <p:spPr>
          <a:xfrm>
            <a:off x="4488417" y="1169719"/>
            <a:ext cx="397824" cy="807522"/>
          </a:xfrm>
          <a:prstGeom prst="rightArrow">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a:p>
        </p:txBody>
      </p:sp>
      <p:sp>
        <p:nvSpPr>
          <p:cNvPr id="9" name="PIJL-RECHTS 8"/>
          <p:cNvSpPr/>
          <p:nvPr/>
        </p:nvSpPr>
        <p:spPr>
          <a:xfrm flipH="1">
            <a:off x="4257122" y="2953983"/>
            <a:ext cx="397824" cy="807522"/>
          </a:xfrm>
          <a:prstGeom prst="rightArrow">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a:p>
        </p:txBody>
      </p:sp>
      <p:sp>
        <p:nvSpPr>
          <p:cNvPr id="10" name="PIJL-RECHTS 9"/>
          <p:cNvSpPr/>
          <p:nvPr/>
        </p:nvSpPr>
        <p:spPr>
          <a:xfrm rot="5400000">
            <a:off x="6510709" y="2013853"/>
            <a:ext cx="397824" cy="807522"/>
          </a:xfrm>
          <a:prstGeom prst="rightArrow">
            <a:avLst/>
          </a:prstGeom>
          <a:solidFill>
            <a:srgbClr val="207C9E"/>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a:p>
        </p:txBody>
      </p:sp>
      <p:sp>
        <p:nvSpPr>
          <p:cNvPr id="11" name="PIJL-RECHTS 10"/>
          <p:cNvSpPr/>
          <p:nvPr/>
        </p:nvSpPr>
        <p:spPr>
          <a:xfrm rot="16200000" flipV="1">
            <a:off x="2085171" y="1834727"/>
            <a:ext cx="397824" cy="807522"/>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GB"/>
          </a:p>
        </p:txBody>
      </p:sp>
      <p:grpSp>
        <p:nvGrpSpPr>
          <p:cNvPr id="73" name="Groep 72"/>
          <p:cNvGrpSpPr/>
          <p:nvPr/>
        </p:nvGrpSpPr>
        <p:grpSpPr>
          <a:xfrm>
            <a:off x="3194462" y="2039576"/>
            <a:ext cx="2701922" cy="608776"/>
            <a:chOff x="5539307" y="4548249"/>
            <a:chExt cx="2630916" cy="608776"/>
          </a:xfrm>
        </p:grpSpPr>
        <p:sp>
          <p:nvSpPr>
            <p:cNvPr id="3" name="Rechthoek 2"/>
            <p:cNvSpPr/>
            <p:nvPr/>
          </p:nvSpPr>
          <p:spPr>
            <a:xfrm>
              <a:off x="5539307" y="4548249"/>
              <a:ext cx="2630916" cy="6087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12" name="Groep 11"/>
            <p:cNvGrpSpPr/>
            <p:nvPr/>
          </p:nvGrpSpPr>
          <p:grpSpPr>
            <a:xfrm>
              <a:off x="5539307" y="4601551"/>
              <a:ext cx="2586318" cy="555474"/>
              <a:chOff x="287524" y="1484101"/>
              <a:chExt cx="8509095" cy="1694758"/>
            </a:xfrm>
          </p:grpSpPr>
          <p:sp>
            <p:nvSpPr>
              <p:cNvPr id="13" name="Line 5"/>
              <p:cNvSpPr>
                <a:spLocks noChangeShapeType="1"/>
              </p:cNvSpPr>
              <p:nvPr/>
            </p:nvSpPr>
            <p:spPr bwMode="auto">
              <a:xfrm>
                <a:off x="793751" y="1962944"/>
                <a:ext cx="58737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4" name="Freeform 6"/>
              <p:cNvSpPr>
                <a:spLocks/>
              </p:cNvSpPr>
              <p:nvPr/>
            </p:nvSpPr>
            <p:spPr bwMode="auto">
              <a:xfrm>
                <a:off x="793751" y="1962944"/>
                <a:ext cx="457200" cy="438150"/>
              </a:xfrm>
              <a:custGeom>
                <a:avLst/>
                <a:gdLst>
                  <a:gd name="T0" fmla="*/ 288 w 288"/>
                  <a:gd name="T1" fmla="*/ 276 h 276"/>
                  <a:gd name="T2" fmla="*/ 288 w 288"/>
                  <a:gd name="T3" fmla="*/ 159 h 276"/>
                  <a:gd name="T4" fmla="*/ 0 w 288"/>
                  <a:gd name="T5" fmla="*/ 159 h 276"/>
                  <a:gd name="T6" fmla="*/ 0 w 288"/>
                  <a:gd name="T7" fmla="*/ 0 h 276"/>
                </a:gdLst>
                <a:ahLst/>
                <a:cxnLst>
                  <a:cxn ang="0">
                    <a:pos x="T0" y="T1"/>
                  </a:cxn>
                  <a:cxn ang="0">
                    <a:pos x="T2" y="T3"/>
                  </a:cxn>
                  <a:cxn ang="0">
                    <a:pos x="T4" y="T5"/>
                  </a:cxn>
                  <a:cxn ang="0">
                    <a:pos x="T6" y="T7"/>
                  </a:cxn>
                </a:cxnLst>
                <a:rect l="0" t="0" r="r" b="b"/>
                <a:pathLst>
                  <a:path w="288" h="276">
                    <a:moveTo>
                      <a:pt x="288" y="276"/>
                    </a:moveTo>
                    <a:lnTo>
                      <a:pt x="288" y="159"/>
                    </a:lnTo>
                    <a:lnTo>
                      <a:pt x="0" y="159"/>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5" name="Freeform 7"/>
              <p:cNvSpPr>
                <a:spLocks/>
              </p:cNvSpPr>
              <p:nvPr/>
            </p:nvSpPr>
            <p:spPr bwMode="auto">
              <a:xfrm>
                <a:off x="392113" y="2401094"/>
                <a:ext cx="858838" cy="455613"/>
              </a:xfrm>
              <a:custGeom>
                <a:avLst/>
                <a:gdLst>
                  <a:gd name="T0" fmla="*/ 0 w 541"/>
                  <a:gd name="T1" fmla="*/ 287 h 287"/>
                  <a:gd name="T2" fmla="*/ 253 w 541"/>
                  <a:gd name="T3" fmla="*/ 287 h 287"/>
                  <a:gd name="T4" fmla="*/ 253 w 541"/>
                  <a:gd name="T5" fmla="*/ 0 h 287"/>
                  <a:gd name="T6" fmla="*/ 541 w 541"/>
                  <a:gd name="T7" fmla="*/ 0 h 287"/>
                </a:gdLst>
                <a:ahLst/>
                <a:cxnLst>
                  <a:cxn ang="0">
                    <a:pos x="T0" y="T1"/>
                  </a:cxn>
                  <a:cxn ang="0">
                    <a:pos x="T2" y="T3"/>
                  </a:cxn>
                  <a:cxn ang="0">
                    <a:pos x="T4" y="T5"/>
                  </a:cxn>
                  <a:cxn ang="0">
                    <a:pos x="T6" y="T7"/>
                  </a:cxn>
                </a:cxnLst>
                <a:rect l="0" t="0" r="r" b="b"/>
                <a:pathLst>
                  <a:path w="541" h="287">
                    <a:moveTo>
                      <a:pt x="0" y="287"/>
                    </a:moveTo>
                    <a:lnTo>
                      <a:pt x="253" y="287"/>
                    </a:lnTo>
                    <a:lnTo>
                      <a:pt x="253" y="0"/>
                    </a:lnTo>
                    <a:lnTo>
                      <a:pt x="541"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6" name="Freeform 8"/>
              <p:cNvSpPr>
                <a:spLocks/>
              </p:cNvSpPr>
              <p:nvPr/>
            </p:nvSpPr>
            <p:spPr bwMode="auto">
              <a:xfrm>
                <a:off x="552451" y="1756569"/>
                <a:ext cx="1071563" cy="960438"/>
              </a:xfrm>
              <a:custGeom>
                <a:avLst/>
                <a:gdLst>
                  <a:gd name="T0" fmla="*/ 675 w 675"/>
                  <a:gd name="T1" fmla="*/ 0 h 605"/>
                  <a:gd name="T2" fmla="*/ 0 w 675"/>
                  <a:gd name="T3" fmla="*/ 0 h 605"/>
                  <a:gd name="T4" fmla="*/ 0 w 675"/>
                  <a:gd name="T5" fmla="*/ 605 h 605"/>
                </a:gdLst>
                <a:ahLst/>
                <a:cxnLst>
                  <a:cxn ang="0">
                    <a:pos x="T0" y="T1"/>
                  </a:cxn>
                  <a:cxn ang="0">
                    <a:pos x="T2" y="T3"/>
                  </a:cxn>
                  <a:cxn ang="0">
                    <a:pos x="T4" y="T5"/>
                  </a:cxn>
                </a:cxnLst>
                <a:rect l="0" t="0" r="r" b="b"/>
                <a:pathLst>
                  <a:path w="675" h="605">
                    <a:moveTo>
                      <a:pt x="675" y="0"/>
                    </a:moveTo>
                    <a:lnTo>
                      <a:pt x="0" y="0"/>
                    </a:lnTo>
                    <a:lnTo>
                      <a:pt x="0" y="605"/>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7" name="Freeform 9"/>
              <p:cNvSpPr>
                <a:spLocks/>
              </p:cNvSpPr>
              <p:nvPr/>
            </p:nvSpPr>
            <p:spPr bwMode="auto">
              <a:xfrm>
                <a:off x="1624013" y="1756569"/>
                <a:ext cx="590550" cy="898525"/>
              </a:xfrm>
              <a:custGeom>
                <a:avLst/>
                <a:gdLst>
                  <a:gd name="T0" fmla="*/ 372 w 372"/>
                  <a:gd name="T1" fmla="*/ 566 h 566"/>
                  <a:gd name="T2" fmla="*/ 0 w 372"/>
                  <a:gd name="T3" fmla="*/ 566 h 566"/>
                  <a:gd name="T4" fmla="*/ 0 w 372"/>
                  <a:gd name="T5" fmla="*/ 0 h 566"/>
                </a:gdLst>
                <a:ahLst/>
                <a:cxnLst>
                  <a:cxn ang="0">
                    <a:pos x="T0" y="T1"/>
                  </a:cxn>
                  <a:cxn ang="0">
                    <a:pos x="T2" y="T3"/>
                  </a:cxn>
                  <a:cxn ang="0">
                    <a:pos x="T4" y="T5"/>
                  </a:cxn>
                </a:cxnLst>
                <a:rect l="0" t="0" r="r" b="b"/>
                <a:pathLst>
                  <a:path w="372" h="566">
                    <a:moveTo>
                      <a:pt x="372" y="566"/>
                    </a:moveTo>
                    <a:lnTo>
                      <a:pt x="0" y="566"/>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8" name="Line 10"/>
              <p:cNvSpPr>
                <a:spLocks noChangeShapeType="1"/>
              </p:cNvSpPr>
              <p:nvPr/>
            </p:nvSpPr>
            <p:spPr bwMode="auto">
              <a:xfrm>
                <a:off x="2214563" y="1624806"/>
                <a:ext cx="0" cy="103028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19" name="Freeform 11"/>
              <p:cNvSpPr>
                <a:spLocks/>
              </p:cNvSpPr>
              <p:nvPr/>
            </p:nvSpPr>
            <p:spPr bwMode="auto">
              <a:xfrm>
                <a:off x="2455863" y="1756569"/>
                <a:ext cx="931863" cy="354013"/>
              </a:xfrm>
              <a:custGeom>
                <a:avLst/>
                <a:gdLst>
                  <a:gd name="T0" fmla="*/ 587 w 587"/>
                  <a:gd name="T1" fmla="*/ 223 h 223"/>
                  <a:gd name="T2" fmla="*/ 453 w 587"/>
                  <a:gd name="T3" fmla="*/ 0 h 223"/>
                  <a:gd name="T4" fmla="*/ 0 w 587"/>
                  <a:gd name="T5" fmla="*/ 0 h 223"/>
                </a:gdLst>
                <a:ahLst/>
                <a:cxnLst>
                  <a:cxn ang="0">
                    <a:pos x="T0" y="T1"/>
                  </a:cxn>
                  <a:cxn ang="0">
                    <a:pos x="T2" y="T3"/>
                  </a:cxn>
                  <a:cxn ang="0">
                    <a:pos x="T4" y="T5"/>
                  </a:cxn>
                </a:cxnLst>
                <a:rect l="0" t="0" r="r" b="b"/>
                <a:pathLst>
                  <a:path w="587" h="223">
                    <a:moveTo>
                      <a:pt x="587" y="223"/>
                    </a:moveTo>
                    <a:lnTo>
                      <a:pt x="453" y="0"/>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0" name="Freeform 12"/>
              <p:cNvSpPr>
                <a:spLocks/>
              </p:cNvSpPr>
              <p:nvPr/>
            </p:nvSpPr>
            <p:spPr bwMode="auto">
              <a:xfrm>
                <a:off x="3387726" y="1756569"/>
                <a:ext cx="776288" cy="354013"/>
              </a:xfrm>
              <a:custGeom>
                <a:avLst/>
                <a:gdLst>
                  <a:gd name="T0" fmla="*/ 489 w 489"/>
                  <a:gd name="T1" fmla="*/ 0 h 223"/>
                  <a:gd name="T2" fmla="*/ 139 w 489"/>
                  <a:gd name="T3" fmla="*/ 0 h 223"/>
                  <a:gd name="T4" fmla="*/ 0 w 489"/>
                  <a:gd name="T5" fmla="*/ 223 h 223"/>
                </a:gdLst>
                <a:ahLst/>
                <a:cxnLst>
                  <a:cxn ang="0">
                    <a:pos x="T0" y="T1"/>
                  </a:cxn>
                  <a:cxn ang="0">
                    <a:pos x="T2" y="T3"/>
                  </a:cxn>
                  <a:cxn ang="0">
                    <a:pos x="T4" y="T5"/>
                  </a:cxn>
                </a:cxnLst>
                <a:rect l="0" t="0" r="r" b="b"/>
                <a:pathLst>
                  <a:path w="489" h="223">
                    <a:moveTo>
                      <a:pt x="489" y="0"/>
                    </a:moveTo>
                    <a:lnTo>
                      <a:pt x="139" y="0"/>
                    </a:lnTo>
                    <a:lnTo>
                      <a:pt x="0" y="223"/>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1" name="Freeform 13"/>
              <p:cNvSpPr>
                <a:spLocks/>
              </p:cNvSpPr>
              <p:nvPr/>
            </p:nvSpPr>
            <p:spPr bwMode="auto">
              <a:xfrm>
                <a:off x="4533901" y="1756569"/>
                <a:ext cx="628650" cy="273050"/>
              </a:xfrm>
              <a:custGeom>
                <a:avLst/>
                <a:gdLst>
                  <a:gd name="T0" fmla="*/ 197 w 197"/>
                  <a:gd name="T1" fmla="*/ 85 h 85"/>
                  <a:gd name="T2" fmla="*/ 189 w 197"/>
                  <a:gd name="T3" fmla="*/ 45 h 85"/>
                  <a:gd name="T4" fmla="*/ 167 w 197"/>
                  <a:gd name="T5" fmla="*/ 19 h 85"/>
                  <a:gd name="T6" fmla="*/ 132 w 197"/>
                  <a:gd name="T7" fmla="*/ 5 h 85"/>
                  <a:gd name="T8" fmla="*/ 88 w 197"/>
                  <a:gd name="T9" fmla="*/ 0 h 85"/>
                  <a:gd name="T10" fmla="*/ 0 w 197"/>
                  <a:gd name="T11" fmla="*/ 0 h 85"/>
                </a:gdLst>
                <a:ahLst/>
                <a:cxnLst>
                  <a:cxn ang="0">
                    <a:pos x="T0" y="T1"/>
                  </a:cxn>
                  <a:cxn ang="0">
                    <a:pos x="T2" y="T3"/>
                  </a:cxn>
                  <a:cxn ang="0">
                    <a:pos x="T4" y="T5"/>
                  </a:cxn>
                  <a:cxn ang="0">
                    <a:pos x="T6" y="T7"/>
                  </a:cxn>
                  <a:cxn ang="0">
                    <a:pos x="T8" y="T9"/>
                  </a:cxn>
                  <a:cxn ang="0">
                    <a:pos x="T10" y="T11"/>
                  </a:cxn>
                </a:cxnLst>
                <a:rect l="0" t="0" r="r" b="b"/>
                <a:pathLst>
                  <a:path w="197" h="85">
                    <a:moveTo>
                      <a:pt x="197" y="85"/>
                    </a:moveTo>
                    <a:cubicBezTo>
                      <a:pt x="197" y="69"/>
                      <a:pt x="194" y="56"/>
                      <a:pt x="189" y="45"/>
                    </a:cubicBezTo>
                    <a:cubicBezTo>
                      <a:pt x="184" y="34"/>
                      <a:pt x="176" y="25"/>
                      <a:pt x="167" y="19"/>
                    </a:cubicBezTo>
                    <a:cubicBezTo>
                      <a:pt x="157" y="12"/>
                      <a:pt x="146" y="8"/>
                      <a:pt x="132" y="5"/>
                    </a:cubicBezTo>
                    <a:cubicBezTo>
                      <a:pt x="119" y="2"/>
                      <a:pt x="104" y="0"/>
                      <a:pt x="88" y="0"/>
                    </a:cubicBezTo>
                    <a:cubicBezTo>
                      <a:pt x="0" y="0"/>
                      <a:pt x="0" y="0"/>
                      <a:pt x="0" y="0"/>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2" name="Freeform 14"/>
              <p:cNvSpPr>
                <a:spLocks/>
              </p:cNvSpPr>
              <p:nvPr/>
            </p:nvSpPr>
            <p:spPr bwMode="auto">
              <a:xfrm>
                <a:off x="5011738" y="2029619"/>
                <a:ext cx="287338" cy="641350"/>
              </a:xfrm>
              <a:custGeom>
                <a:avLst/>
                <a:gdLst>
                  <a:gd name="T0" fmla="*/ 90 w 90"/>
                  <a:gd name="T1" fmla="*/ 200 h 200"/>
                  <a:gd name="T2" fmla="*/ 55 w 90"/>
                  <a:gd name="T3" fmla="*/ 200 h 200"/>
                  <a:gd name="T4" fmla="*/ 63 w 90"/>
                  <a:gd name="T5" fmla="*/ 159 h 200"/>
                  <a:gd name="T6" fmla="*/ 48 w 90"/>
                  <a:gd name="T7" fmla="*/ 104 h 200"/>
                  <a:gd name="T8" fmla="*/ 0 w 90"/>
                  <a:gd name="T9" fmla="*/ 72 h 200"/>
                  <a:gd name="T10" fmla="*/ 35 w 90"/>
                  <a:gd name="T11" fmla="*/ 43 h 200"/>
                  <a:gd name="T12" fmla="*/ 47 w 90"/>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90" h="200">
                    <a:moveTo>
                      <a:pt x="90" y="200"/>
                    </a:moveTo>
                    <a:cubicBezTo>
                      <a:pt x="55" y="200"/>
                      <a:pt x="55" y="200"/>
                      <a:pt x="55" y="200"/>
                    </a:cubicBezTo>
                    <a:cubicBezTo>
                      <a:pt x="61" y="188"/>
                      <a:pt x="63" y="174"/>
                      <a:pt x="63" y="159"/>
                    </a:cubicBezTo>
                    <a:cubicBezTo>
                      <a:pt x="63" y="137"/>
                      <a:pt x="58" y="119"/>
                      <a:pt x="48" y="104"/>
                    </a:cubicBezTo>
                    <a:cubicBezTo>
                      <a:pt x="37" y="89"/>
                      <a:pt x="22" y="78"/>
                      <a:pt x="0" y="72"/>
                    </a:cubicBezTo>
                    <a:cubicBezTo>
                      <a:pt x="16" y="64"/>
                      <a:pt x="27" y="55"/>
                      <a:pt x="35" y="43"/>
                    </a:cubicBezTo>
                    <a:cubicBezTo>
                      <a:pt x="43" y="32"/>
                      <a:pt x="47" y="18"/>
                      <a:pt x="47" y="0"/>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3" name="Freeform 15"/>
              <p:cNvSpPr>
                <a:spLocks/>
              </p:cNvSpPr>
              <p:nvPr/>
            </p:nvSpPr>
            <p:spPr bwMode="auto">
              <a:xfrm>
                <a:off x="5299076" y="1756569"/>
                <a:ext cx="615950" cy="914400"/>
              </a:xfrm>
              <a:custGeom>
                <a:avLst/>
                <a:gdLst>
                  <a:gd name="T0" fmla="*/ 388 w 388"/>
                  <a:gd name="T1" fmla="*/ 0 h 576"/>
                  <a:gd name="T2" fmla="*/ 0 w 388"/>
                  <a:gd name="T3" fmla="*/ 0 h 576"/>
                  <a:gd name="T4" fmla="*/ 0 w 388"/>
                  <a:gd name="T5" fmla="*/ 576 h 576"/>
                </a:gdLst>
                <a:ahLst/>
                <a:cxnLst>
                  <a:cxn ang="0">
                    <a:pos x="T0" y="T1"/>
                  </a:cxn>
                  <a:cxn ang="0">
                    <a:pos x="T2" y="T3"/>
                  </a:cxn>
                  <a:cxn ang="0">
                    <a:pos x="T4" y="T5"/>
                  </a:cxn>
                </a:cxnLst>
                <a:rect l="0" t="0" r="r" b="b"/>
                <a:pathLst>
                  <a:path w="388" h="576">
                    <a:moveTo>
                      <a:pt x="388" y="0"/>
                    </a:moveTo>
                    <a:lnTo>
                      <a:pt x="0" y="0"/>
                    </a:lnTo>
                    <a:lnTo>
                      <a:pt x="0" y="576"/>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4" name="Freeform 16"/>
              <p:cNvSpPr>
                <a:spLocks/>
              </p:cNvSpPr>
              <p:nvPr/>
            </p:nvSpPr>
            <p:spPr bwMode="auto">
              <a:xfrm>
                <a:off x="5915026" y="1756569"/>
                <a:ext cx="590550" cy="898525"/>
              </a:xfrm>
              <a:custGeom>
                <a:avLst/>
                <a:gdLst>
                  <a:gd name="T0" fmla="*/ 372 w 372"/>
                  <a:gd name="T1" fmla="*/ 566 h 566"/>
                  <a:gd name="T2" fmla="*/ 0 w 372"/>
                  <a:gd name="T3" fmla="*/ 566 h 566"/>
                  <a:gd name="T4" fmla="*/ 0 w 372"/>
                  <a:gd name="T5" fmla="*/ 0 h 566"/>
                </a:gdLst>
                <a:ahLst/>
                <a:cxnLst>
                  <a:cxn ang="0">
                    <a:pos x="T0" y="T1"/>
                  </a:cxn>
                  <a:cxn ang="0">
                    <a:pos x="T2" y="T3"/>
                  </a:cxn>
                  <a:cxn ang="0">
                    <a:pos x="T4" y="T5"/>
                  </a:cxn>
                </a:cxnLst>
                <a:rect l="0" t="0" r="r" b="b"/>
                <a:pathLst>
                  <a:path w="372" h="566">
                    <a:moveTo>
                      <a:pt x="372" y="566"/>
                    </a:moveTo>
                    <a:lnTo>
                      <a:pt x="0" y="566"/>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5" name="Line 17"/>
              <p:cNvSpPr>
                <a:spLocks noChangeShapeType="1"/>
              </p:cNvSpPr>
              <p:nvPr/>
            </p:nvSpPr>
            <p:spPr bwMode="auto">
              <a:xfrm>
                <a:off x="6505576" y="1962944"/>
                <a:ext cx="0" cy="6921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6" name="Freeform 18"/>
              <p:cNvSpPr>
                <a:spLocks/>
              </p:cNvSpPr>
              <p:nvPr/>
            </p:nvSpPr>
            <p:spPr bwMode="auto">
              <a:xfrm>
                <a:off x="6319838" y="1756569"/>
                <a:ext cx="1774825" cy="436563"/>
              </a:xfrm>
              <a:custGeom>
                <a:avLst/>
                <a:gdLst>
                  <a:gd name="T0" fmla="*/ 1118 w 1118"/>
                  <a:gd name="T1" fmla="*/ 275 h 275"/>
                  <a:gd name="T2" fmla="*/ 957 w 1118"/>
                  <a:gd name="T3" fmla="*/ 0 h 275"/>
                  <a:gd name="T4" fmla="*/ 0 w 1118"/>
                  <a:gd name="T5" fmla="*/ 0 h 275"/>
                </a:gdLst>
                <a:ahLst/>
                <a:cxnLst>
                  <a:cxn ang="0">
                    <a:pos x="T0" y="T1"/>
                  </a:cxn>
                  <a:cxn ang="0">
                    <a:pos x="T2" y="T3"/>
                  </a:cxn>
                  <a:cxn ang="0">
                    <a:pos x="T4" y="T5"/>
                  </a:cxn>
                </a:cxnLst>
                <a:rect l="0" t="0" r="r" b="b"/>
                <a:pathLst>
                  <a:path w="1118" h="275">
                    <a:moveTo>
                      <a:pt x="1118" y="275"/>
                    </a:moveTo>
                    <a:lnTo>
                      <a:pt x="957" y="0"/>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7" name="Freeform 19"/>
              <p:cNvSpPr>
                <a:spLocks/>
              </p:cNvSpPr>
              <p:nvPr/>
            </p:nvSpPr>
            <p:spPr bwMode="auto">
              <a:xfrm>
                <a:off x="8094663" y="1756569"/>
                <a:ext cx="382588" cy="436563"/>
              </a:xfrm>
              <a:custGeom>
                <a:avLst/>
                <a:gdLst>
                  <a:gd name="T0" fmla="*/ 241 w 241"/>
                  <a:gd name="T1" fmla="*/ 0 h 275"/>
                  <a:gd name="T2" fmla="*/ 161 w 241"/>
                  <a:gd name="T3" fmla="*/ 0 h 275"/>
                  <a:gd name="T4" fmla="*/ 0 w 241"/>
                  <a:gd name="T5" fmla="*/ 275 h 275"/>
                </a:gdLst>
                <a:ahLst/>
                <a:cxnLst>
                  <a:cxn ang="0">
                    <a:pos x="T0" y="T1"/>
                  </a:cxn>
                  <a:cxn ang="0">
                    <a:pos x="T2" y="T3"/>
                  </a:cxn>
                  <a:cxn ang="0">
                    <a:pos x="T4" y="T5"/>
                  </a:cxn>
                </a:cxnLst>
                <a:rect l="0" t="0" r="r" b="b"/>
                <a:pathLst>
                  <a:path w="241" h="275">
                    <a:moveTo>
                      <a:pt x="241" y="0"/>
                    </a:moveTo>
                    <a:lnTo>
                      <a:pt x="161" y="0"/>
                    </a:lnTo>
                    <a:lnTo>
                      <a:pt x="0" y="275"/>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8" name="Freeform 20"/>
              <p:cNvSpPr>
                <a:spLocks/>
              </p:cNvSpPr>
              <p:nvPr/>
            </p:nvSpPr>
            <p:spPr bwMode="auto">
              <a:xfrm>
                <a:off x="7969251" y="1545431"/>
                <a:ext cx="779463" cy="1311275"/>
              </a:xfrm>
              <a:custGeom>
                <a:avLst/>
                <a:gdLst>
                  <a:gd name="T0" fmla="*/ 0 w 491"/>
                  <a:gd name="T1" fmla="*/ 826 h 826"/>
                  <a:gd name="T2" fmla="*/ 151 w 491"/>
                  <a:gd name="T3" fmla="*/ 826 h 826"/>
                  <a:gd name="T4" fmla="*/ 151 w 491"/>
                  <a:gd name="T5" fmla="*/ 562 h 826"/>
                  <a:gd name="T6" fmla="*/ 491 w 491"/>
                  <a:gd name="T7" fmla="*/ 0 h 826"/>
                </a:gdLst>
                <a:ahLst/>
                <a:cxnLst>
                  <a:cxn ang="0">
                    <a:pos x="T0" y="T1"/>
                  </a:cxn>
                  <a:cxn ang="0">
                    <a:pos x="T2" y="T3"/>
                  </a:cxn>
                  <a:cxn ang="0">
                    <a:pos x="T4" y="T5"/>
                  </a:cxn>
                  <a:cxn ang="0">
                    <a:pos x="T6" y="T7"/>
                  </a:cxn>
                </a:cxnLst>
                <a:rect l="0" t="0" r="r" b="b"/>
                <a:pathLst>
                  <a:path w="491" h="826">
                    <a:moveTo>
                      <a:pt x="0" y="826"/>
                    </a:moveTo>
                    <a:lnTo>
                      <a:pt x="151" y="826"/>
                    </a:lnTo>
                    <a:lnTo>
                      <a:pt x="151" y="562"/>
                    </a:lnTo>
                    <a:lnTo>
                      <a:pt x="491"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29" name="Freeform 21"/>
              <p:cNvSpPr>
                <a:spLocks/>
              </p:cNvSpPr>
              <p:nvPr/>
            </p:nvSpPr>
            <p:spPr bwMode="auto">
              <a:xfrm>
                <a:off x="7689851" y="1962944"/>
                <a:ext cx="279400" cy="893763"/>
              </a:xfrm>
              <a:custGeom>
                <a:avLst/>
                <a:gdLst>
                  <a:gd name="T0" fmla="*/ 0 w 176"/>
                  <a:gd name="T1" fmla="*/ 0 h 563"/>
                  <a:gd name="T2" fmla="*/ 176 w 176"/>
                  <a:gd name="T3" fmla="*/ 295 h 563"/>
                  <a:gd name="T4" fmla="*/ 176 w 176"/>
                  <a:gd name="T5" fmla="*/ 563 h 563"/>
                </a:gdLst>
                <a:ahLst/>
                <a:cxnLst>
                  <a:cxn ang="0">
                    <a:pos x="T0" y="T1"/>
                  </a:cxn>
                  <a:cxn ang="0">
                    <a:pos x="T2" y="T3"/>
                  </a:cxn>
                  <a:cxn ang="0">
                    <a:pos x="T4" y="T5"/>
                  </a:cxn>
                </a:cxnLst>
                <a:rect l="0" t="0" r="r" b="b"/>
                <a:pathLst>
                  <a:path w="176" h="563">
                    <a:moveTo>
                      <a:pt x="0" y="0"/>
                    </a:moveTo>
                    <a:lnTo>
                      <a:pt x="176" y="295"/>
                    </a:lnTo>
                    <a:lnTo>
                      <a:pt x="176" y="563"/>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0" name="Freeform 22"/>
              <p:cNvSpPr>
                <a:spLocks/>
              </p:cNvSpPr>
              <p:nvPr/>
            </p:nvSpPr>
            <p:spPr bwMode="auto">
              <a:xfrm>
                <a:off x="7364413" y="1962944"/>
                <a:ext cx="325438" cy="893763"/>
              </a:xfrm>
              <a:custGeom>
                <a:avLst/>
                <a:gdLst>
                  <a:gd name="T0" fmla="*/ 0 w 205"/>
                  <a:gd name="T1" fmla="*/ 563 h 563"/>
                  <a:gd name="T2" fmla="*/ 0 w 205"/>
                  <a:gd name="T3" fmla="*/ 0 h 563"/>
                  <a:gd name="T4" fmla="*/ 205 w 205"/>
                  <a:gd name="T5" fmla="*/ 0 h 563"/>
                </a:gdLst>
                <a:ahLst/>
                <a:cxnLst>
                  <a:cxn ang="0">
                    <a:pos x="T0" y="T1"/>
                  </a:cxn>
                  <a:cxn ang="0">
                    <a:pos x="T2" y="T3"/>
                  </a:cxn>
                  <a:cxn ang="0">
                    <a:pos x="T4" y="T5"/>
                  </a:cxn>
                </a:cxnLst>
                <a:rect l="0" t="0" r="r" b="b"/>
                <a:pathLst>
                  <a:path w="205" h="563">
                    <a:moveTo>
                      <a:pt x="0" y="563"/>
                    </a:moveTo>
                    <a:lnTo>
                      <a:pt x="0" y="0"/>
                    </a:lnTo>
                    <a:lnTo>
                      <a:pt x="205"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1" name="Freeform 23"/>
              <p:cNvSpPr>
                <a:spLocks/>
              </p:cNvSpPr>
              <p:nvPr/>
            </p:nvSpPr>
            <p:spPr bwMode="auto">
              <a:xfrm>
                <a:off x="7124701" y="1962944"/>
                <a:ext cx="239713" cy="893763"/>
              </a:xfrm>
              <a:custGeom>
                <a:avLst/>
                <a:gdLst>
                  <a:gd name="T0" fmla="*/ 0 w 151"/>
                  <a:gd name="T1" fmla="*/ 0 h 563"/>
                  <a:gd name="T2" fmla="*/ 0 w 151"/>
                  <a:gd name="T3" fmla="*/ 563 h 563"/>
                  <a:gd name="T4" fmla="*/ 151 w 151"/>
                  <a:gd name="T5" fmla="*/ 563 h 563"/>
                </a:gdLst>
                <a:ahLst/>
                <a:cxnLst>
                  <a:cxn ang="0">
                    <a:pos x="T0" y="T1"/>
                  </a:cxn>
                  <a:cxn ang="0">
                    <a:pos x="T2" y="T3"/>
                  </a:cxn>
                  <a:cxn ang="0">
                    <a:pos x="T4" y="T5"/>
                  </a:cxn>
                </a:cxnLst>
                <a:rect l="0" t="0" r="r" b="b"/>
                <a:pathLst>
                  <a:path w="151" h="563">
                    <a:moveTo>
                      <a:pt x="0" y="0"/>
                    </a:moveTo>
                    <a:lnTo>
                      <a:pt x="0" y="563"/>
                    </a:lnTo>
                    <a:lnTo>
                      <a:pt x="151" y="563"/>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2" name="Freeform 24"/>
              <p:cNvSpPr>
                <a:spLocks/>
              </p:cNvSpPr>
              <p:nvPr/>
            </p:nvSpPr>
            <p:spPr bwMode="auto">
              <a:xfrm>
                <a:off x="6748463" y="1962944"/>
                <a:ext cx="376238" cy="1122363"/>
              </a:xfrm>
              <a:custGeom>
                <a:avLst/>
                <a:gdLst>
                  <a:gd name="T0" fmla="*/ 0 w 237"/>
                  <a:gd name="T1" fmla="*/ 707 h 707"/>
                  <a:gd name="T2" fmla="*/ 0 w 237"/>
                  <a:gd name="T3" fmla="*/ 0 h 707"/>
                  <a:gd name="T4" fmla="*/ 237 w 237"/>
                  <a:gd name="T5" fmla="*/ 0 h 707"/>
                </a:gdLst>
                <a:ahLst/>
                <a:cxnLst>
                  <a:cxn ang="0">
                    <a:pos x="T0" y="T1"/>
                  </a:cxn>
                  <a:cxn ang="0">
                    <a:pos x="T2" y="T3"/>
                  </a:cxn>
                  <a:cxn ang="0">
                    <a:pos x="T4" y="T5"/>
                  </a:cxn>
                </a:cxnLst>
                <a:rect l="0" t="0" r="r" b="b"/>
                <a:pathLst>
                  <a:path w="237" h="707">
                    <a:moveTo>
                      <a:pt x="0" y="707"/>
                    </a:moveTo>
                    <a:lnTo>
                      <a:pt x="0" y="0"/>
                    </a:lnTo>
                    <a:lnTo>
                      <a:pt x="237"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3" name="Freeform 25"/>
              <p:cNvSpPr>
                <a:spLocks/>
              </p:cNvSpPr>
              <p:nvPr/>
            </p:nvSpPr>
            <p:spPr bwMode="auto">
              <a:xfrm>
                <a:off x="5675313" y="1935956"/>
                <a:ext cx="830263" cy="920750"/>
              </a:xfrm>
              <a:custGeom>
                <a:avLst/>
                <a:gdLst>
                  <a:gd name="T0" fmla="*/ 0 w 523"/>
                  <a:gd name="T1" fmla="*/ 0 h 580"/>
                  <a:gd name="T2" fmla="*/ 0 w 523"/>
                  <a:gd name="T3" fmla="*/ 580 h 580"/>
                  <a:gd name="T4" fmla="*/ 523 w 523"/>
                  <a:gd name="T5" fmla="*/ 580 h 580"/>
                </a:gdLst>
                <a:ahLst/>
                <a:cxnLst>
                  <a:cxn ang="0">
                    <a:pos x="T0" y="T1"/>
                  </a:cxn>
                  <a:cxn ang="0">
                    <a:pos x="T2" y="T3"/>
                  </a:cxn>
                  <a:cxn ang="0">
                    <a:pos x="T4" y="T5"/>
                  </a:cxn>
                </a:cxnLst>
                <a:rect l="0" t="0" r="r" b="b"/>
                <a:pathLst>
                  <a:path w="523" h="580">
                    <a:moveTo>
                      <a:pt x="0" y="0"/>
                    </a:moveTo>
                    <a:lnTo>
                      <a:pt x="0" y="580"/>
                    </a:lnTo>
                    <a:lnTo>
                      <a:pt x="523" y="58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4" name="Line 26"/>
              <p:cNvSpPr>
                <a:spLocks noChangeShapeType="1"/>
              </p:cNvSpPr>
              <p:nvPr/>
            </p:nvSpPr>
            <p:spPr bwMode="auto">
              <a:xfrm flipV="1">
                <a:off x="5541963" y="1935956"/>
                <a:ext cx="0" cy="9207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5" name="Freeform 27"/>
              <p:cNvSpPr>
                <a:spLocks/>
              </p:cNvSpPr>
              <p:nvPr/>
            </p:nvSpPr>
            <p:spPr bwMode="auto">
              <a:xfrm>
                <a:off x="4297363" y="1935956"/>
                <a:ext cx="1244600" cy="920750"/>
              </a:xfrm>
              <a:custGeom>
                <a:avLst/>
                <a:gdLst>
                  <a:gd name="T0" fmla="*/ 0 w 784"/>
                  <a:gd name="T1" fmla="*/ 0 h 580"/>
                  <a:gd name="T2" fmla="*/ 0 w 784"/>
                  <a:gd name="T3" fmla="*/ 580 h 580"/>
                  <a:gd name="T4" fmla="*/ 784 w 784"/>
                  <a:gd name="T5" fmla="*/ 580 h 580"/>
                </a:gdLst>
                <a:ahLst/>
                <a:cxnLst>
                  <a:cxn ang="0">
                    <a:pos x="T0" y="T1"/>
                  </a:cxn>
                  <a:cxn ang="0">
                    <a:pos x="T2" y="T3"/>
                  </a:cxn>
                  <a:cxn ang="0">
                    <a:pos x="T4" y="T5"/>
                  </a:cxn>
                </a:cxnLst>
                <a:rect l="0" t="0" r="r" b="b"/>
                <a:pathLst>
                  <a:path w="784" h="580">
                    <a:moveTo>
                      <a:pt x="0" y="0"/>
                    </a:moveTo>
                    <a:lnTo>
                      <a:pt x="0" y="580"/>
                    </a:lnTo>
                    <a:lnTo>
                      <a:pt x="784" y="58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6" name="Freeform 28"/>
              <p:cNvSpPr>
                <a:spLocks/>
              </p:cNvSpPr>
              <p:nvPr/>
            </p:nvSpPr>
            <p:spPr bwMode="auto">
              <a:xfrm>
                <a:off x="3924301" y="1935956"/>
                <a:ext cx="373063" cy="920750"/>
              </a:xfrm>
              <a:custGeom>
                <a:avLst/>
                <a:gdLst>
                  <a:gd name="T0" fmla="*/ 0 w 235"/>
                  <a:gd name="T1" fmla="*/ 580 h 580"/>
                  <a:gd name="T2" fmla="*/ 151 w 235"/>
                  <a:gd name="T3" fmla="*/ 580 h 580"/>
                  <a:gd name="T4" fmla="*/ 151 w 235"/>
                  <a:gd name="T5" fmla="*/ 0 h 580"/>
                  <a:gd name="T6" fmla="*/ 235 w 235"/>
                  <a:gd name="T7" fmla="*/ 0 h 580"/>
                </a:gdLst>
                <a:ahLst/>
                <a:cxnLst>
                  <a:cxn ang="0">
                    <a:pos x="T0" y="T1"/>
                  </a:cxn>
                  <a:cxn ang="0">
                    <a:pos x="T2" y="T3"/>
                  </a:cxn>
                  <a:cxn ang="0">
                    <a:pos x="T4" y="T5"/>
                  </a:cxn>
                  <a:cxn ang="0">
                    <a:pos x="T6" y="T7"/>
                  </a:cxn>
                </a:cxnLst>
                <a:rect l="0" t="0" r="r" b="b"/>
                <a:pathLst>
                  <a:path w="235" h="580">
                    <a:moveTo>
                      <a:pt x="0" y="580"/>
                    </a:moveTo>
                    <a:lnTo>
                      <a:pt x="151" y="580"/>
                    </a:lnTo>
                    <a:lnTo>
                      <a:pt x="151" y="0"/>
                    </a:lnTo>
                    <a:lnTo>
                      <a:pt x="235"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7" name="Freeform 29"/>
              <p:cNvSpPr>
                <a:spLocks/>
              </p:cNvSpPr>
              <p:nvPr/>
            </p:nvSpPr>
            <p:spPr bwMode="auto">
              <a:xfrm>
                <a:off x="3136901" y="2475706"/>
                <a:ext cx="481013" cy="381000"/>
              </a:xfrm>
              <a:custGeom>
                <a:avLst/>
                <a:gdLst>
                  <a:gd name="T0" fmla="*/ 0 w 303"/>
                  <a:gd name="T1" fmla="*/ 240 h 240"/>
                  <a:gd name="T2" fmla="*/ 152 w 303"/>
                  <a:gd name="T3" fmla="*/ 0 h 240"/>
                  <a:gd name="T4" fmla="*/ 303 w 303"/>
                  <a:gd name="T5" fmla="*/ 240 h 240"/>
                </a:gdLst>
                <a:ahLst/>
                <a:cxnLst>
                  <a:cxn ang="0">
                    <a:pos x="T0" y="T1"/>
                  </a:cxn>
                  <a:cxn ang="0">
                    <a:pos x="T2" y="T3"/>
                  </a:cxn>
                  <a:cxn ang="0">
                    <a:pos x="T4" y="T5"/>
                  </a:cxn>
                </a:cxnLst>
                <a:rect l="0" t="0" r="r" b="b"/>
                <a:pathLst>
                  <a:path w="303" h="240">
                    <a:moveTo>
                      <a:pt x="0" y="240"/>
                    </a:moveTo>
                    <a:lnTo>
                      <a:pt x="152" y="0"/>
                    </a:lnTo>
                    <a:lnTo>
                      <a:pt x="303" y="24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8" name="Freeform 30"/>
              <p:cNvSpPr>
                <a:spLocks/>
              </p:cNvSpPr>
              <p:nvPr/>
            </p:nvSpPr>
            <p:spPr bwMode="auto">
              <a:xfrm>
                <a:off x="1384301" y="2129631"/>
                <a:ext cx="1752600" cy="727075"/>
              </a:xfrm>
              <a:custGeom>
                <a:avLst/>
                <a:gdLst>
                  <a:gd name="T0" fmla="*/ 0 w 1104"/>
                  <a:gd name="T1" fmla="*/ 0 h 458"/>
                  <a:gd name="T2" fmla="*/ 0 w 1104"/>
                  <a:gd name="T3" fmla="*/ 458 h 458"/>
                  <a:gd name="T4" fmla="*/ 1104 w 1104"/>
                  <a:gd name="T5" fmla="*/ 458 h 458"/>
                </a:gdLst>
                <a:ahLst/>
                <a:cxnLst>
                  <a:cxn ang="0">
                    <a:pos x="T0" y="T1"/>
                  </a:cxn>
                  <a:cxn ang="0">
                    <a:pos x="T2" y="T3"/>
                  </a:cxn>
                  <a:cxn ang="0">
                    <a:pos x="T4" y="T5"/>
                  </a:cxn>
                </a:cxnLst>
                <a:rect l="0" t="0" r="r" b="b"/>
                <a:pathLst>
                  <a:path w="1104" h="458">
                    <a:moveTo>
                      <a:pt x="0" y="0"/>
                    </a:moveTo>
                    <a:lnTo>
                      <a:pt x="0" y="458"/>
                    </a:lnTo>
                    <a:lnTo>
                      <a:pt x="1104" y="458"/>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39" name="Freeform 31"/>
              <p:cNvSpPr>
                <a:spLocks/>
              </p:cNvSpPr>
              <p:nvPr/>
            </p:nvSpPr>
            <p:spPr bwMode="auto">
              <a:xfrm>
                <a:off x="2455863" y="1962944"/>
                <a:ext cx="792163" cy="320675"/>
              </a:xfrm>
              <a:custGeom>
                <a:avLst/>
                <a:gdLst>
                  <a:gd name="T0" fmla="*/ 0 w 499"/>
                  <a:gd name="T1" fmla="*/ 0 h 202"/>
                  <a:gd name="T2" fmla="*/ 362 w 499"/>
                  <a:gd name="T3" fmla="*/ 0 h 202"/>
                  <a:gd name="T4" fmla="*/ 499 w 499"/>
                  <a:gd name="T5" fmla="*/ 202 h 202"/>
                </a:gdLst>
                <a:ahLst/>
                <a:cxnLst>
                  <a:cxn ang="0">
                    <a:pos x="T0" y="T1"/>
                  </a:cxn>
                  <a:cxn ang="0">
                    <a:pos x="T2" y="T3"/>
                  </a:cxn>
                  <a:cxn ang="0">
                    <a:pos x="T4" y="T5"/>
                  </a:cxn>
                </a:cxnLst>
                <a:rect l="0" t="0" r="r" b="b"/>
                <a:pathLst>
                  <a:path w="499" h="202">
                    <a:moveTo>
                      <a:pt x="0" y="0"/>
                    </a:moveTo>
                    <a:lnTo>
                      <a:pt x="362" y="0"/>
                    </a:lnTo>
                    <a:lnTo>
                      <a:pt x="499" y="202"/>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0" name="Freeform 32"/>
              <p:cNvSpPr>
                <a:spLocks/>
              </p:cNvSpPr>
              <p:nvPr/>
            </p:nvSpPr>
            <p:spPr bwMode="auto">
              <a:xfrm>
                <a:off x="2455863" y="1962944"/>
                <a:ext cx="530225" cy="422275"/>
              </a:xfrm>
              <a:custGeom>
                <a:avLst/>
                <a:gdLst>
                  <a:gd name="T0" fmla="*/ 334 w 334"/>
                  <a:gd name="T1" fmla="*/ 266 h 266"/>
                  <a:gd name="T2" fmla="*/ 334 w 334"/>
                  <a:gd name="T3" fmla="*/ 147 h 266"/>
                  <a:gd name="T4" fmla="*/ 0 w 334"/>
                  <a:gd name="T5" fmla="*/ 147 h 266"/>
                  <a:gd name="T6" fmla="*/ 0 w 334"/>
                  <a:gd name="T7" fmla="*/ 0 h 266"/>
                </a:gdLst>
                <a:ahLst/>
                <a:cxnLst>
                  <a:cxn ang="0">
                    <a:pos x="T0" y="T1"/>
                  </a:cxn>
                  <a:cxn ang="0">
                    <a:pos x="T2" y="T3"/>
                  </a:cxn>
                  <a:cxn ang="0">
                    <a:pos x="T4" y="T5"/>
                  </a:cxn>
                  <a:cxn ang="0">
                    <a:pos x="T6" y="T7"/>
                  </a:cxn>
                </a:cxnLst>
                <a:rect l="0" t="0" r="r" b="b"/>
                <a:pathLst>
                  <a:path w="334" h="266">
                    <a:moveTo>
                      <a:pt x="334" y="266"/>
                    </a:moveTo>
                    <a:lnTo>
                      <a:pt x="334" y="147"/>
                    </a:lnTo>
                    <a:lnTo>
                      <a:pt x="0" y="147"/>
                    </a:lnTo>
                    <a:lnTo>
                      <a:pt x="0"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1" name="Freeform 33"/>
              <p:cNvSpPr>
                <a:spLocks/>
              </p:cNvSpPr>
              <p:nvPr/>
            </p:nvSpPr>
            <p:spPr bwMode="auto">
              <a:xfrm>
                <a:off x="2455863" y="2385219"/>
                <a:ext cx="530225" cy="269875"/>
              </a:xfrm>
              <a:custGeom>
                <a:avLst/>
                <a:gdLst>
                  <a:gd name="T0" fmla="*/ 0 w 334"/>
                  <a:gd name="T1" fmla="*/ 170 h 170"/>
                  <a:gd name="T2" fmla="*/ 0 w 334"/>
                  <a:gd name="T3" fmla="*/ 0 h 170"/>
                  <a:gd name="T4" fmla="*/ 334 w 334"/>
                  <a:gd name="T5" fmla="*/ 0 h 170"/>
                </a:gdLst>
                <a:ahLst/>
                <a:cxnLst>
                  <a:cxn ang="0">
                    <a:pos x="T0" y="T1"/>
                  </a:cxn>
                  <a:cxn ang="0">
                    <a:pos x="T2" y="T3"/>
                  </a:cxn>
                  <a:cxn ang="0">
                    <a:pos x="T4" y="T5"/>
                  </a:cxn>
                </a:cxnLst>
                <a:rect l="0" t="0" r="r" b="b"/>
                <a:pathLst>
                  <a:path w="334" h="170">
                    <a:moveTo>
                      <a:pt x="0" y="170"/>
                    </a:moveTo>
                    <a:lnTo>
                      <a:pt x="0" y="0"/>
                    </a:lnTo>
                    <a:lnTo>
                      <a:pt x="334"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2" name="Freeform 34"/>
              <p:cNvSpPr>
                <a:spLocks/>
              </p:cNvSpPr>
              <p:nvPr/>
            </p:nvSpPr>
            <p:spPr bwMode="auto">
              <a:xfrm>
                <a:off x="2455863" y="2283619"/>
                <a:ext cx="792163" cy="371475"/>
              </a:xfrm>
              <a:custGeom>
                <a:avLst/>
                <a:gdLst>
                  <a:gd name="T0" fmla="*/ 499 w 499"/>
                  <a:gd name="T1" fmla="*/ 0 h 234"/>
                  <a:gd name="T2" fmla="*/ 342 w 499"/>
                  <a:gd name="T3" fmla="*/ 234 h 234"/>
                  <a:gd name="T4" fmla="*/ 0 w 499"/>
                  <a:gd name="T5" fmla="*/ 234 h 234"/>
                </a:gdLst>
                <a:ahLst/>
                <a:cxnLst>
                  <a:cxn ang="0">
                    <a:pos x="T0" y="T1"/>
                  </a:cxn>
                  <a:cxn ang="0">
                    <a:pos x="T2" y="T3"/>
                  </a:cxn>
                  <a:cxn ang="0">
                    <a:pos x="T4" y="T5"/>
                  </a:cxn>
                </a:cxnLst>
                <a:rect l="0" t="0" r="r" b="b"/>
                <a:pathLst>
                  <a:path w="499" h="234">
                    <a:moveTo>
                      <a:pt x="499" y="0"/>
                    </a:moveTo>
                    <a:lnTo>
                      <a:pt x="342" y="234"/>
                    </a:lnTo>
                    <a:lnTo>
                      <a:pt x="0" y="234"/>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3" name="Freeform 35"/>
              <p:cNvSpPr>
                <a:spLocks/>
              </p:cNvSpPr>
              <p:nvPr/>
            </p:nvSpPr>
            <p:spPr bwMode="auto">
              <a:xfrm>
                <a:off x="3522663" y="1935956"/>
                <a:ext cx="315913" cy="822325"/>
              </a:xfrm>
              <a:custGeom>
                <a:avLst/>
                <a:gdLst>
                  <a:gd name="T0" fmla="*/ 199 w 199"/>
                  <a:gd name="T1" fmla="*/ 518 h 518"/>
                  <a:gd name="T2" fmla="*/ 0 w 199"/>
                  <a:gd name="T3" fmla="*/ 219 h 518"/>
                  <a:gd name="T4" fmla="*/ 144 w 199"/>
                  <a:gd name="T5" fmla="*/ 0 h 518"/>
                </a:gdLst>
                <a:ahLst/>
                <a:cxnLst>
                  <a:cxn ang="0">
                    <a:pos x="T0" y="T1"/>
                  </a:cxn>
                  <a:cxn ang="0">
                    <a:pos x="T2" y="T3"/>
                  </a:cxn>
                  <a:cxn ang="0">
                    <a:pos x="T4" y="T5"/>
                  </a:cxn>
                </a:cxnLst>
                <a:rect l="0" t="0" r="r" b="b"/>
                <a:pathLst>
                  <a:path w="199" h="518">
                    <a:moveTo>
                      <a:pt x="199" y="518"/>
                    </a:moveTo>
                    <a:lnTo>
                      <a:pt x="0" y="219"/>
                    </a:lnTo>
                    <a:lnTo>
                      <a:pt x="144" y="0"/>
                    </a:ln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4" name="Line 36"/>
              <p:cNvSpPr>
                <a:spLocks noChangeShapeType="1"/>
              </p:cNvSpPr>
              <p:nvPr/>
            </p:nvSpPr>
            <p:spPr bwMode="auto">
              <a:xfrm>
                <a:off x="3924301" y="1935956"/>
                <a:ext cx="0" cy="9207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5" name="Line 37"/>
              <p:cNvSpPr>
                <a:spLocks noChangeShapeType="1"/>
              </p:cNvSpPr>
              <p:nvPr/>
            </p:nvSpPr>
            <p:spPr bwMode="auto">
              <a:xfrm flipV="1">
                <a:off x="4540251" y="1947069"/>
                <a:ext cx="0" cy="25558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6" name="Freeform 38"/>
              <p:cNvSpPr>
                <a:spLocks/>
              </p:cNvSpPr>
              <p:nvPr/>
            </p:nvSpPr>
            <p:spPr bwMode="auto">
              <a:xfrm>
                <a:off x="4540251" y="2070894"/>
                <a:ext cx="388938" cy="131763"/>
              </a:xfrm>
              <a:custGeom>
                <a:avLst/>
                <a:gdLst>
                  <a:gd name="T0" fmla="*/ 122 w 122"/>
                  <a:gd name="T1" fmla="*/ 0 h 41"/>
                  <a:gd name="T2" fmla="*/ 109 w 122"/>
                  <a:gd name="T3" fmla="*/ 31 h 41"/>
                  <a:gd name="T4" fmla="*/ 76 w 122"/>
                  <a:gd name="T5" fmla="*/ 41 h 41"/>
                  <a:gd name="T6" fmla="*/ 0 w 122"/>
                  <a:gd name="T7" fmla="*/ 41 h 41"/>
                </a:gdLst>
                <a:ahLst/>
                <a:cxnLst>
                  <a:cxn ang="0">
                    <a:pos x="T0" y="T1"/>
                  </a:cxn>
                  <a:cxn ang="0">
                    <a:pos x="T2" y="T3"/>
                  </a:cxn>
                  <a:cxn ang="0">
                    <a:pos x="T4" y="T5"/>
                  </a:cxn>
                  <a:cxn ang="0">
                    <a:pos x="T6" y="T7"/>
                  </a:cxn>
                </a:cxnLst>
                <a:rect l="0" t="0" r="r" b="b"/>
                <a:pathLst>
                  <a:path w="122" h="41">
                    <a:moveTo>
                      <a:pt x="122" y="0"/>
                    </a:moveTo>
                    <a:cubicBezTo>
                      <a:pt x="122" y="15"/>
                      <a:pt x="118" y="25"/>
                      <a:pt x="109" y="31"/>
                    </a:cubicBezTo>
                    <a:cubicBezTo>
                      <a:pt x="100" y="38"/>
                      <a:pt x="89" y="41"/>
                      <a:pt x="76" y="41"/>
                    </a:cubicBezTo>
                    <a:cubicBezTo>
                      <a:pt x="0" y="41"/>
                      <a:pt x="0" y="41"/>
                      <a:pt x="0" y="41"/>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7" name="Freeform 39"/>
              <p:cNvSpPr>
                <a:spLocks/>
              </p:cNvSpPr>
              <p:nvPr/>
            </p:nvSpPr>
            <p:spPr bwMode="auto">
              <a:xfrm>
                <a:off x="4540251" y="1947069"/>
                <a:ext cx="388938" cy="123825"/>
              </a:xfrm>
              <a:custGeom>
                <a:avLst/>
                <a:gdLst>
                  <a:gd name="T0" fmla="*/ 0 w 122"/>
                  <a:gd name="T1" fmla="*/ 0 h 39"/>
                  <a:gd name="T2" fmla="*/ 70 w 122"/>
                  <a:gd name="T3" fmla="*/ 0 h 39"/>
                  <a:gd name="T4" fmla="*/ 90 w 122"/>
                  <a:gd name="T5" fmla="*/ 2 h 39"/>
                  <a:gd name="T6" fmla="*/ 106 w 122"/>
                  <a:gd name="T7" fmla="*/ 8 h 39"/>
                  <a:gd name="T8" fmla="*/ 118 w 122"/>
                  <a:gd name="T9" fmla="*/ 20 h 39"/>
                  <a:gd name="T10" fmla="*/ 122 w 122"/>
                  <a:gd name="T11" fmla="*/ 39 h 39"/>
                </a:gdLst>
                <a:ahLst/>
                <a:cxnLst>
                  <a:cxn ang="0">
                    <a:pos x="T0" y="T1"/>
                  </a:cxn>
                  <a:cxn ang="0">
                    <a:pos x="T2" y="T3"/>
                  </a:cxn>
                  <a:cxn ang="0">
                    <a:pos x="T4" y="T5"/>
                  </a:cxn>
                  <a:cxn ang="0">
                    <a:pos x="T6" y="T7"/>
                  </a:cxn>
                  <a:cxn ang="0">
                    <a:pos x="T8" y="T9"/>
                  </a:cxn>
                  <a:cxn ang="0">
                    <a:pos x="T10" y="T11"/>
                  </a:cxn>
                </a:cxnLst>
                <a:rect l="0" t="0" r="r" b="b"/>
                <a:pathLst>
                  <a:path w="122" h="39">
                    <a:moveTo>
                      <a:pt x="0" y="0"/>
                    </a:moveTo>
                    <a:cubicBezTo>
                      <a:pt x="70" y="0"/>
                      <a:pt x="70" y="0"/>
                      <a:pt x="70" y="0"/>
                    </a:cubicBezTo>
                    <a:cubicBezTo>
                      <a:pt x="77" y="0"/>
                      <a:pt x="83" y="0"/>
                      <a:pt x="90" y="2"/>
                    </a:cubicBezTo>
                    <a:cubicBezTo>
                      <a:pt x="96" y="3"/>
                      <a:pt x="101" y="5"/>
                      <a:pt x="106" y="8"/>
                    </a:cubicBezTo>
                    <a:cubicBezTo>
                      <a:pt x="111" y="10"/>
                      <a:pt x="115" y="14"/>
                      <a:pt x="118" y="20"/>
                    </a:cubicBezTo>
                    <a:cubicBezTo>
                      <a:pt x="121" y="25"/>
                      <a:pt x="122" y="31"/>
                      <a:pt x="122" y="39"/>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8" name="Freeform 40"/>
              <p:cNvSpPr>
                <a:spLocks/>
              </p:cNvSpPr>
              <p:nvPr/>
            </p:nvSpPr>
            <p:spPr bwMode="auto">
              <a:xfrm>
                <a:off x="4795838" y="2523331"/>
                <a:ext cx="177800" cy="144463"/>
              </a:xfrm>
              <a:custGeom>
                <a:avLst/>
                <a:gdLst>
                  <a:gd name="T0" fmla="*/ 56 w 56"/>
                  <a:gd name="T1" fmla="*/ 0 h 45"/>
                  <a:gd name="T2" fmla="*/ 51 w 56"/>
                  <a:gd name="T3" fmla="*/ 22 h 45"/>
                  <a:gd name="T4" fmla="*/ 39 w 56"/>
                  <a:gd name="T5" fmla="*/ 36 h 45"/>
                  <a:gd name="T6" fmla="*/ 21 w 56"/>
                  <a:gd name="T7" fmla="*/ 43 h 45"/>
                  <a:gd name="T8" fmla="*/ 0 w 56"/>
                  <a:gd name="T9" fmla="*/ 45 h 45"/>
                </a:gdLst>
                <a:ahLst/>
                <a:cxnLst>
                  <a:cxn ang="0">
                    <a:pos x="T0" y="T1"/>
                  </a:cxn>
                  <a:cxn ang="0">
                    <a:pos x="T2" y="T3"/>
                  </a:cxn>
                  <a:cxn ang="0">
                    <a:pos x="T4" y="T5"/>
                  </a:cxn>
                  <a:cxn ang="0">
                    <a:pos x="T6" y="T7"/>
                  </a:cxn>
                  <a:cxn ang="0">
                    <a:pos x="T8" y="T9"/>
                  </a:cxn>
                </a:cxnLst>
                <a:rect l="0" t="0" r="r" b="b"/>
                <a:pathLst>
                  <a:path w="56" h="45">
                    <a:moveTo>
                      <a:pt x="56" y="0"/>
                    </a:moveTo>
                    <a:cubicBezTo>
                      <a:pt x="56" y="9"/>
                      <a:pt x="54" y="17"/>
                      <a:pt x="51" y="22"/>
                    </a:cubicBezTo>
                    <a:cubicBezTo>
                      <a:pt x="48" y="28"/>
                      <a:pt x="44" y="33"/>
                      <a:pt x="39" y="36"/>
                    </a:cubicBezTo>
                    <a:cubicBezTo>
                      <a:pt x="34" y="39"/>
                      <a:pt x="28" y="42"/>
                      <a:pt x="21" y="43"/>
                    </a:cubicBezTo>
                    <a:cubicBezTo>
                      <a:pt x="15" y="45"/>
                      <a:pt x="8" y="45"/>
                      <a:pt x="0" y="45"/>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49" name="Freeform 41"/>
              <p:cNvSpPr>
                <a:spLocks/>
              </p:cNvSpPr>
              <p:nvPr/>
            </p:nvSpPr>
            <p:spPr bwMode="auto">
              <a:xfrm>
                <a:off x="4540251" y="2366169"/>
                <a:ext cx="433388" cy="157163"/>
              </a:xfrm>
              <a:custGeom>
                <a:avLst/>
                <a:gdLst>
                  <a:gd name="T0" fmla="*/ 0 w 136"/>
                  <a:gd name="T1" fmla="*/ 0 h 49"/>
                  <a:gd name="T2" fmla="*/ 82 w 136"/>
                  <a:gd name="T3" fmla="*/ 0 h 49"/>
                  <a:gd name="T4" fmla="*/ 121 w 136"/>
                  <a:gd name="T5" fmla="*/ 12 h 49"/>
                  <a:gd name="T6" fmla="*/ 136 w 136"/>
                  <a:gd name="T7" fmla="*/ 49 h 49"/>
                </a:gdLst>
                <a:ahLst/>
                <a:cxnLst>
                  <a:cxn ang="0">
                    <a:pos x="T0" y="T1"/>
                  </a:cxn>
                  <a:cxn ang="0">
                    <a:pos x="T2" y="T3"/>
                  </a:cxn>
                  <a:cxn ang="0">
                    <a:pos x="T4" y="T5"/>
                  </a:cxn>
                  <a:cxn ang="0">
                    <a:pos x="T6" y="T7"/>
                  </a:cxn>
                </a:cxnLst>
                <a:rect l="0" t="0" r="r" b="b"/>
                <a:pathLst>
                  <a:path w="136" h="49">
                    <a:moveTo>
                      <a:pt x="0" y="0"/>
                    </a:moveTo>
                    <a:cubicBezTo>
                      <a:pt x="82" y="0"/>
                      <a:pt x="82" y="0"/>
                      <a:pt x="82" y="0"/>
                    </a:cubicBezTo>
                    <a:cubicBezTo>
                      <a:pt x="98" y="0"/>
                      <a:pt x="111" y="4"/>
                      <a:pt x="121" y="12"/>
                    </a:cubicBezTo>
                    <a:cubicBezTo>
                      <a:pt x="131" y="19"/>
                      <a:pt x="136" y="32"/>
                      <a:pt x="136" y="49"/>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0" name="Line 42"/>
              <p:cNvSpPr>
                <a:spLocks noChangeShapeType="1"/>
              </p:cNvSpPr>
              <p:nvPr/>
            </p:nvSpPr>
            <p:spPr bwMode="auto">
              <a:xfrm flipV="1">
                <a:off x="4540251" y="2366169"/>
                <a:ext cx="0" cy="3016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1" name="Rectangle 35"/>
              <p:cNvSpPr>
                <a:spLocks noChangeArrowheads="1"/>
              </p:cNvSpPr>
              <p:nvPr/>
            </p:nvSpPr>
            <p:spPr bwMode="auto">
              <a:xfrm>
                <a:off x="467544" y="260022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2" name="Rectangle 35"/>
              <p:cNvSpPr>
                <a:spLocks noChangeArrowheads="1"/>
              </p:cNvSpPr>
              <p:nvPr/>
            </p:nvSpPr>
            <p:spPr bwMode="auto">
              <a:xfrm>
                <a:off x="287524" y="27802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3" name="Rectangle 35"/>
              <p:cNvSpPr>
                <a:spLocks noChangeArrowheads="1"/>
              </p:cNvSpPr>
              <p:nvPr/>
            </p:nvSpPr>
            <p:spPr bwMode="auto">
              <a:xfrm>
                <a:off x="1295636" y="18801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4" name="Rectangle 35"/>
              <p:cNvSpPr>
                <a:spLocks noChangeArrowheads="1"/>
              </p:cNvSpPr>
              <p:nvPr/>
            </p:nvSpPr>
            <p:spPr bwMode="auto">
              <a:xfrm>
                <a:off x="1295636" y="2096169"/>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5" name="Rectangle 35"/>
              <p:cNvSpPr>
                <a:spLocks noChangeArrowheads="1"/>
              </p:cNvSpPr>
              <p:nvPr/>
            </p:nvSpPr>
            <p:spPr bwMode="auto">
              <a:xfrm>
                <a:off x="2139630" y="1548158"/>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6" name="Rectangle 35"/>
              <p:cNvSpPr>
                <a:spLocks noChangeArrowheads="1"/>
              </p:cNvSpPr>
              <p:nvPr/>
            </p:nvSpPr>
            <p:spPr bwMode="auto">
              <a:xfrm>
                <a:off x="2389088"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7" name="Rectangle 35"/>
              <p:cNvSpPr>
                <a:spLocks noChangeArrowheads="1"/>
              </p:cNvSpPr>
              <p:nvPr/>
            </p:nvSpPr>
            <p:spPr bwMode="auto">
              <a:xfrm>
                <a:off x="3715855" y="2672233"/>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8" name="Rectangle 35"/>
              <p:cNvSpPr>
                <a:spLocks noChangeArrowheads="1"/>
              </p:cNvSpPr>
              <p:nvPr/>
            </p:nvSpPr>
            <p:spPr bwMode="auto">
              <a:xfrm>
                <a:off x="3497261" y="27802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59" name="Rectangle 35"/>
              <p:cNvSpPr>
                <a:spLocks noChangeArrowheads="1"/>
              </p:cNvSpPr>
              <p:nvPr/>
            </p:nvSpPr>
            <p:spPr bwMode="auto">
              <a:xfrm>
                <a:off x="3651798" y="18801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0" name="Rectangle 35"/>
              <p:cNvSpPr>
                <a:spLocks noChangeArrowheads="1"/>
              </p:cNvSpPr>
              <p:nvPr/>
            </p:nvSpPr>
            <p:spPr bwMode="auto">
              <a:xfrm>
                <a:off x="4103948"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1" name="Rectangle 35"/>
              <p:cNvSpPr>
                <a:spLocks noChangeArrowheads="1"/>
              </p:cNvSpPr>
              <p:nvPr/>
            </p:nvSpPr>
            <p:spPr bwMode="auto">
              <a:xfrm>
                <a:off x="3851920" y="18801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2" name="Rectangle 35"/>
              <p:cNvSpPr>
                <a:spLocks noChangeArrowheads="1"/>
              </p:cNvSpPr>
              <p:nvPr/>
            </p:nvSpPr>
            <p:spPr bwMode="auto">
              <a:xfrm>
                <a:off x="4427984"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3" name="Rectangle 35"/>
              <p:cNvSpPr>
                <a:spLocks noChangeArrowheads="1"/>
              </p:cNvSpPr>
              <p:nvPr/>
            </p:nvSpPr>
            <p:spPr bwMode="auto">
              <a:xfrm>
                <a:off x="4427984" y="2584323"/>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4" name="Rectangle 35"/>
              <p:cNvSpPr>
                <a:spLocks noChangeArrowheads="1"/>
              </p:cNvSpPr>
              <p:nvPr/>
            </p:nvSpPr>
            <p:spPr bwMode="auto">
              <a:xfrm>
                <a:off x="4716016" y="2584323"/>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5" name="Rectangle 35"/>
              <p:cNvSpPr>
                <a:spLocks noChangeArrowheads="1"/>
              </p:cNvSpPr>
              <p:nvPr/>
            </p:nvSpPr>
            <p:spPr bwMode="auto">
              <a:xfrm>
                <a:off x="5444047" y="1880145"/>
                <a:ext cx="166688" cy="166688"/>
              </a:xfrm>
              <a:prstGeom prst="rect">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6" name="Rectangle 35"/>
              <p:cNvSpPr>
                <a:spLocks noChangeArrowheads="1"/>
              </p:cNvSpPr>
              <p:nvPr/>
            </p:nvSpPr>
            <p:spPr bwMode="auto">
              <a:xfrm>
                <a:off x="5600214" y="1880145"/>
                <a:ext cx="166688" cy="166688"/>
              </a:xfrm>
              <a:prstGeom prst="rect">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7" name="Rectangle 35"/>
              <p:cNvSpPr>
                <a:spLocks noChangeArrowheads="1"/>
              </p:cNvSpPr>
              <p:nvPr/>
            </p:nvSpPr>
            <p:spPr bwMode="auto">
              <a:xfrm>
                <a:off x="6444208" y="27802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8" name="Rectangle 35"/>
              <p:cNvSpPr>
                <a:spLocks noChangeArrowheads="1"/>
              </p:cNvSpPr>
              <p:nvPr/>
            </p:nvSpPr>
            <p:spPr bwMode="auto">
              <a:xfrm>
                <a:off x="6416155" y="1880145"/>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69" name="Rectangle 35"/>
              <p:cNvSpPr>
                <a:spLocks noChangeArrowheads="1"/>
              </p:cNvSpPr>
              <p:nvPr/>
            </p:nvSpPr>
            <p:spPr bwMode="auto">
              <a:xfrm>
                <a:off x="6228184"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70" name="Rectangle 35"/>
              <p:cNvSpPr>
                <a:spLocks noChangeArrowheads="1"/>
              </p:cNvSpPr>
              <p:nvPr/>
            </p:nvSpPr>
            <p:spPr bwMode="auto">
              <a:xfrm>
                <a:off x="8352420" y="1672072"/>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71" name="Rectangle 35"/>
              <p:cNvSpPr>
                <a:spLocks noChangeArrowheads="1"/>
              </p:cNvSpPr>
              <p:nvPr/>
            </p:nvSpPr>
            <p:spPr bwMode="auto">
              <a:xfrm>
                <a:off x="8629931" y="1484101"/>
                <a:ext cx="166688" cy="166688"/>
              </a:xfrm>
              <a:prstGeom prst="rect">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sp>
            <p:nvSpPr>
              <p:cNvPr id="72" name="Rectangle 35"/>
              <p:cNvSpPr>
                <a:spLocks noChangeArrowheads="1"/>
              </p:cNvSpPr>
              <p:nvPr/>
            </p:nvSpPr>
            <p:spPr bwMode="auto">
              <a:xfrm>
                <a:off x="6668183" y="3012171"/>
                <a:ext cx="166688" cy="1666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Calibri" pitchFamily="34" charset="0"/>
                </a:endParaRPr>
              </a:p>
            </p:txBody>
          </p:sp>
        </p:grpSp>
      </p:grpSp>
    </p:spTree>
    <p:extLst>
      <p:ext uri="{BB962C8B-B14F-4D97-AF65-F5344CB8AC3E}">
        <p14:creationId xmlns:p14="http://schemas.microsoft.com/office/powerpoint/2010/main" val="30129678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04" y="367851"/>
            <a:ext cx="8631252" cy="994172"/>
          </a:xfrm>
        </p:spPr>
        <p:txBody>
          <a:bodyPr/>
          <a:lstStyle/>
          <a:p>
            <a:r>
              <a:rPr lang="en-GB" sz="2000" dirty="0"/>
              <a:t>The flexibility and the wholesale market should be connected to create a solution that benefits the entire system and that keeps the societal costs low. </a:t>
            </a:r>
          </a:p>
        </p:txBody>
      </p:sp>
      <p:sp>
        <p:nvSpPr>
          <p:cNvPr id="5" name="Rectangle 4"/>
          <p:cNvSpPr/>
          <p:nvPr/>
        </p:nvSpPr>
        <p:spPr>
          <a:xfrm>
            <a:off x="1062038" y="1425178"/>
            <a:ext cx="7029450" cy="8663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p>
        </p:txBody>
      </p:sp>
      <p:sp>
        <p:nvSpPr>
          <p:cNvPr id="7" name="Rectangle 6"/>
          <p:cNvSpPr/>
          <p:nvPr/>
        </p:nvSpPr>
        <p:spPr>
          <a:xfrm>
            <a:off x="1062038" y="3001624"/>
            <a:ext cx="7029450" cy="8663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p>
        </p:txBody>
      </p:sp>
      <p:grpSp>
        <p:nvGrpSpPr>
          <p:cNvPr id="33" name="Group 32"/>
          <p:cNvGrpSpPr/>
          <p:nvPr/>
        </p:nvGrpSpPr>
        <p:grpSpPr>
          <a:xfrm>
            <a:off x="4132112" y="1425178"/>
            <a:ext cx="866342" cy="866342"/>
            <a:chOff x="4373852" y="1900238"/>
            <a:chExt cx="1155122" cy="1155122"/>
          </a:xfrm>
        </p:grpSpPr>
        <p:sp>
          <p:nvSpPr>
            <p:cNvPr id="6" name="Rechthoek 11"/>
            <p:cNvSpPr>
              <a:spLocks noChangeAspect="1"/>
            </p:cNvSpPr>
            <p:nvPr/>
          </p:nvSpPr>
          <p:spPr>
            <a:xfrm>
              <a:off x="4373852" y="1900238"/>
              <a:ext cx="1155122" cy="115512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b"/>
            <a:lstStyle/>
            <a:p>
              <a:pPr algn="ctr"/>
              <a:r>
                <a:rPr lang="en-GB" sz="1600" dirty="0">
                  <a:solidFill>
                    <a:schemeClr val="bg1"/>
                  </a:solidFill>
                  <a:latin typeface="Calibri" pitchFamily="34" charset="0"/>
                </a:rPr>
                <a:t>Flexibility</a:t>
              </a:r>
            </a:p>
          </p:txBody>
        </p:sp>
        <p:grpSp>
          <p:nvGrpSpPr>
            <p:cNvPr id="8" name="Group 65"/>
            <p:cNvGrpSpPr/>
            <p:nvPr/>
          </p:nvGrpSpPr>
          <p:grpSpPr>
            <a:xfrm>
              <a:off x="4767681" y="2181450"/>
              <a:ext cx="338674" cy="331974"/>
              <a:chOff x="7112001" y="-3495675"/>
              <a:chExt cx="2889250" cy="2832100"/>
            </a:xfrm>
            <a:solidFill>
              <a:schemeClr val="bg1"/>
            </a:solidFill>
          </p:grpSpPr>
          <p:sp>
            <p:nvSpPr>
              <p:cNvPr id="9" name="Freeform 13"/>
              <p:cNvSpPr>
                <a:spLocks noEditPoints="1"/>
              </p:cNvSpPr>
              <p:nvPr/>
            </p:nvSpPr>
            <p:spPr bwMode="auto">
              <a:xfrm>
                <a:off x="7112001" y="-3495675"/>
                <a:ext cx="1774825" cy="1244600"/>
              </a:xfrm>
              <a:custGeom>
                <a:avLst/>
                <a:gdLst>
                  <a:gd name="T0" fmla="*/ 153 w 697"/>
                  <a:gd name="T1" fmla="*/ 488 h 488"/>
                  <a:gd name="T2" fmla="*/ 265 w 697"/>
                  <a:gd name="T3" fmla="*/ 377 h 488"/>
                  <a:gd name="T4" fmla="*/ 204 w 697"/>
                  <a:gd name="T5" fmla="*/ 316 h 488"/>
                  <a:gd name="T6" fmla="*/ 204 w 697"/>
                  <a:gd name="T7" fmla="*/ 204 h 488"/>
                  <a:gd name="T8" fmla="*/ 316 w 697"/>
                  <a:gd name="T9" fmla="*/ 204 h 488"/>
                  <a:gd name="T10" fmla="*/ 586 w 697"/>
                  <a:gd name="T11" fmla="*/ 474 h 488"/>
                  <a:gd name="T12" fmla="*/ 697 w 697"/>
                  <a:gd name="T13" fmla="*/ 362 h 488"/>
                  <a:gd name="T14" fmla="*/ 428 w 697"/>
                  <a:gd name="T15" fmla="*/ 92 h 488"/>
                  <a:gd name="T16" fmla="*/ 92 w 697"/>
                  <a:gd name="T17" fmla="*/ 92 h 488"/>
                  <a:gd name="T18" fmla="*/ 92 w 697"/>
                  <a:gd name="T19" fmla="*/ 427 h 488"/>
                  <a:gd name="T20" fmla="*/ 153 w 697"/>
                  <a:gd name="T21" fmla="*/ 488 h 488"/>
                  <a:gd name="T22" fmla="*/ 153 w 697"/>
                  <a:gd name="T23" fmla="*/ 488 h 488"/>
                  <a:gd name="T24" fmla="*/ 153 w 697"/>
                  <a:gd name="T25"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488">
                    <a:moveTo>
                      <a:pt x="153" y="488"/>
                    </a:moveTo>
                    <a:cubicBezTo>
                      <a:pt x="265" y="377"/>
                      <a:pt x="265" y="377"/>
                      <a:pt x="265" y="377"/>
                    </a:cubicBezTo>
                    <a:cubicBezTo>
                      <a:pt x="204" y="316"/>
                      <a:pt x="204" y="316"/>
                      <a:pt x="204" y="316"/>
                    </a:cubicBezTo>
                    <a:cubicBezTo>
                      <a:pt x="173" y="285"/>
                      <a:pt x="173" y="235"/>
                      <a:pt x="204" y="204"/>
                    </a:cubicBezTo>
                    <a:cubicBezTo>
                      <a:pt x="235" y="173"/>
                      <a:pt x="285" y="173"/>
                      <a:pt x="316" y="204"/>
                    </a:cubicBezTo>
                    <a:cubicBezTo>
                      <a:pt x="586" y="474"/>
                      <a:pt x="586" y="474"/>
                      <a:pt x="586" y="474"/>
                    </a:cubicBezTo>
                    <a:cubicBezTo>
                      <a:pt x="697" y="362"/>
                      <a:pt x="697" y="362"/>
                      <a:pt x="697" y="362"/>
                    </a:cubicBezTo>
                    <a:cubicBezTo>
                      <a:pt x="428" y="92"/>
                      <a:pt x="428" y="92"/>
                      <a:pt x="428" y="92"/>
                    </a:cubicBezTo>
                    <a:cubicBezTo>
                      <a:pt x="335" y="0"/>
                      <a:pt x="185" y="0"/>
                      <a:pt x="92" y="92"/>
                    </a:cubicBezTo>
                    <a:cubicBezTo>
                      <a:pt x="0" y="185"/>
                      <a:pt x="0" y="335"/>
                      <a:pt x="92" y="427"/>
                    </a:cubicBezTo>
                    <a:lnTo>
                      <a:pt x="153" y="488"/>
                    </a:lnTo>
                    <a:close/>
                    <a:moveTo>
                      <a:pt x="153" y="488"/>
                    </a:moveTo>
                    <a:cubicBezTo>
                      <a:pt x="153" y="488"/>
                      <a:pt x="153" y="488"/>
                      <a:pt x="153" y="4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solidFill>
                    <a:schemeClr val="bg1"/>
                  </a:solidFill>
                  <a:latin typeface="Calibri" pitchFamily="34" charset="0"/>
                </a:endParaRPr>
              </a:p>
            </p:txBody>
          </p:sp>
          <p:sp>
            <p:nvSpPr>
              <p:cNvPr id="10" name="Freeform 14"/>
              <p:cNvSpPr>
                <a:spLocks noEditPoints="1"/>
              </p:cNvSpPr>
              <p:nvPr/>
            </p:nvSpPr>
            <p:spPr bwMode="auto">
              <a:xfrm>
                <a:off x="8224838" y="-1851025"/>
                <a:ext cx="1776413" cy="1187450"/>
              </a:xfrm>
              <a:custGeom>
                <a:avLst/>
                <a:gdLst>
                  <a:gd name="T0" fmla="*/ 544 w 697"/>
                  <a:gd name="T1" fmla="*/ 0 h 466"/>
                  <a:gd name="T2" fmla="*/ 432 w 697"/>
                  <a:gd name="T3" fmla="*/ 112 h 466"/>
                  <a:gd name="T4" fmla="*/ 493 w 697"/>
                  <a:gd name="T5" fmla="*/ 173 h 466"/>
                  <a:gd name="T6" fmla="*/ 493 w 697"/>
                  <a:gd name="T7" fmla="*/ 285 h 466"/>
                  <a:gd name="T8" fmla="*/ 381 w 697"/>
                  <a:gd name="T9" fmla="*/ 285 h 466"/>
                  <a:gd name="T10" fmla="*/ 111 w 697"/>
                  <a:gd name="T11" fmla="*/ 15 h 466"/>
                  <a:gd name="T12" fmla="*/ 0 w 697"/>
                  <a:gd name="T13" fmla="*/ 127 h 466"/>
                  <a:gd name="T14" fmla="*/ 269 w 697"/>
                  <a:gd name="T15" fmla="*/ 396 h 466"/>
                  <a:gd name="T16" fmla="*/ 437 w 697"/>
                  <a:gd name="T17" fmla="*/ 466 h 466"/>
                  <a:gd name="T18" fmla="*/ 605 w 697"/>
                  <a:gd name="T19" fmla="*/ 396 h 466"/>
                  <a:gd name="T20" fmla="*/ 605 w 697"/>
                  <a:gd name="T21" fmla="*/ 61 h 466"/>
                  <a:gd name="T22" fmla="*/ 544 w 697"/>
                  <a:gd name="T23" fmla="*/ 0 h 466"/>
                  <a:gd name="T24" fmla="*/ 544 w 697"/>
                  <a:gd name="T25" fmla="*/ 0 h 466"/>
                  <a:gd name="T26" fmla="*/ 544 w 697"/>
                  <a:gd name="T27"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7" h="466">
                    <a:moveTo>
                      <a:pt x="544" y="0"/>
                    </a:moveTo>
                    <a:cubicBezTo>
                      <a:pt x="432" y="112"/>
                      <a:pt x="432" y="112"/>
                      <a:pt x="432" y="112"/>
                    </a:cubicBezTo>
                    <a:cubicBezTo>
                      <a:pt x="493" y="173"/>
                      <a:pt x="493" y="173"/>
                      <a:pt x="493" y="173"/>
                    </a:cubicBezTo>
                    <a:cubicBezTo>
                      <a:pt x="524" y="204"/>
                      <a:pt x="524" y="254"/>
                      <a:pt x="493" y="285"/>
                    </a:cubicBezTo>
                    <a:cubicBezTo>
                      <a:pt x="462" y="315"/>
                      <a:pt x="412" y="315"/>
                      <a:pt x="381" y="285"/>
                    </a:cubicBezTo>
                    <a:cubicBezTo>
                      <a:pt x="111" y="15"/>
                      <a:pt x="111" y="15"/>
                      <a:pt x="111" y="15"/>
                    </a:cubicBezTo>
                    <a:cubicBezTo>
                      <a:pt x="0" y="127"/>
                      <a:pt x="0" y="127"/>
                      <a:pt x="0" y="127"/>
                    </a:cubicBezTo>
                    <a:cubicBezTo>
                      <a:pt x="269" y="396"/>
                      <a:pt x="269" y="396"/>
                      <a:pt x="269" y="396"/>
                    </a:cubicBezTo>
                    <a:cubicBezTo>
                      <a:pt x="316" y="443"/>
                      <a:pt x="376" y="466"/>
                      <a:pt x="437" y="466"/>
                    </a:cubicBezTo>
                    <a:cubicBezTo>
                      <a:pt x="498" y="466"/>
                      <a:pt x="558" y="443"/>
                      <a:pt x="605" y="396"/>
                    </a:cubicBezTo>
                    <a:cubicBezTo>
                      <a:pt x="697" y="304"/>
                      <a:pt x="697" y="154"/>
                      <a:pt x="605" y="61"/>
                    </a:cubicBezTo>
                    <a:lnTo>
                      <a:pt x="544" y="0"/>
                    </a:lnTo>
                    <a:close/>
                    <a:moveTo>
                      <a:pt x="544" y="0"/>
                    </a:moveTo>
                    <a:cubicBezTo>
                      <a:pt x="544" y="0"/>
                      <a:pt x="544" y="0"/>
                      <a:pt x="5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solidFill>
                    <a:schemeClr val="bg1"/>
                  </a:solidFill>
                  <a:latin typeface="Calibri" pitchFamily="34" charset="0"/>
                </a:endParaRPr>
              </a:p>
            </p:txBody>
          </p:sp>
          <p:sp>
            <p:nvSpPr>
              <p:cNvPr id="11" name="Freeform 15"/>
              <p:cNvSpPr>
                <a:spLocks noEditPoints="1"/>
              </p:cNvSpPr>
              <p:nvPr/>
            </p:nvSpPr>
            <p:spPr bwMode="auto">
              <a:xfrm>
                <a:off x="8755063" y="-3495675"/>
                <a:ext cx="1246188" cy="1776412"/>
              </a:xfrm>
              <a:custGeom>
                <a:avLst/>
                <a:gdLst>
                  <a:gd name="T0" fmla="*/ 173 w 489"/>
                  <a:gd name="T1" fmla="*/ 204 h 697"/>
                  <a:gd name="T2" fmla="*/ 285 w 489"/>
                  <a:gd name="T3" fmla="*/ 204 h 697"/>
                  <a:gd name="T4" fmla="*/ 285 w 489"/>
                  <a:gd name="T5" fmla="*/ 316 h 697"/>
                  <a:gd name="T6" fmla="*/ 15 w 489"/>
                  <a:gd name="T7" fmla="*/ 585 h 697"/>
                  <a:gd name="T8" fmla="*/ 127 w 489"/>
                  <a:gd name="T9" fmla="*/ 697 h 697"/>
                  <a:gd name="T10" fmla="*/ 397 w 489"/>
                  <a:gd name="T11" fmla="*/ 427 h 697"/>
                  <a:gd name="T12" fmla="*/ 397 w 489"/>
                  <a:gd name="T13" fmla="*/ 92 h 697"/>
                  <a:gd name="T14" fmla="*/ 61 w 489"/>
                  <a:gd name="T15" fmla="*/ 92 h 697"/>
                  <a:gd name="T16" fmla="*/ 0 w 489"/>
                  <a:gd name="T17" fmla="*/ 153 h 697"/>
                  <a:gd name="T18" fmla="*/ 112 w 489"/>
                  <a:gd name="T19" fmla="*/ 265 h 697"/>
                  <a:gd name="T20" fmla="*/ 173 w 489"/>
                  <a:gd name="T21" fmla="*/ 204 h 697"/>
                  <a:gd name="T22" fmla="*/ 173 w 489"/>
                  <a:gd name="T23" fmla="*/ 204 h 697"/>
                  <a:gd name="T24" fmla="*/ 173 w 489"/>
                  <a:gd name="T25" fmla="*/ 20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9" h="697">
                    <a:moveTo>
                      <a:pt x="173" y="204"/>
                    </a:moveTo>
                    <a:cubicBezTo>
                      <a:pt x="204" y="173"/>
                      <a:pt x="254" y="173"/>
                      <a:pt x="285" y="204"/>
                    </a:cubicBezTo>
                    <a:cubicBezTo>
                      <a:pt x="316" y="235"/>
                      <a:pt x="316" y="285"/>
                      <a:pt x="285" y="316"/>
                    </a:cubicBezTo>
                    <a:cubicBezTo>
                      <a:pt x="15" y="585"/>
                      <a:pt x="15" y="585"/>
                      <a:pt x="15" y="585"/>
                    </a:cubicBezTo>
                    <a:cubicBezTo>
                      <a:pt x="127" y="697"/>
                      <a:pt x="127" y="697"/>
                      <a:pt x="127" y="697"/>
                    </a:cubicBezTo>
                    <a:cubicBezTo>
                      <a:pt x="397" y="427"/>
                      <a:pt x="397" y="427"/>
                      <a:pt x="397" y="427"/>
                    </a:cubicBezTo>
                    <a:cubicBezTo>
                      <a:pt x="489" y="335"/>
                      <a:pt x="489" y="185"/>
                      <a:pt x="397" y="92"/>
                    </a:cubicBezTo>
                    <a:cubicBezTo>
                      <a:pt x="304" y="0"/>
                      <a:pt x="154" y="0"/>
                      <a:pt x="61" y="92"/>
                    </a:cubicBezTo>
                    <a:cubicBezTo>
                      <a:pt x="0" y="153"/>
                      <a:pt x="0" y="153"/>
                      <a:pt x="0" y="153"/>
                    </a:cubicBezTo>
                    <a:cubicBezTo>
                      <a:pt x="112" y="265"/>
                      <a:pt x="112" y="265"/>
                      <a:pt x="112" y="265"/>
                    </a:cubicBezTo>
                    <a:lnTo>
                      <a:pt x="173" y="204"/>
                    </a:lnTo>
                    <a:close/>
                    <a:moveTo>
                      <a:pt x="173" y="204"/>
                    </a:moveTo>
                    <a:cubicBezTo>
                      <a:pt x="173" y="204"/>
                      <a:pt x="173" y="204"/>
                      <a:pt x="173" y="2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solidFill>
                    <a:schemeClr val="bg1"/>
                  </a:solidFill>
                  <a:latin typeface="Calibri" pitchFamily="34" charset="0"/>
                </a:endParaRPr>
              </a:p>
            </p:txBody>
          </p:sp>
          <p:sp>
            <p:nvSpPr>
              <p:cNvPr id="12" name="Freeform 16"/>
              <p:cNvSpPr>
                <a:spLocks noEditPoints="1"/>
              </p:cNvSpPr>
              <p:nvPr/>
            </p:nvSpPr>
            <p:spPr bwMode="auto">
              <a:xfrm>
                <a:off x="7112001" y="-2384425"/>
                <a:ext cx="1244600" cy="1720850"/>
              </a:xfrm>
              <a:custGeom>
                <a:avLst/>
                <a:gdLst>
                  <a:gd name="T0" fmla="*/ 316 w 489"/>
                  <a:gd name="T1" fmla="*/ 494 h 675"/>
                  <a:gd name="T2" fmla="*/ 204 w 489"/>
                  <a:gd name="T3" fmla="*/ 494 h 675"/>
                  <a:gd name="T4" fmla="*/ 204 w 489"/>
                  <a:gd name="T5" fmla="*/ 382 h 675"/>
                  <a:gd name="T6" fmla="*/ 474 w 489"/>
                  <a:gd name="T7" fmla="*/ 112 h 675"/>
                  <a:gd name="T8" fmla="*/ 362 w 489"/>
                  <a:gd name="T9" fmla="*/ 0 h 675"/>
                  <a:gd name="T10" fmla="*/ 92 w 489"/>
                  <a:gd name="T11" fmla="*/ 270 h 675"/>
                  <a:gd name="T12" fmla="*/ 92 w 489"/>
                  <a:gd name="T13" fmla="*/ 605 h 675"/>
                  <a:gd name="T14" fmla="*/ 260 w 489"/>
                  <a:gd name="T15" fmla="*/ 675 h 675"/>
                  <a:gd name="T16" fmla="*/ 428 w 489"/>
                  <a:gd name="T17" fmla="*/ 605 h 675"/>
                  <a:gd name="T18" fmla="*/ 489 w 489"/>
                  <a:gd name="T19" fmla="*/ 544 h 675"/>
                  <a:gd name="T20" fmla="*/ 377 w 489"/>
                  <a:gd name="T21" fmla="*/ 433 h 675"/>
                  <a:gd name="T22" fmla="*/ 316 w 489"/>
                  <a:gd name="T23" fmla="*/ 494 h 675"/>
                  <a:gd name="T24" fmla="*/ 316 w 489"/>
                  <a:gd name="T25" fmla="*/ 494 h 675"/>
                  <a:gd name="T26" fmla="*/ 316 w 489"/>
                  <a:gd name="T27" fmla="*/ 494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675">
                    <a:moveTo>
                      <a:pt x="316" y="494"/>
                    </a:moveTo>
                    <a:cubicBezTo>
                      <a:pt x="285" y="524"/>
                      <a:pt x="235" y="524"/>
                      <a:pt x="204" y="494"/>
                    </a:cubicBezTo>
                    <a:cubicBezTo>
                      <a:pt x="173" y="463"/>
                      <a:pt x="173" y="413"/>
                      <a:pt x="204" y="382"/>
                    </a:cubicBezTo>
                    <a:cubicBezTo>
                      <a:pt x="474" y="112"/>
                      <a:pt x="474" y="112"/>
                      <a:pt x="474" y="112"/>
                    </a:cubicBezTo>
                    <a:cubicBezTo>
                      <a:pt x="362" y="0"/>
                      <a:pt x="362" y="0"/>
                      <a:pt x="362" y="0"/>
                    </a:cubicBezTo>
                    <a:cubicBezTo>
                      <a:pt x="92" y="270"/>
                      <a:pt x="92" y="270"/>
                      <a:pt x="92" y="270"/>
                    </a:cubicBezTo>
                    <a:cubicBezTo>
                      <a:pt x="0" y="363"/>
                      <a:pt x="0" y="513"/>
                      <a:pt x="92" y="605"/>
                    </a:cubicBezTo>
                    <a:cubicBezTo>
                      <a:pt x="139" y="652"/>
                      <a:pt x="199" y="675"/>
                      <a:pt x="260" y="675"/>
                    </a:cubicBezTo>
                    <a:cubicBezTo>
                      <a:pt x="321" y="675"/>
                      <a:pt x="381" y="652"/>
                      <a:pt x="428" y="605"/>
                    </a:cubicBezTo>
                    <a:cubicBezTo>
                      <a:pt x="489" y="544"/>
                      <a:pt x="489" y="544"/>
                      <a:pt x="489" y="544"/>
                    </a:cubicBezTo>
                    <a:cubicBezTo>
                      <a:pt x="377" y="433"/>
                      <a:pt x="377" y="433"/>
                      <a:pt x="377" y="433"/>
                    </a:cubicBezTo>
                    <a:lnTo>
                      <a:pt x="316" y="494"/>
                    </a:lnTo>
                    <a:close/>
                    <a:moveTo>
                      <a:pt x="316" y="494"/>
                    </a:moveTo>
                    <a:cubicBezTo>
                      <a:pt x="316" y="494"/>
                      <a:pt x="316" y="494"/>
                      <a:pt x="316" y="4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solidFill>
                    <a:schemeClr val="bg1"/>
                  </a:solidFill>
                  <a:latin typeface="Calibri" pitchFamily="34" charset="0"/>
                </a:endParaRPr>
              </a:p>
            </p:txBody>
          </p:sp>
        </p:grpSp>
      </p:grpSp>
      <p:grpSp>
        <p:nvGrpSpPr>
          <p:cNvPr id="32" name="Group 31"/>
          <p:cNvGrpSpPr/>
          <p:nvPr/>
        </p:nvGrpSpPr>
        <p:grpSpPr>
          <a:xfrm>
            <a:off x="1803719" y="3001624"/>
            <a:ext cx="866342" cy="866342"/>
            <a:chOff x="1083833" y="4002166"/>
            <a:chExt cx="1155122" cy="1155122"/>
          </a:xfrm>
        </p:grpSpPr>
        <p:sp>
          <p:nvSpPr>
            <p:cNvPr id="13" name="Rechthoek 11"/>
            <p:cNvSpPr>
              <a:spLocks noChangeAspect="1"/>
            </p:cNvSpPr>
            <p:nvPr/>
          </p:nvSpPr>
          <p:spPr>
            <a:xfrm>
              <a:off x="1083833" y="4002166"/>
              <a:ext cx="1155122" cy="115512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b"/>
            <a:lstStyle/>
            <a:p>
              <a:pPr algn="ctr"/>
              <a:r>
                <a:rPr lang="en-GB" dirty="0" smtClean="0">
                  <a:solidFill>
                    <a:schemeClr val="bg1"/>
                  </a:solidFill>
                  <a:latin typeface="Calibri" pitchFamily="34" charset="0"/>
                </a:rPr>
                <a:t>Demand</a:t>
              </a:r>
              <a:endParaRPr lang="en-GB" dirty="0">
                <a:solidFill>
                  <a:schemeClr val="bg1"/>
                </a:solidFill>
                <a:latin typeface="Calibri" pitchFamily="34" charset="0"/>
              </a:endParaRPr>
            </a:p>
          </p:txBody>
        </p:sp>
        <p:grpSp>
          <p:nvGrpSpPr>
            <p:cNvPr id="21" name="Group 20"/>
            <p:cNvGrpSpPr/>
            <p:nvPr/>
          </p:nvGrpSpPr>
          <p:grpSpPr>
            <a:xfrm>
              <a:off x="1514767" y="4224208"/>
              <a:ext cx="273939" cy="399719"/>
              <a:chOff x="1514767" y="3143554"/>
              <a:chExt cx="273939" cy="399719"/>
            </a:xfrm>
          </p:grpSpPr>
          <p:sp>
            <p:nvSpPr>
              <p:cNvPr id="23" name="Rectangle 25"/>
              <p:cNvSpPr/>
              <p:nvPr/>
            </p:nvSpPr>
            <p:spPr>
              <a:xfrm rot="2933454" flipH="1">
                <a:off x="1451877" y="3206444"/>
                <a:ext cx="399719" cy="273939"/>
              </a:xfrm>
              <a:custGeom>
                <a:avLst/>
                <a:gdLst>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4528781 w 5167630"/>
                  <a:gd name="connsiteY4" fmla="*/ 801003 h 3408302"/>
                  <a:gd name="connsiteX5" fmla="*/ 4806383 w 5167630"/>
                  <a:gd name="connsiteY5" fmla="*/ 1078605 h 3408302"/>
                  <a:gd name="connsiteX6" fmla="*/ 4528781 w 5167630"/>
                  <a:gd name="connsiteY6" fmla="*/ 1356207 h 3408302"/>
                  <a:gd name="connsiteX7" fmla="*/ 2853691 w 5167630"/>
                  <a:gd name="connsiteY7" fmla="*/ 1356207 h 3408302"/>
                  <a:gd name="connsiteX8" fmla="*/ 2853691 w 5167630"/>
                  <a:gd name="connsiteY8" fmla="*/ 1356209 h 3408302"/>
                  <a:gd name="connsiteX9" fmla="*/ 2730366 w 5167630"/>
                  <a:gd name="connsiteY9" fmla="*/ 1356209 h 3408302"/>
                  <a:gd name="connsiteX10" fmla="*/ 2665951 w 5167630"/>
                  <a:gd name="connsiteY10" fmla="*/ 1420624 h 3408302"/>
                  <a:gd name="connsiteX11" fmla="*/ 2730366 w 5167630"/>
                  <a:gd name="connsiteY11" fmla="*/ 1485039 h 3408302"/>
                  <a:gd name="connsiteX12" fmla="*/ 3727927 w 5167630"/>
                  <a:gd name="connsiteY12" fmla="*/ 1485039 h 3408302"/>
                  <a:gd name="connsiteX13" fmla="*/ 3727942 w 5167630"/>
                  <a:gd name="connsiteY13" fmla="*/ 1485036 h 3408302"/>
                  <a:gd name="connsiteX14" fmla="*/ 4890028 w 5167630"/>
                  <a:gd name="connsiteY14" fmla="*/ 1485036 h 3408302"/>
                  <a:gd name="connsiteX15" fmla="*/ 5167630 w 5167630"/>
                  <a:gd name="connsiteY15" fmla="*/ 1762638 h 3408302"/>
                  <a:gd name="connsiteX16" fmla="*/ 4890028 w 5167630"/>
                  <a:gd name="connsiteY16" fmla="*/ 2040240 h 3408302"/>
                  <a:gd name="connsiteX17" fmla="*/ 2853691 w 5167630"/>
                  <a:gd name="connsiteY17" fmla="*/ 2040240 h 3408302"/>
                  <a:gd name="connsiteX18" fmla="*/ 2853691 w 5167630"/>
                  <a:gd name="connsiteY18" fmla="*/ 2040241 h 3408302"/>
                  <a:gd name="connsiteX19" fmla="*/ 2730366 w 5167630"/>
                  <a:gd name="connsiteY19" fmla="*/ 2040241 h 3408302"/>
                  <a:gd name="connsiteX20" fmla="*/ 2665951 w 5167630"/>
                  <a:gd name="connsiteY20" fmla="*/ 2104656 h 3408302"/>
                  <a:gd name="connsiteX21" fmla="*/ 2730366 w 5167630"/>
                  <a:gd name="connsiteY21" fmla="*/ 2169070 h 3408302"/>
                  <a:gd name="connsiteX22" fmla="*/ 3727927 w 5167630"/>
                  <a:gd name="connsiteY22" fmla="*/ 2169071 h 3408302"/>
                  <a:gd name="connsiteX23" fmla="*/ 3727937 w 5167630"/>
                  <a:gd name="connsiteY23" fmla="*/ 2169069 h 3408302"/>
                  <a:gd name="connsiteX24" fmla="*/ 4528784 w 5167630"/>
                  <a:gd name="connsiteY24" fmla="*/ 2169069 h 3408302"/>
                  <a:gd name="connsiteX25" fmla="*/ 4806386 w 5167630"/>
                  <a:gd name="connsiteY25" fmla="*/ 2446671 h 3408302"/>
                  <a:gd name="connsiteX26" fmla="*/ 4528784 w 5167630"/>
                  <a:gd name="connsiteY26" fmla="*/ 2724273 h 3408302"/>
                  <a:gd name="connsiteX27" fmla="*/ 2853691 w 5167630"/>
                  <a:gd name="connsiteY27" fmla="*/ 2724273 h 3408302"/>
                  <a:gd name="connsiteX28" fmla="*/ 2853691 w 5167630"/>
                  <a:gd name="connsiteY28" fmla="*/ 2724275 h 3408302"/>
                  <a:gd name="connsiteX29" fmla="*/ 2730364 w 5167630"/>
                  <a:gd name="connsiteY29" fmla="*/ 2724275 h 3408302"/>
                  <a:gd name="connsiteX30" fmla="*/ 2665951 w 5167630"/>
                  <a:gd name="connsiteY30" fmla="*/ 2788688 h 3408302"/>
                  <a:gd name="connsiteX31" fmla="*/ 2730364 w 5167630"/>
                  <a:gd name="connsiteY31" fmla="*/ 2853101 h 3408302"/>
                  <a:gd name="connsiteX32" fmla="*/ 3727929 w 5167630"/>
                  <a:gd name="connsiteY32" fmla="*/ 2853101 h 3408302"/>
                  <a:gd name="connsiteX33" fmla="*/ 3727944 w 5167630"/>
                  <a:gd name="connsiteY33" fmla="*/ 2853098 h 3408302"/>
                  <a:gd name="connsiteX34" fmla="*/ 4087037 w 5167630"/>
                  <a:gd name="connsiteY34" fmla="*/ 2853098 h 3408302"/>
                  <a:gd name="connsiteX35" fmla="*/ 4364639 w 5167630"/>
                  <a:gd name="connsiteY35" fmla="*/ 3130700 h 3408302"/>
                  <a:gd name="connsiteX36" fmla="*/ 4087037 w 5167630"/>
                  <a:gd name="connsiteY36" fmla="*/ 3408302 h 3408302"/>
                  <a:gd name="connsiteX37" fmla="*/ 1714025 w 5167630"/>
                  <a:gd name="connsiteY37" fmla="*/ 3408302 h 3408302"/>
                  <a:gd name="connsiteX38" fmla="*/ 983851 w 5167630"/>
                  <a:gd name="connsiteY38" fmla="*/ 3290969 h 3408302"/>
                  <a:gd name="connsiteX39" fmla="*/ 503045 w 5167630"/>
                  <a:gd name="connsiteY39" fmla="*/ 3130700 h 3408302"/>
                  <a:gd name="connsiteX40" fmla="*/ 0 w 5167630"/>
                  <a:gd name="connsiteY40" fmla="*/ 3130700 h 3408302"/>
                  <a:gd name="connsiteX41" fmla="*/ 0 w 5167630"/>
                  <a:gd name="connsiteY41" fmla="*/ 942327 h 3408302"/>
                  <a:gd name="connsiteX42" fmla="*/ 813477 w 5167630"/>
                  <a:gd name="connsiteY42" fmla="*/ 942327 h 3408302"/>
                  <a:gd name="connsiteX43" fmla="*/ 1050903 w 5167630"/>
                  <a:gd name="connsiteY43" fmla="*/ 829267 h 3408302"/>
                  <a:gd name="connsiteX44" fmla="*/ 1220705 w 5167630"/>
                  <a:gd name="connsiteY44" fmla="*/ 627695 h 3408302"/>
                  <a:gd name="connsiteX45" fmla="*/ 2444035 w 5167630"/>
                  <a:gd name="connsiteY45" fmla="*/ 32942 h 3408302"/>
                  <a:gd name="connsiteX46" fmla="*/ 2570015 w 5167630"/>
                  <a:gd name="connsiteY46"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2536191 w 5167630"/>
                  <a:gd name="connsiteY4" fmla="*/ 7943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502924 w 5167630"/>
                  <a:gd name="connsiteY3" fmla="*/ 71845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502924 w 5167630"/>
                  <a:gd name="connsiteY3" fmla="*/ 71845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502924 w 5167630"/>
                  <a:gd name="connsiteY3" fmla="*/ 71845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98515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98515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98515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55652 w 5167630"/>
                  <a:gd name="connsiteY44" fmla="*/ 843554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679552 w 5167630"/>
                  <a:gd name="connsiteY0" fmla="*/ 250 h 3446323"/>
                  <a:gd name="connsiteX1" fmla="*/ 2882046 w 5167630"/>
                  <a:gd name="connsiteY1" fmla="*/ 222399 h 3446323"/>
                  <a:gd name="connsiteX2" fmla="*/ 2717910 w 5167630"/>
                  <a:gd name="connsiteY2" fmla="*/ 603260 h 3446323"/>
                  <a:gd name="connsiteX3" fmla="*/ 2498162 w 5167630"/>
                  <a:gd name="connsiteY3" fmla="*/ 746949 h 3446323"/>
                  <a:gd name="connsiteX4" fmla="*/ 2561591 w 5167630"/>
                  <a:gd name="connsiteY4" fmla="*/ 845046 h 3446323"/>
                  <a:gd name="connsiteX5" fmla="*/ 4528781 w 5167630"/>
                  <a:gd name="connsiteY5" fmla="*/ 839024 h 3446323"/>
                  <a:gd name="connsiteX6" fmla="*/ 4806383 w 5167630"/>
                  <a:gd name="connsiteY6" fmla="*/ 1116626 h 3446323"/>
                  <a:gd name="connsiteX7" fmla="*/ 4528781 w 5167630"/>
                  <a:gd name="connsiteY7" fmla="*/ 1394228 h 3446323"/>
                  <a:gd name="connsiteX8" fmla="*/ 2853691 w 5167630"/>
                  <a:gd name="connsiteY8" fmla="*/ 1394228 h 3446323"/>
                  <a:gd name="connsiteX9" fmla="*/ 2853691 w 5167630"/>
                  <a:gd name="connsiteY9" fmla="*/ 1394230 h 3446323"/>
                  <a:gd name="connsiteX10" fmla="*/ 2730366 w 5167630"/>
                  <a:gd name="connsiteY10" fmla="*/ 1394230 h 3446323"/>
                  <a:gd name="connsiteX11" fmla="*/ 2665951 w 5167630"/>
                  <a:gd name="connsiteY11" fmla="*/ 1458645 h 3446323"/>
                  <a:gd name="connsiteX12" fmla="*/ 2730366 w 5167630"/>
                  <a:gd name="connsiteY12" fmla="*/ 1523060 h 3446323"/>
                  <a:gd name="connsiteX13" fmla="*/ 3727927 w 5167630"/>
                  <a:gd name="connsiteY13" fmla="*/ 1523060 h 3446323"/>
                  <a:gd name="connsiteX14" fmla="*/ 3727942 w 5167630"/>
                  <a:gd name="connsiteY14" fmla="*/ 1523057 h 3446323"/>
                  <a:gd name="connsiteX15" fmla="*/ 4890028 w 5167630"/>
                  <a:gd name="connsiteY15" fmla="*/ 1523057 h 3446323"/>
                  <a:gd name="connsiteX16" fmla="*/ 5167630 w 5167630"/>
                  <a:gd name="connsiteY16" fmla="*/ 1800659 h 3446323"/>
                  <a:gd name="connsiteX17" fmla="*/ 4890028 w 5167630"/>
                  <a:gd name="connsiteY17" fmla="*/ 2078261 h 3446323"/>
                  <a:gd name="connsiteX18" fmla="*/ 2853691 w 5167630"/>
                  <a:gd name="connsiteY18" fmla="*/ 2078261 h 3446323"/>
                  <a:gd name="connsiteX19" fmla="*/ 2853691 w 5167630"/>
                  <a:gd name="connsiteY19" fmla="*/ 2078262 h 3446323"/>
                  <a:gd name="connsiteX20" fmla="*/ 2730366 w 5167630"/>
                  <a:gd name="connsiteY20" fmla="*/ 2078262 h 3446323"/>
                  <a:gd name="connsiteX21" fmla="*/ 2665951 w 5167630"/>
                  <a:gd name="connsiteY21" fmla="*/ 2142677 h 3446323"/>
                  <a:gd name="connsiteX22" fmla="*/ 2730366 w 5167630"/>
                  <a:gd name="connsiteY22" fmla="*/ 2207091 h 3446323"/>
                  <a:gd name="connsiteX23" fmla="*/ 3727927 w 5167630"/>
                  <a:gd name="connsiteY23" fmla="*/ 2207092 h 3446323"/>
                  <a:gd name="connsiteX24" fmla="*/ 3727937 w 5167630"/>
                  <a:gd name="connsiteY24" fmla="*/ 2207090 h 3446323"/>
                  <a:gd name="connsiteX25" fmla="*/ 4528784 w 5167630"/>
                  <a:gd name="connsiteY25" fmla="*/ 2207090 h 3446323"/>
                  <a:gd name="connsiteX26" fmla="*/ 4806386 w 5167630"/>
                  <a:gd name="connsiteY26" fmla="*/ 2484692 h 3446323"/>
                  <a:gd name="connsiteX27" fmla="*/ 4528784 w 5167630"/>
                  <a:gd name="connsiteY27" fmla="*/ 2762294 h 3446323"/>
                  <a:gd name="connsiteX28" fmla="*/ 2853691 w 5167630"/>
                  <a:gd name="connsiteY28" fmla="*/ 2762294 h 3446323"/>
                  <a:gd name="connsiteX29" fmla="*/ 2853691 w 5167630"/>
                  <a:gd name="connsiteY29" fmla="*/ 2762296 h 3446323"/>
                  <a:gd name="connsiteX30" fmla="*/ 2730364 w 5167630"/>
                  <a:gd name="connsiteY30" fmla="*/ 2762296 h 3446323"/>
                  <a:gd name="connsiteX31" fmla="*/ 2665951 w 5167630"/>
                  <a:gd name="connsiteY31" fmla="*/ 2826709 h 3446323"/>
                  <a:gd name="connsiteX32" fmla="*/ 2730364 w 5167630"/>
                  <a:gd name="connsiteY32" fmla="*/ 2891122 h 3446323"/>
                  <a:gd name="connsiteX33" fmla="*/ 3727929 w 5167630"/>
                  <a:gd name="connsiteY33" fmla="*/ 2891122 h 3446323"/>
                  <a:gd name="connsiteX34" fmla="*/ 3727944 w 5167630"/>
                  <a:gd name="connsiteY34" fmla="*/ 2891119 h 3446323"/>
                  <a:gd name="connsiteX35" fmla="*/ 4087037 w 5167630"/>
                  <a:gd name="connsiteY35" fmla="*/ 2891119 h 3446323"/>
                  <a:gd name="connsiteX36" fmla="*/ 4364639 w 5167630"/>
                  <a:gd name="connsiteY36" fmla="*/ 3168721 h 3446323"/>
                  <a:gd name="connsiteX37" fmla="*/ 4087037 w 5167630"/>
                  <a:gd name="connsiteY37" fmla="*/ 3446323 h 3446323"/>
                  <a:gd name="connsiteX38" fmla="*/ 1714025 w 5167630"/>
                  <a:gd name="connsiteY38" fmla="*/ 3446323 h 3446323"/>
                  <a:gd name="connsiteX39" fmla="*/ 983851 w 5167630"/>
                  <a:gd name="connsiteY39" fmla="*/ 3328990 h 3446323"/>
                  <a:gd name="connsiteX40" fmla="*/ 503045 w 5167630"/>
                  <a:gd name="connsiteY40" fmla="*/ 3168721 h 3446323"/>
                  <a:gd name="connsiteX41" fmla="*/ 0 w 5167630"/>
                  <a:gd name="connsiteY41" fmla="*/ 3168721 h 3446323"/>
                  <a:gd name="connsiteX42" fmla="*/ 0 w 5167630"/>
                  <a:gd name="connsiteY42" fmla="*/ 980348 h 3446323"/>
                  <a:gd name="connsiteX43" fmla="*/ 665839 w 5167630"/>
                  <a:gd name="connsiteY43" fmla="*/ 980348 h 3446323"/>
                  <a:gd name="connsiteX44" fmla="*/ 955652 w 5167630"/>
                  <a:gd name="connsiteY44" fmla="*/ 881575 h 3446323"/>
                  <a:gd name="connsiteX45" fmla="*/ 1220705 w 5167630"/>
                  <a:gd name="connsiteY45" fmla="*/ 665716 h 3446323"/>
                  <a:gd name="connsiteX46" fmla="*/ 2444035 w 5167630"/>
                  <a:gd name="connsiteY46" fmla="*/ 70963 h 3446323"/>
                  <a:gd name="connsiteX47" fmla="*/ 2679552 w 5167630"/>
                  <a:gd name="connsiteY47" fmla="*/ 250 h 3446323"/>
                  <a:gd name="connsiteX0" fmla="*/ 2679552 w 5167630"/>
                  <a:gd name="connsiteY0" fmla="*/ 462 h 3446535"/>
                  <a:gd name="connsiteX1" fmla="*/ 3029684 w 5167630"/>
                  <a:gd name="connsiteY1" fmla="*/ 160699 h 3446535"/>
                  <a:gd name="connsiteX2" fmla="*/ 2717910 w 5167630"/>
                  <a:gd name="connsiteY2" fmla="*/ 603472 h 3446535"/>
                  <a:gd name="connsiteX3" fmla="*/ 2498162 w 5167630"/>
                  <a:gd name="connsiteY3" fmla="*/ 747161 h 3446535"/>
                  <a:gd name="connsiteX4" fmla="*/ 2561591 w 5167630"/>
                  <a:gd name="connsiteY4" fmla="*/ 845258 h 3446535"/>
                  <a:gd name="connsiteX5" fmla="*/ 4528781 w 5167630"/>
                  <a:gd name="connsiteY5" fmla="*/ 839236 h 3446535"/>
                  <a:gd name="connsiteX6" fmla="*/ 4806383 w 5167630"/>
                  <a:gd name="connsiteY6" fmla="*/ 1116838 h 3446535"/>
                  <a:gd name="connsiteX7" fmla="*/ 4528781 w 5167630"/>
                  <a:gd name="connsiteY7" fmla="*/ 1394440 h 3446535"/>
                  <a:gd name="connsiteX8" fmla="*/ 2853691 w 5167630"/>
                  <a:gd name="connsiteY8" fmla="*/ 1394440 h 3446535"/>
                  <a:gd name="connsiteX9" fmla="*/ 2853691 w 5167630"/>
                  <a:gd name="connsiteY9" fmla="*/ 1394442 h 3446535"/>
                  <a:gd name="connsiteX10" fmla="*/ 2730366 w 5167630"/>
                  <a:gd name="connsiteY10" fmla="*/ 1394442 h 3446535"/>
                  <a:gd name="connsiteX11" fmla="*/ 2665951 w 5167630"/>
                  <a:gd name="connsiteY11" fmla="*/ 1458857 h 3446535"/>
                  <a:gd name="connsiteX12" fmla="*/ 2730366 w 5167630"/>
                  <a:gd name="connsiteY12" fmla="*/ 1523272 h 3446535"/>
                  <a:gd name="connsiteX13" fmla="*/ 3727927 w 5167630"/>
                  <a:gd name="connsiteY13" fmla="*/ 1523272 h 3446535"/>
                  <a:gd name="connsiteX14" fmla="*/ 3727942 w 5167630"/>
                  <a:gd name="connsiteY14" fmla="*/ 1523269 h 3446535"/>
                  <a:gd name="connsiteX15" fmla="*/ 4890028 w 5167630"/>
                  <a:gd name="connsiteY15" fmla="*/ 1523269 h 3446535"/>
                  <a:gd name="connsiteX16" fmla="*/ 5167630 w 5167630"/>
                  <a:gd name="connsiteY16" fmla="*/ 1800871 h 3446535"/>
                  <a:gd name="connsiteX17" fmla="*/ 4890028 w 5167630"/>
                  <a:gd name="connsiteY17" fmla="*/ 2078473 h 3446535"/>
                  <a:gd name="connsiteX18" fmla="*/ 2853691 w 5167630"/>
                  <a:gd name="connsiteY18" fmla="*/ 2078473 h 3446535"/>
                  <a:gd name="connsiteX19" fmla="*/ 2853691 w 5167630"/>
                  <a:gd name="connsiteY19" fmla="*/ 2078474 h 3446535"/>
                  <a:gd name="connsiteX20" fmla="*/ 2730366 w 5167630"/>
                  <a:gd name="connsiteY20" fmla="*/ 2078474 h 3446535"/>
                  <a:gd name="connsiteX21" fmla="*/ 2665951 w 5167630"/>
                  <a:gd name="connsiteY21" fmla="*/ 2142889 h 3446535"/>
                  <a:gd name="connsiteX22" fmla="*/ 2730366 w 5167630"/>
                  <a:gd name="connsiteY22" fmla="*/ 2207303 h 3446535"/>
                  <a:gd name="connsiteX23" fmla="*/ 3727927 w 5167630"/>
                  <a:gd name="connsiteY23" fmla="*/ 2207304 h 3446535"/>
                  <a:gd name="connsiteX24" fmla="*/ 3727937 w 5167630"/>
                  <a:gd name="connsiteY24" fmla="*/ 2207302 h 3446535"/>
                  <a:gd name="connsiteX25" fmla="*/ 4528784 w 5167630"/>
                  <a:gd name="connsiteY25" fmla="*/ 2207302 h 3446535"/>
                  <a:gd name="connsiteX26" fmla="*/ 4806386 w 5167630"/>
                  <a:gd name="connsiteY26" fmla="*/ 2484904 h 3446535"/>
                  <a:gd name="connsiteX27" fmla="*/ 4528784 w 5167630"/>
                  <a:gd name="connsiteY27" fmla="*/ 2762506 h 3446535"/>
                  <a:gd name="connsiteX28" fmla="*/ 2853691 w 5167630"/>
                  <a:gd name="connsiteY28" fmla="*/ 2762506 h 3446535"/>
                  <a:gd name="connsiteX29" fmla="*/ 2853691 w 5167630"/>
                  <a:gd name="connsiteY29" fmla="*/ 2762508 h 3446535"/>
                  <a:gd name="connsiteX30" fmla="*/ 2730364 w 5167630"/>
                  <a:gd name="connsiteY30" fmla="*/ 2762508 h 3446535"/>
                  <a:gd name="connsiteX31" fmla="*/ 2665951 w 5167630"/>
                  <a:gd name="connsiteY31" fmla="*/ 2826921 h 3446535"/>
                  <a:gd name="connsiteX32" fmla="*/ 2730364 w 5167630"/>
                  <a:gd name="connsiteY32" fmla="*/ 2891334 h 3446535"/>
                  <a:gd name="connsiteX33" fmla="*/ 3727929 w 5167630"/>
                  <a:gd name="connsiteY33" fmla="*/ 2891334 h 3446535"/>
                  <a:gd name="connsiteX34" fmla="*/ 3727944 w 5167630"/>
                  <a:gd name="connsiteY34" fmla="*/ 2891331 h 3446535"/>
                  <a:gd name="connsiteX35" fmla="*/ 4087037 w 5167630"/>
                  <a:gd name="connsiteY35" fmla="*/ 2891331 h 3446535"/>
                  <a:gd name="connsiteX36" fmla="*/ 4364639 w 5167630"/>
                  <a:gd name="connsiteY36" fmla="*/ 3168933 h 3446535"/>
                  <a:gd name="connsiteX37" fmla="*/ 4087037 w 5167630"/>
                  <a:gd name="connsiteY37" fmla="*/ 3446535 h 3446535"/>
                  <a:gd name="connsiteX38" fmla="*/ 1714025 w 5167630"/>
                  <a:gd name="connsiteY38" fmla="*/ 3446535 h 3446535"/>
                  <a:gd name="connsiteX39" fmla="*/ 983851 w 5167630"/>
                  <a:gd name="connsiteY39" fmla="*/ 3329202 h 3446535"/>
                  <a:gd name="connsiteX40" fmla="*/ 503045 w 5167630"/>
                  <a:gd name="connsiteY40" fmla="*/ 3168933 h 3446535"/>
                  <a:gd name="connsiteX41" fmla="*/ 0 w 5167630"/>
                  <a:gd name="connsiteY41" fmla="*/ 3168933 h 3446535"/>
                  <a:gd name="connsiteX42" fmla="*/ 0 w 5167630"/>
                  <a:gd name="connsiteY42" fmla="*/ 980560 h 3446535"/>
                  <a:gd name="connsiteX43" fmla="*/ 665839 w 5167630"/>
                  <a:gd name="connsiteY43" fmla="*/ 980560 h 3446535"/>
                  <a:gd name="connsiteX44" fmla="*/ 955652 w 5167630"/>
                  <a:gd name="connsiteY44" fmla="*/ 881787 h 3446535"/>
                  <a:gd name="connsiteX45" fmla="*/ 1220705 w 5167630"/>
                  <a:gd name="connsiteY45" fmla="*/ 665928 h 3446535"/>
                  <a:gd name="connsiteX46" fmla="*/ 2444035 w 5167630"/>
                  <a:gd name="connsiteY46" fmla="*/ 71175 h 3446535"/>
                  <a:gd name="connsiteX47" fmla="*/ 2679552 w 5167630"/>
                  <a:gd name="connsiteY47" fmla="*/ 462 h 3446535"/>
                  <a:gd name="connsiteX0" fmla="*/ 2760515 w 5167630"/>
                  <a:gd name="connsiteY0" fmla="*/ 349 h 3474997"/>
                  <a:gd name="connsiteX1" fmla="*/ 3029684 w 5167630"/>
                  <a:gd name="connsiteY1" fmla="*/ 189161 h 3474997"/>
                  <a:gd name="connsiteX2" fmla="*/ 2717910 w 5167630"/>
                  <a:gd name="connsiteY2" fmla="*/ 631934 h 3474997"/>
                  <a:gd name="connsiteX3" fmla="*/ 2498162 w 5167630"/>
                  <a:gd name="connsiteY3" fmla="*/ 775623 h 3474997"/>
                  <a:gd name="connsiteX4" fmla="*/ 2561591 w 5167630"/>
                  <a:gd name="connsiteY4" fmla="*/ 873720 h 3474997"/>
                  <a:gd name="connsiteX5" fmla="*/ 4528781 w 5167630"/>
                  <a:gd name="connsiteY5" fmla="*/ 867698 h 3474997"/>
                  <a:gd name="connsiteX6" fmla="*/ 4806383 w 5167630"/>
                  <a:gd name="connsiteY6" fmla="*/ 1145300 h 3474997"/>
                  <a:gd name="connsiteX7" fmla="*/ 4528781 w 5167630"/>
                  <a:gd name="connsiteY7" fmla="*/ 1422902 h 3474997"/>
                  <a:gd name="connsiteX8" fmla="*/ 2853691 w 5167630"/>
                  <a:gd name="connsiteY8" fmla="*/ 1422902 h 3474997"/>
                  <a:gd name="connsiteX9" fmla="*/ 2853691 w 5167630"/>
                  <a:gd name="connsiteY9" fmla="*/ 1422904 h 3474997"/>
                  <a:gd name="connsiteX10" fmla="*/ 2730366 w 5167630"/>
                  <a:gd name="connsiteY10" fmla="*/ 1422904 h 3474997"/>
                  <a:gd name="connsiteX11" fmla="*/ 2665951 w 5167630"/>
                  <a:gd name="connsiteY11" fmla="*/ 1487319 h 3474997"/>
                  <a:gd name="connsiteX12" fmla="*/ 2730366 w 5167630"/>
                  <a:gd name="connsiteY12" fmla="*/ 1551734 h 3474997"/>
                  <a:gd name="connsiteX13" fmla="*/ 3727927 w 5167630"/>
                  <a:gd name="connsiteY13" fmla="*/ 1551734 h 3474997"/>
                  <a:gd name="connsiteX14" fmla="*/ 3727942 w 5167630"/>
                  <a:gd name="connsiteY14" fmla="*/ 1551731 h 3474997"/>
                  <a:gd name="connsiteX15" fmla="*/ 4890028 w 5167630"/>
                  <a:gd name="connsiteY15" fmla="*/ 1551731 h 3474997"/>
                  <a:gd name="connsiteX16" fmla="*/ 5167630 w 5167630"/>
                  <a:gd name="connsiteY16" fmla="*/ 1829333 h 3474997"/>
                  <a:gd name="connsiteX17" fmla="*/ 4890028 w 5167630"/>
                  <a:gd name="connsiteY17" fmla="*/ 2106935 h 3474997"/>
                  <a:gd name="connsiteX18" fmla="*/ 2853691 w 5167630"/>
                  <a:gd name="connsiteY18" fmla="*/ 2106935 h 3474997"/>
                  <a:gd name="connsiteX19" fmla="*/ 2853691 w 5167630"/>
                  <a:gd name="connsiteY19" fmla="*/ 2106936 h 3474997"/>
                  <a:gd name="connsiteX20" fmla="*/ 2730366 w 5167630"/>
                  <a:gd name="connsiteY20" fmla="*/ 2106936 h 3474997"/>
                  <a:gd name="connsiteX21" fmla="*/ 2665951 w 5167630"/>
                  <a:gd name="connsiteY21" fmla="*/ 2171351 h 3474997"/>
                  <a:gd name="connsiteX22" fmla="*/ 2730366 w 5167630"/>
                  <a:gd name="connsiteY22" fmla="*/ 2235765 h 3474997"/>
                  <a:gd name="connsiteX23" fmla="*/ 3727927 w 5167630"/>
                  <a:gd name="connsiteY23" fmla="*/ 2235766 h 3474997"/>
                  <a:gd name="connsiteX24" fmla="*/ 3727937 w 5167630"/>
                  <a:gd name="connsiteY24" fmla="*/ 2235764 h 3474997"/>
                  <a:gd name="connsiteX25" fmla="*/ 4528784 w 5167630"/>
                  <a:gd name="connsiteY25" fmla="*/ 2235764 h 3474997"/>
                  <a:gd name="connsiteX26" fmla="*/ 4806386 w 5167630"/>
                  <a:gd name="connsiteY26" fmla="*/ 2513366 h 3474997"/>
                  <a:gd name="connsiteX27" fmla="*/ 4528784 w 5167630"/>
                  <a:gd name="connsiteY27" fmla="*/ 2790968 h 3474997"/>
                  <a:gd name="connsiteX28" fmla="*/ 2853691 w 5167630"/>
                  <a:gd name="connsiteY28" fmla="*/ 2790968 h 3474997"/>
                  <a:gd name="connsiteX29" fmla="*/ 2853691 w 5167630"/>
                  <a:gd name="connsiteY29" fmla="*/ 2790970 h 3474997"/>
                  <a:gd name="connsiteX30" fmla="*/ 2730364 w 5167630"/>
                  <a:gd name="connsiteY30" fmla="*/ 2790970 h 3474997"/>
                  <a:gd name="connsiteX31" fmla="*/ 2665951 w 5167630"/>
                  <a:gd name="connsiteY31" fmla="*/ 2855383 h 3474997"/>
                  <a:gd name="connsiteX32" fmla="*/ 2730364 w 5167630"/>
                  <a:gd name="connsiteY32" fmla="*/ 2919796 h 3474997"/>
                  <a:gd name="connsiteX33" fmla="*/ 3727929 w 5167630"/>
                  <a:gd name="connsiteY33" fmla="*/ 2919796 h 3474997"/>
                  <a:gd name="connsiteX34" fmla="*/ 3727944 w 5167630"/>
                  <a:gd name="connsiteY34" fmla="*/ 2919793 h 3474997"/>
                  <a:gd name="connsiteX35" fmla="*/ 4087037 w 5167630"/>
                  <a:gd name="connsiteY35" fmla="*/ 2919793 h 3474997"/>
                  <a:gd name="connsiteX36" fmla="*/ 4364639 w 5167630"/>
                  <a:gd name="connsiteY36" fmla="*/ 3197395 h 3474997"/>
                  <a:gd name="connsiteX37" fmla="*/ 4087037 w 5167630"/>
                  <a:gd name="connsiteY37" fmla="*/ 3474997 h 3474997"/>
                  <a:gd name="connsiteX38" fmla="*/ 1714025 w 5167630"/>
                  <a:gd name="connsiteY38" fmla="*/ 3474997 h 3474997"/>
                  <a:gd name="connsiteX39" fmla="*/ 983851 w 5167630"/>
                  <a:gd name="connsiteY39" fmla="*/ 3357664 h 3474997"/>
                  <a:gd name="connsiteX40" fmla="*/ 503045 w 5167630"/>
                  <a:gd name="connsiteY40" fmla="*/ 3197395 h 3474997"/>
                  <a:gd name="connsiteX41" fmla="*/ 0 w 5167630"/>
                  <a:gd name="connsiteY41" fmla="*/ 3197395 h 3474997"/>
                  <a:gd name="connsiteX42" fmla="*/ 0 w 5167630"/>
                  <a:gd name="connsiteY42" fmla="*/ 1009022 h 3474997"/>
                  <a:gd name="connsiteX43" fmla="*/ 665839 w 5167630"/>
                  <a:gd name="connsiteY43" fmla="*/ 1009022 h 3474997"/>
                  <a:gd name="connsiteX44" fmla="*/ 955652 w 5167630"/>
                  <a:gd name="connsiteY44" fmla="*/ 910249 h 3474997"/>
                  <a:gd name="connsiteX45" fmla="*/ 1220705 w 5167630"/>
                  <a:gd name="connsiteY45" fmla="*/ 694390 h 3474997"/>
                  <a:gd name="connsiteX46" fmla="*/ 2444035 w 5167630"/>
                  <a:gd name="connsiteY46" fmla="*/ 99637 h 3474997"/>
                  <a:gd name="connsiteX47" fmla="*/ 2760515 w 5167630"/>
                  <a:gd name="connsiteY47" fmla="*/ 349 h 3474997"/>
                  <a:gd name="connsiteX0" fmla="*/ 2760515 w 5167630"/>
                  <a:gd name="connsiteY0" fmla="*/ 349 h 3474997"/>
                  <a:gd name="connsiteX1" fmla="*/ 3029684 w 5167630"/>
                  <a:gd name="connsiteY1" fmla="*/ 189161 h 3474997"/>
                  <a:gd name="connsiteX2" fmla="*/ 2717910 w 5167630"/>
                  <a:gd name="connsiteY2" fmla="*/ 631934 h 3474997"/>
                  <a:gd name="connsiteX3" fmla="*/ 2498162 w 5167630"/>
                  <a:gd name="connsiteY3" fmla="*/ 775623 h 3474997"/>
                  <a:gd name="connsiteX4" fmla="*/ 2561591 w 5167630"/>
                  <a:gd name="connsiteY4" fmla="*/ 873720 h 3474997"/>
                  <a:gd name="connsiteX5" fmla="*/ 4528781 w 5167630"/>
                  <a:gd name="connsiteY5" fmla="*/ 867698 h 3474997"/>
                  <a:gd name="connsiteX6" fmla="*/ 4806383 w 5167630"/>
                  <a:gd name="connsiteY6" fmla="*/ 1145300 h 3474997"/>
                  <a:gd name="connsiteX7" fmla="*/ 4528781 w 5167630"/>
                  <a:gd name="connsiteY7" fmla="*/ 1422902 h 3474997"/>
                  <a:gd name="connsiteX8" fmla="*/ 2853691 w 5167630"/>
                  <a:gd name="connsiteY8" fmla="*/ 1422902 h 3474997"/>
                  <a:gd name="connsiteX9" fmla="*/ 2853691 w 5167630"/>
                  <a:gd name="connsiteY9" fmla="*/ 1422904 h 3474997"/>
                  <a:gd name="connsiteX10" fmla="*/ 2730366 w 5167630"/>
                  <a:gd name="connsiteY10" fmla="*/ 1422904 h 3474997"/>
                  <a:gd name="connsiteX11" fmla="*/ 2665951 w 5167630"/>
                  <a:gd name="connsiteY11" fmla="*/ 1487319 h 3474997"/>
                  <a:gd name="connsiteX12" fmla="*/ 2730366 w 5167630"/>
                  <a:gd name="connsiteY12" fmla="*/ 1551734 h 3474997"/>
                  <a:gd name="connsiteX13" fmla="*/ 3727927 w 5167630"/>
                  <a:gd name="connsiteY13" fmla="*/ 1551734 h 3474997"/>
                  <a:gd name="connsiteX14" fmla="*/ 3727942 w 5167630"/>
                  <a:gd name="connsiteY14" fmla="*/ 1551731 h 3474997"/>
                  <a:gd name="connsiteX15" fmla="*/ 4890028 w 5167630"/>
                  <a:gd name="connsiteY15" fmla="*/ 1551731 h 3474997"/>
                  <a:gd name="connsiteX16" fmla="*/ 5167630 w 5167630"/>
                  <a:gd name="connsiteY16" fmla="*/ 1829333 h 3474997"/>
                  <a:gd name="connsiteX17" fmla="*/ 4890028 w 5167630"/>
                  <a:gd name="connsiteY17" fmla="*/ 2106935 h 3474997"/>
                  <a:gd name="connsiteX18" fmla="*/ 2853691 w 5167630"/>
                  <a:gd name="connsiteY18" fmla="*/ 2106935 h 3474997"/>
                  <a:gd name="connsiteX19" fmla="*/ 2853691 w 5167630"/>
                  <a:gd name="connsiteY19" fmla="*/ 2106936 h 3474997"/>
                  <a:gd name="connsiteX20" fmla="*/ 2730366 w 5167630"/>
                  <a:gd name="connsiteY20" fmla="*/ 2106936 h 3474997"/>
                  <a:gd name="connsiteX21" fmla="*/ 2665951 w 5167630"/>
                  <a:gd name="connsiteY21" fmla="*/ 2171351 h 3474997"/>
                  <a:gd name="connsiteX22" fmla="*/ 2730366 w 5167630"/>
                  <a:gd name="connsiteY22" fmla="*/ 2235765 h 3474997"/>
                  <a:gd name="connsiteX23" fmla="*/ 3727927 w 5167630"/>
                  <a:gd name="connsiteY23" fmla="*/ 2235766 h 3474997"/>
                  <a:gd name="connsiteX24" fmla="*/ 3727937 w 5167630"/>
                  <a:gd name="connsiteY24" fmla="*/ 2235764 h 3474997"/>
                  <a:gd name="connsiteX25" fmla="*/ 4528784 w 5167630"/>
                  <a:gd name="connsiteY25" fmla="*/ 2235764 h 3474997"/>
                  <a:gd name="connsiteX26" fmla="*/ 4806386 w 5167630"/>
                  <a:gd name="connsiteY26" fmla="*/ 2513366 h 3474997"/>
                  <a:gd name="connsiteX27" fmla="*/ 4528784 w 5167630"/>
                  <a:gd name="connsiteY27" fmla="*/ 2790968 h 3474997"/>
                  <a:gd name="connsiteX28" fmla="*/ 2853691 w 5167630"/>
                  <a:gd name="connsiteY28" fmla="*/ 2790968 h 3474997"/>
                  <a:gd name="connsiteX29" fmla="*/ 2853691 w 5167630"/>
                  <a:gd name="connsiteY29" fmla="*/ 2790970 h 3474997"/>
                  <a:gd name="connsiteX30" fmla="*/ 2730364 w 5167630"/>
                  <a:gd name="connsiteY30" fmla="*/ 2790970 h 3474997"/>
                  <a:gd name="connsiteX31" fmla="*/ 2665951 w 5167630"/>
                  <a:gd name="connsiteY31" fmla="*/ 2855383 h 3474997"/>
                  <a:gd name="connsiteX32" fmla="*/ 2730364 w 5167630"/>
                  <a:gd name="connsiteY32" fmla="*/ 2919796 h 3474997"/>
                  <a:gd name="connsiteX33" fmla="*/ 3727929 w 5167630"/>
                  <a:gd name="connsiteY33" fmla="*/ 2919796 h 3474997"/>
                  <a:gd name="connsiteX34" fmla="*/ 3727944 w 5167630"/>
                  <a:gd name="connsiteY34" fmla="*/ 2919793 h 3474997"/>
                  <a:gd name="connsiteX35" fmla="*/ 4087037 w 5167630"/>
                  <a:gd name="connsiteY35" fmla="*/ 2919793 h 3474997"/>
                  <a:gd name="connsiteX36" fmla="*/ 4364639 w 5167630"/>
                  <a:gd name="connsiteY36" fmla="*/ 3197395 h 3474997"/>
                  <a:gd name="connsiteX37" fmla="*/ 4087037 w 5167630"/>
                  <a:gd name="connsiteY37" fmla="*/ 3474997 h 3474997"/>
                  <a:gd name="connsiteX38" fmla="*/ 1714025 w 5167630"/>
                  <a:gd name="connsiteY38" fmla="*/ 3474997 h 3474997"/>
                  <a:gd name="connsiteX39" fmla="*/ 983851 w 5167630"/>
                  <a:gd name="connsiteY39" fmla="*/ 3357664 h 3474997"/>
                  <a:gd name="connsiteX40" fmla="*/ 503045 w 5167630"/>
                  <a:gd name="connsiteY40" fmla="*/ 3197395 h 3474997"/>
                  <a:gd name="connsiteX41" fmla="*/ 0 w 5167630"/>
                  <a:gd name="connsiteY41" fmla="*/ 3197395 h 3474997"/>
                  <a:gd name="connsiteX42" fmla="*/ 0 w 5167630"/>
                  <a:gd name="connsiteY42" fmla="*/ 1009022 h 3474997"/>
                  <a:gd name="connsiteX43" fmla="*/ 665839 w 5167630"/>
                  <a:gd name="connsiteY43" fmla="*/ 1009022 h 3474997"/>
                  <a:gd name="connsiteX44" fmla="*/ 955652 w 5167630"/>
                  <a:gd name="connsiteY44" fmla="*/ 910249 h 3474997"/>
                  <a:gd name="connsiteX45" fmla="*/ 1220705 w 5167630"/>
                  <a:gd name="connsiteY45" fmla="*/ 694390 h 3474997"/>
                  <a:gd name="connsiteX46" fmla="*/ 2444035 w 5167630"/>
                  <a:gd name="connsiteY46" fmla="*/ 99637 h 3474997"/>
                  <a:gd name="connsiteX47" fmla="*/ 2760515 w 5167630"/>
                  <a:gd name="connsiteY47" fmla="*/ 349 h 3474997"/>
                  <a:gd name="connsiteX0" fmla="*/ 2760515 w 5167630"/>
                  <a:gd name="connsiteY0" fmla="*/ 324 h 3474972"/>
                  <a:gd name="connsiteX1" fmla="*/ 3029684 w 5167630"/>
                  <a:gd name="connsiteY1" fmla="*/ 189136 h 3474972"/>
                  <a:gd name="connsiteX2" fmla="*/ 2798873 w 5167630"/>
                  <a:gd name="connsiteY2" fmla="*/ 584284 h 3474972"/>
                  <a:gd name="connsiteX3" fmla="*/ 2498162 w 5167630"/>
                  <a:gd name="connsiteY3" fmla="*/ 775598 h 3474972"/>
                  <a:gd name="connsiteX4" fmla="*/ 2561591 w 5167630"/>
                  <a:gd name="connsiteY4" fmla="*/ 873695 h 3474972"/>
                  <a:gd name="connsiteX5" fmla="*/ 4528781 w 5167630"/>
                  <a:gd name="connsiteY5" fmla="*/ 867673 h 3474972"/>
                  <a:gd name="connsiteX6" fmla="*/ 4806383 w 5167630"/>
                  <a:gd name="connsiteY6" fmla="*/ 1145275 h 3474972"/>
                  <a:gd name="connsiteX7" fmla="*/ 4528781 w 5167630"/>
                  <a:gd name="connsiteY7" fmla="*/ 1422877 h 3474972"/>
                  <a:gd name="connsiteX8" fmla="*/ 2853691 w 5167630"/>
                  <a:gd name="connsiteY8" fmla="*/ 1422877 h 3474972"/>
                  <a:gd name="connsiteX9" fmla="*/ 2853691 w 5167630"/>
                  <a:gd name="connsiteY9" fmla="*/ 1422879 h 3474972"/>
                  <a:gd name="connsiteX10" fmla="*/ 2730366 w 5167630"/>
                  <a:gd name="connsiteY10" fmla="*/ 1422879 h 3474972"/>
                  <a:gd name="connsiteX11" fmla="*/ 2665951 w 5167630"/>
                  <a:gd name="connsiteY11" fmla="*/ 1487294 h 3474972"/>
                  <a:gd name="connsiteX12" fmla="*/ 2730366 w 5167630"/>
                  <a:gd name="connsiteY12" fmla="*/ 1551709 h 3474972"/>
                  <a:gd name="connsiteX13" fmla="*/ 3727927 w 5167630"/>
                  <a:gd name="connsiteY13" fmla="*/ 1551709 h 3474972"/>
                  <a:gd name="connsiteX14" fmla="*/ 3727942 w 5167630"/>
                  <a:gd name="connsiteY14" fmla="*/ 1551706 h 3474972"/>
                  <a:gd name="connsiteX15" fmla="*/ 4890028 w 5167630"/>
                  <a:gd name="connsiteY15" fmla="*/ 1551706 h 3474972"/>
                  <a:gd name="connsiteX16" fmla="*/ 5167630 w 5167630"/>
                  <a:gd name="connsiteY16" fmla="*/ 1829308 h 3474972"/>
                  <a:gd name="connsiteX17" fmla="*/ 4890028 w 5167630"/>
                  <a:gd name="connsiteY17" fmla="*/ 2106910 h 3474972"/>
                  <a:gd name="connsiteX18" fmla="*/ 2853691 w 5167630"/>
                  <a:gd name="connsiteY18" fmla="*/ 2106910 h 3474972"/>
                  <a:gd name="connsiteX19" fmla="*/ 2853691 w 5167630"/>
                  <a:gd name="connsiteY19" fmla="*/ 2106911 h 3474972"/>
                  <a:gd name="connsiteX20" fmla="*/ 2730366 w 5167630"/>
                  <a:gd name="connsiteY20" fmla="*/ 2106911 h 3474972"/>
                  <a:gd name="connsiteX21" fmla="*/ 2665951 w 5167630"/>
                  <a:gd name="connsiteY21" fmla="*/ 2171326 h 3474972"/>
                  <a:gd name="connsiteX22" fmla="*/ 2730366 w 5167630"/>
                  <a:gd name="connsiteY22" fmla="*/ 2235740 h 3474972"/>
                  <a:gd name="connsiteX23" fmla="*/ 3727927 w 5167630"/>
                  <a:gd name="connsiteY23" fmla="*/ 2235741 h 3474972"/>
                  <a:gd name="connsiteX24" fmla="*/ 3727937 w 5167630"/>
                  <a:gd name="connsiteY24" fmla="*/ 2235739 h 3474972"/>
                  <a:gd name="connsiteX25" fmla="*/ 4528784 w 5167630"/>
                  <a:gd name="connsiteY25" fmla="*/ 2235739 h 3474972"/>
                  <a:gd name="connsiteX26" fmla="*/ 4806386 w 5167630"/>
                  <a:gd name="connsiteY26" fmla="*/ 2513341 h 3474972"/>
                  <a:gd name="connsiteX27" fmla="*/ 4528784 w 5167630"/>
                  <a:gd name="connsiteY27" fmla="*/ 2790943 h 3474972"/>
                  <a:gd name="connsiteX28" fmla="*/ 2853691 w 5167630"/>
                  <a:gd name="connsiteY28" fmla="*/ 2790943 h 3474972"/>
                  <a:gd name="connsiteX29" fmla="*/ 2853691 w 5167630"/>
                  <a:gd name="connsiteY29" fmla="*/ 2790945 h 3474972"/>
                  <a:gd name="connsiteX30" fmla="*/ 2730364 w 5167630"/>
                  <a:gd name="connsiteY30" fmla="*/ 2790945 h 3474972"/>
                  <a:gd name="connsiteX31" fmla="*/ 2665951 w 5167630"/>
                  <a:gd name="connsiteY31" fmla="*/ 2855358 h 3474972"/>
                  <a:gd name="connsiteX32" fmla="*/ 2730364 w 5167630"/>
                  <a:gd name="connsiteY32" fmla="*/ 2919771 h 3474972"/>
                  <a:gd name="connsiteX33" fmla="*/ 3727929 w 5167630"/>
                  <a:gd name="connsiteY33" fmla="*/ 2919771 h 3474972"/>
                  <a:gd name="connsiteX34" fmla="*/ 3727944 w 5167630"/>
                  <a:gd name="connsiteY34" fmla="*/ 2919768 h 3474972"/>
                  <a:gd name="connsiteX35" fmla="*/ 4087037 w 5167630"/>
                  <a:gd name="connsiteY35" fmla="*/ 2919768 h 3474972"/>
                  <a:gd name="connsiteX36" fmla="*/ 4364639 w 5167630"/>
                  <a:gd name="connsiteY36" fmla="*/ 3197370 h 3474972"/>
                  <a:gd name="connsiteX37" fmla="*/ 4087037 w 5167630"/>
                  <a:gd name="connsiteY37" fmla="*/ 3474972 h 3474972"/>
                  <a:gd name="connsiteX38" fmla="*/ 1714025 w 5167630"/>
                  <a:gd name="connsiteY38" fmla="*/ 3474972 h 3474972"/>
                  <a:gd name="connsiteX39" fmla="*/ 983851 w 5167630"/>
                  <a:gd name="connsiteY39" fmla="*/ 3357639 h 3474972"/>
                  <a:gd name="connsiteX40" fmla="*/ 503045 w 5167630"/>
                  <a:gd name="connsiteY40" fmla="*/ 3197370 h 3474972"/>
                  <a:gd name="connsiteX41" fmla="*/ 0 w 5167630"/>
                  <a:gd name="connsiteY41" fmla="*/ 3197370 h 3474972"/>
                  <a:gd name="connsiteX42" fmla="*/ 0 w 5167630"/>
                  <a:gd name="connsiteY42" fmla="*/ 1008997 h 3474972"/>
                  <a:gd name="connsiteX43" fmla="*/ 665839 w 5167630"/>
                  <a:gd name="connsiteY43" fmla="*/ 1008997 h 3474972"/>
                  <a:gd name="connsiteX44" fmla="*/ 955652 w 5167630"/>
                  <a:gd name="connsiteY44" fmla="*/ 910224 h 3474972"/>
                  <a:gd name="connsiteX45" fmla="*/ 1220705 w 5167630"/>
                  <a:gd name="connsiteY45" fmla="*/ 694365 h 3474972"/>
                  <a:gd name="connsiteX46" fmla="*/ 2444035 w 5167630"/>
                  <a:gd name="connsiteY46" fmla="*/ 99612 h 3474972"/>
                  <a:gd name="connsiteX47" fmla="*/ 2760515 w 5167630"/>
                  <a:gd name="connsiteY47" fmla="*/ 324 h 3474972"/>
                  <a:gd name="connsiteX0" fmla="*/ 2870052 w 5167630"/>
                  <a:gd name="connsiteY0" fmla="*/ 210 h 3541533"/>
                  <a:gd name="connsiteX1" fmla="*/ 3029684 w 5167630"/>
                  <a:gd name="connsiteY1" fmla="*/ 255697 h 3541533"/>
                  <a:gd name="connsiteX2" fmla="*/ 2798873 w 5167630"/>
                  <a:gd name="connsiteY2" fmla="*/ 650845 h 3541533"/>
                  <a:gd name="connsiteX3" fmla="*/ 2498162 w 5167630"/>
                  <a:gd name="connsiteY3" fmla="*/ 842159 h 3541533"/>
                  <a:gd name="connsiteX4" fmla="*/ 2561591 w 5167630"/>
                  <a:gd name="connsiteY4" fmla="*/ 940256 h 3541533"/>
                  <a:gd name="connsiteX5" fmla="*/ 4528781 w 5167630"/>
                  <a:gd name="connsiteY5" fmla="*/ 934234 h 3541533"/>
                  <a:gd name="connsiteX6" fmla="*/ 4806383 w 5167630"/>
                  <a:gd name="connsiteY6" fmla="*/ 1211836 h 3541533"/>
                  <a:gd name="connsiteX7" fmla="*/ 4528781 w 5167630"/>
                  <a:gd name="connsiteY7" fmla="*/ 1489438 h 3541533"/>
                  <a:gd name="connsiteX8" fmla="*/ 2853691 w 5167630"/>
                  <a:gd name="connsiteY8" fmla="*/ 1489438 h 3541533"/>
                  <a:gd name="connsiteX9" fmla="*/ 2853691 w 5167630"/>
                  <a:gd name="connsiteY9" fmla="*/ 1489440 h 3541533"/>
                  <a:gd name="connsiteX10" fmla="*/ 2730366 w 5167630"/>
                  <a:gd name="connsiteY10" fmla="*/ 1489440 h 3541533"/>
                  <a:gd name="connsiteX11" fmla="*/ 2665951 w 5167630"/>
                  <a:gd name="connsiteY11" fmla="*/ 1553855 h 3541533"/>
                  <a:gd name="connsiteX12" fmla="*/ 2730366 w 5167630"/>
                  <a:gd name="connsiteY12" fmla="*/ 1618270 h 3541533"/>
                  <a:gd name="connsiteX13" fmla="*/ 3727927 w 5167630"/>
                  <a:gd name="connsiteY13" fmla="*/ 1618270 h 3541533"/>
                  <a:gd name="connsiteX14" fmla="*/ 3727942 w 5167630"/>
                  <a:gd name="connsiteY14" fmla="*/ 1618267 h 3541533"/>
                  <a:gd name="connsiteX15" fmla="*/ 4890028 w 5167630"/>
                  <a:gd name="connsiteY15" fmla="*/ 1618267 h 3541533"/>
                  <a:gd name="connsiteX16" fmla="*/ 5167630 w 5167630"/>
                  <a:gd name="connsiteY16" fmla="*/ 1895869 h 3541533"/>
                  <a:gd name="connsiteX17" fmla="*/ 4890028 w 5167630"/>
                  <a:gd name="connsiteY17" fmla="*/ 2173471 h 3541533"/>
                  <a:gd name="connsiteX18" fmla="*/ 2853691 w 5167630"/>
                  <a:gd name="connsiteY18" fmla="*/ 2173471 h 3541533"/>
                  <a:gd name="connsiteX19" fmla="*/ 2853691 w 5167630"/>
                  <a:gd name="connsiteY19" fmla="*/ 2173472 h 3541533"/>
                  <a:gd name="connsiteX20" fmla="*/ 2730366 w 5167630"/>
                  <a:gd name="connsiteY20" fmla="*/ 2173472 h 3541533"/>
                  <a:gd name="connsiteX21" fmla="*/ 2665951 w 5167630"/>
                  <a:gd name="connsiteY21" fmla="*/ 2237887 h 3541533"/>
                  <a:gd name="connsiteX22" fmla="*/ 2730366 w 5167630"/>
                  <a:gd name="connsiteY22" fmla="*/ 2302301 h 3541533"/>
                  <a:gd name="connsiteX23" fmla="*/ 3727927 w 5167630"/>
                  <a:gd name="connsiteY23" fmla="*/ 2302302 h 3541533"/>
                  <a:gd name="connsiteX24" fmla="*/ 3727937 w 5167630"/>
                  <a:gd name="connsiteY24" fmla="*/ 2302300 h 3541533"/>
                  <a:gd name="connsiteX25" fmla="*/ 4528784 w 5167630"/>
                  <a:gd name="connsiteY25" fmla="*/ 2302300 h 3541533"/>
                  <a:gd name="connsiteX26" fmla="*/ 4806386 w 5167630"/>
                  <a:gd name="connsiteY26" fmla="*/ 2579902 h 3541533"/>
                  <a:gd name="connsiteX27" fmla="*/ 4528784 w 5167630"/>
                  <a:gd name="connsiteY27" fmla="*/ 2857504 h 3541533"/>
                  <a:gd name="connsiteX28" fmla="*/ 2853691 w 5167630"/>
                  <a:gd name="connsiteY28" fmla="*/ 2857504 h 3541533"/>
                  <a:gd name="connsiteX29" fmla="*/ 2853691 w 5167630"/>
                  <a:gd name="connsiteY29" fmla="*/ 2857506 h 3541533"/>
                  <a:gd name="connsiteX30" fmla="*/ 2730364 w 5167630"/>
                  <a:gd name="connsiteY30" fmla="*/ 2857506 h 3541533"/>
                  <a:gd name="connsiteX31" fmla="*/ 2665951 w 5167630"/>
                  <a:gd name="connsiteY31" fmla="*/ 2921919 h 3541533"/>
                  <a:gd name="connsiteX32" fmla="*/ 2730364 w 5167630"/>
                  <a:gd name="connsiteY32" fmla="*/ 2986332 h 3541533"/>
                  <a:gd name="connsiteX33" fmla="*/ 3727929 w 5167630"/>
                  <a:gd name="connsiteY33" fmla="*/ 2986332 h 3541533"/>
                  <a:gd name="connsiteX34" fmla="*/ 3727944 w 5167630"/>
                  <a:gd name="connsiteY34" fmla="*/ 2986329 h 3541533"/>
                  <a:gd name="connsiteX35" fmla="*/ 4087037 w 5167630"/>
                  <a:gd name="connsiteY35" fmla="*/ 2986329 h 3541533"/>
                  <a:gd name="connsiteX36" fmla="*/ 4364639 w 5167630"/>
                  <a:gd name="connsiteY36" fmla="*/ 3263931 h 3541533"/>
                  <a:gd name="connsiteX37" fmla="*/ 4087037 w 5167630"/>
                  <a:gd name="connsiteY37" fmla="*/ 3541533 h 3541533"/>
                  <a:gd name="connsiteX38" fmla="*/ 1714025 w 5167630"/>
                  <a:gd name="connsiteY38" fmla="*/ 3541533 h 3541533"/>
                  <a:gd name="connsiteX39" fmla="*/ 983851 w 5167630"/>
                  <a:gd name="connsiteY39" fmla="*/ 3424200 h 3541533"/>
                  <a:gd name="connsiteX40" fmla="*/ 503045 w 5167630"/>
                  <a:gd name="connsiteY40" fmla="*/ 3263931 h 3541533"/>
                  <a:gd name="connsiteX41" fmla="*/ 0 w 5167630"/>
                  <a:gd name="connsiteY41" fmla="*/ 3263931 h 3541533"/>
                  <a:gd name="connsiteX42" fmla="*/ 0 w 5167630"/>
                  <a:gd name="connsiteY42" fmla="*/ 1075558 h 3541533"/>
                  <a:gd name="connsiteX43" fmla="*/ 665839 w 5167630"/>
                  <a:gd name="connsiteY43" fmla="*/ 1075558 h 3541533"/>
                  <a:gd name="connsiteX44" fmla="*/ 955652 w 5167630"/>
                  <a:gd name="connsiteY44" fmla="*/ 976785 h 3541533"/>
                  <a:gd name="connsiteX45" fmla="*/ 1220705 w 5167630"/>
                  <a:gd name="connsiteY45" fmla="*/ 760926 h 3541533"/>
                  <a:gd name="connsiteX46" fmla="*/ 2444035 w 5167630"/>
                  <a:gd name="connsiteY46" fmla="*/ 166173 h 3541533"/>
                  <a:gd name="connsiteX47" fmla="*/ 2870052 w 5167630"/>
                  <a:gd name="connsiteY47" fmla="*/ 210 h 3541533"/>
                  <a:gd name="connsiteX0" fmla="*/ 2870052 w 5167630"/>
                  <a:gd name="connsiteY0" fmla="*/ 210 h 3541533"/>
                  <a:gd name="connsiteX1" fmla="*/ 3077309 w 5167630"/>
                  <a:gd name="connsiteY1" fmla="*/ 255697 h 3541533"/>
                  <a:gd name="connsiteX2" fmla="*/ 2798873 w 5167630"/>
                  <a:gd name="connsiteY2" fmla="*/ 650845 h 3541533"/>
                  <a:gd name="connsiteX3" fmla="*/ 2498162 w 5167630"/>
                  <a:gd name="connsiteY3" fmla="*/ 842159 h 3541533"/>
                  <a:gd name="connsiteX4" fmla="*/ 2561591 w 5167630"/>
                  <a:gd name="connsiteY4" fmla="*/ 940256 h 3541533"/>
                  <a:gd name="connsiteX5" fmla="*/ 4528781 w 5167630"/>
                  <a:gd name="connsiteY5" fmla="*/ 934234 h 3541533"/>
                  <a:gd name="connsiteX6" fmla="*/ 4806383 w 5167630"/>
                  <a:gd name="connsiteY6" fmla="*/ 1211836 h 3541533"/>
                  <a:gd name="connsiteX7" fmla="*/ 4528781 w 5167630"/>
                  <a:gd name="connsiteY7" fmla="*/ 1489438 h 3541533"/>
                  <a:gd name="connsiteX8" fmla="*/ 2853691 w 5167630"/>
                  <a:gd name="connsiteY8" fmla="*/ 1489438 h 3541533"/>
                  <a:gd name="connsiteX9" fmla="*/ 2853691 w 5167630"/>
                  <a:gd name="connsiteY9" fmla="*/ 1489440 h 3541533"/>
                  <a:gd name="connsiteX10" fmla="*/ 2730366 w 5167630"/>
                  <a:gd name="connsiteY10" fmla="*/ 1489440 h 3541533"/>
                  <a:gd name="connsiteX11" fmla="*/ 2665951 w 5167630"/>
                  <a:gd name="connsiteY11" fmla="*/ 1553855 h 3541533"/>
                  <a:gd name="connsiteX12" fmla="*/ 2730366 w 5167630"/>
                  <a:gd name="connsiteY12" fmla="*/ 1618270 h 3541533"/>
                  <a:gd name="connsiteX13" fmla="*/ 3727927 w 5167630"/>
                  <a:gd name="connsiteY13" fmla="*/ 1618270 h 3541533"/>
                  <a:gd name="connsiteX14" fmla="*/ 3727942 w 5167630"/>
                  <a:gd name="connsiteY14" fmla="*/ 1618267 h 3541533"/>
                  <a:gd name="connsiteX15" fmla="*/ 4890028 w 5167630"/>
                  <a:gd name="connsiteY15" fmla="*/ 1618267 h 3541533"/>
                  <a:gd name="connsiteX16" fmla="*/ 5167630 w 5167630"/>
                  <a:gd name="connsiteY16" fmla="*/ 1895869 h 3541533"/>
                  <a:gd name="connsiteX17" fmla="*/ 4890028 w 5167630"/>
                  <a:gd name="connsiteY17" fmla="*/ 2173471 h 3541533"/>
                  <a:gd name="connsiteX18" fmla="*/ 2853691 w 5167630"/>
                  <a:gd name="connsiteY18" fmla="*/ 2173471 h 3541533"/>
                  <a:gd name="connsiteX19" fmla="*/ 2853691 w 5167630"/>
                  <a:gd name="connsiteY19" fmla="*/ 2173472 h 3541533"/>
                  <a:gd name="connsiteX20" fmla="*/ 2730366 w 5167630"/>
                  <a:gd name="connsiteY20" fmla="*/ 2173472 h 3541533"/>
                  <a:gd name="connsiteX21" fmla="*/ 2665951 w 5167630"/>
                  <a:gd name="connsiteY21" fmla="*/ 2237887 h 3541533"/>
                  <a:gd name="connsiteX22" fmla="*/ 2730366 w 5167630"/>
                  <a:gd name="connsiteY22" fmla="*/ 2302301 h 3541533"/>
                  <a:gd name="connsiteX23" fmla="*/ 3727927 w 5167630"/>
                  <a:gd name="connsiteY23" fmla="*/ 2302302 h 3541533"/>
                  <a:gd name="connsiteX24" fmla="*/ 3727937 w 5167630"/>
                  <a:gd name="connsiteY24" fmla="*/ 2302300 h 3541533"/>
                  <a:gd name="connsiteX25" fmla="*/ 4528784 w 5167630"/>
                  <a:gd name="connsiteY25" fmla="*/ 2302300 h 3541533"/>
                  <a:gd name="connsiteX26" fmla="*/ 4806386 w 5167630"/>
                  <a:gd name="connsiteY26" fmla="*/ 2579902 h 3541533"/>
                  <a:gd name="connsiteX27" fmla="*/ 4528784 w 5167630"/>
                  <a:gd name="connsiteY27" fmla="*/ 2857504 h 3541533"/>
                  <a:gd name="connsiteX28" fmla="*/ 2853691 w 5167630"/>
                  <a:gd name="connsiteY28" fmla="*/ 2857504 h 3541533"/>
                  <a:gd name="connsiteX29" fmla="*/ 2853691 w 5167630"/>
                  <a:gd name="connsiteY29" fmla="*/ 2857506 h 3541533"/>
                  <a:gd name="connsiteX30" fmla="*/ 2730364 w 5167630"/>
                  <a:gd name="connsiteY30" fmla="*/ 2857506 h 3541533"/>
                  <a:gd name="connsiteX31" fmla="*/ 2665951 w 5167630"/>
                  <a:gd name="connsiteY31" fmla="*/ 2921919 h 3541533"/>
                  <a:gd name="connsiteX32" fmla="*/ 2730364 w 5167630"/>
                  <a:gd name="connsiteY32" fmla="*/ 2986332 h 3541533"/>
                  <a:gd name="connsiteX33" fmla="*/ 3727929 w 5167630"/>
                  <a:gd name="connsiteY33" fmla="*/ 2986332 h 3541533"/>
                  <a:gd name="connsiteX34" fmla="*/ 3727944 w 5167630"/>
                  <a:gd name="connsiteY34" fmla="*/ 2986329 h 3541533"/>
                  <a:gd name="connsiteX35" fmla="*/ 4087037 w 5167630"/>
                  <a:gd name="connsiteY35" fmla="*/ 2986329 h 3541533"/>
                  <a:gd name="connsiteX36" fmla="*/ 4364639 w 5167630"/>
                  <a:gd name="connsiteY36" fmla="*/ 3263931 h 3541533"/>
                  <a:gd name="connsiteX37" fmla="*/ 4087037 w 5167630"/>
                  <a:gd name="connsiteY37" fmla="*/ 3541533 h 3541533"/>
                  <a:gd name="connsiteX38" fmla="*/ 1714025 w 5167630"/>
                  <a:gd name="connsiteY38" fmla="*/ 3541533 h 3541533"/>
                  <a:gd name="connsiteX39" fmla="*/ 983851 w 5167630"/>
                  <a:gd name="connsiteY39" fmla="*/ 3424200 h 3541533"/>
                  <a:gd name="connsiteX40" fmla="*/ 503045 w 5167630"/>
                  <a:gd name="connsiteY40" fmla="*/ 3263931 h 3541533"/>
                  <a:gd name="connsiteX41" fmla="*/ 0 w 5167630"/>
                  <a:gd name="connsiteY41" fmla="*/ 3263931 h 3541533"/>
                  <a:gd name="connsiteX42" fmla="*/ 0 w 5167630"/>
                  <a:gd name="connsiteY42" fmla="*/ 1075558 h 3541533"/>
                  <a:gd name="connsiteX43" fmla="*/ 665839 w 5167630"/>
                  <a:gd name="connsiteY43" fmla="*/ 1075558 h 3541533"/>
                  <a:gd name="connsiteX44" fmla="*/ 955652 w 5167630"/>
                  <a:gd name="connsiteY44" fmla="*/ 976785 h 3541533"/>
                  <a:gd name="connsiteX45" fmla="*/ 1220705 w 5167630"/>
                  <a:gd name="connsiteY45" fmla="*/ 760926 h 3541533"/>
                  <a:gd name="connsiteX46" fmla="*/ 2444035 w 5167630"/>
                  <a:gd name="connsiteY46" fmla="*/ 166173 h 3541533"/>
                  <a:gd name="connsiteX47" fmla="*/ 2870052 w 5167630"/>
                  <a:gd name="connsiteY47" fmla="*/ 210 h 3541533"/>
                  <a:gd name="connsiteX0" fmla="*/ 2870052 w 5167630"/>
                  <a:gd name="connsiteY0" fmla="*/ 210 h 3541533"/>
                  <a:gd name="connsiteX1" fmla="*/ 3077309 w 5167630"/>
                  <a:gd name="connsiteY1" fmla="*/ 255697 h 3541533"/>
                  <a:gd name="connsiteX2" fmla="*/ 2798873 w 5167630"/>
                  <a:gd name="connsiteY2" fmla="*/ 650845 h 3541533"/>
                  <a:gd name="connsiteX3" fmla="*/ 2498162 w 5167630"/>
                  <a:gd name="connsiteY3" fmla="*/ 842159 h 3541533"/>
                  <a:gd name="connsiteX4" fmla="*/ 2561591 w 5167630"/>
                  <a:gd name="connsiteY4" fmla="*/ 940256 h 3541533"/>
                  <a:gd name="connsiteX5" fmla="*/ 4528781 w 5167630"/>
                  <a:gd name="connsiteY5" fmla="*/ 934234 h 3541533"/>
                  <a:gd name="connsiteX6" fmla="*/ 4806383 w 5167630"/>
                  <a:gd name="connsiteY6" fmla="*/ 1211836 h 3541533"/>
                  <a:gd name="connsiteX7" fmla="*/ 4528781 w 5167630"/>
                  <a:gd name="connsiteY7" fmla="*/ 1489438 h 3541533"/>
                  <a:gd name="connsiteX8" fmla="*/ 2853691 w 5167630"/>
                  <a:gd name="connsiteY8" fmla="*/ 1489438 h 3541533"/>
                  <a:gd name="connsiteX9" fmla="*/ 2853691 w 5167630"/>
                  <a:gd name="connsiteY9" fmla="*/ 1489440 h 3541533"/>
                  <a:gd name="connsiteX10" fmla="*/ 2730366 w 5167630"/>
                  <a:gd name="connsiteY10" fmla="*/ 1489440 h 3541533"/>
                  <a:gd name="connsiteX11" fmla="*/ 2665951 w 5167630"/>
                  <a:gd name="connsiteY11" fmla="*/ 1553855 h 3541533"/>
                  <a:gd name="connsiteX12" fmla="*/ 2730366 w 5167630"/>
                  <a:gd name="connsiteY12" fmla="*/ 1618270 h 3541533"/>
                  <a:gd name="connsiteX13" fmla="*/ 3727927 w 5167630"/>
                  <a:gd name="connsiteY13" fmla="*/ 1618270 h 3541533"/>
                  <a:gd name="connsiteX14" fmla="*/ 3727942 w 5167630"/>
                  <a:gd name="connsiteY14" fmla="*/ 1618267 h 3541533"/>
                  <a:gd name="connsiteX15" fmla="*/ 4890028 w 5167630"/>
                  <a:gd name="connsiteY15" fmla="*/ 1618267 h 3541533"/>
                  <a:gd name="connsiteX16" fmla="*/ 5167630 w 5167630"/>
                  <a:gd name="connsiteY16" fmla="*/ 1895869 h 3541533"/>
                  <a:gd name="connsiteX17" fmla="*/ 4890028 w 5167630"/>
                  <a:gd name="connsiteY17" fmla="*/ 2173471 h 3541533"/>
                  <a:gd name="connsiteX18" fmla="*/ 2853691 w 5167630"/>
                  <a:gd name="connsiteY18" fmla="*/ 2173471 h 3541533"/>
                  <a:gd name="connsiteX19" fmla="*/ 2853691 w 5167630"/>
                  <a:gd name="connsiteY19" fmla="*/ 2173472 h 3541533"/>
                  <a:gd name="connsiteX20" fmla="*/ 2730366 w 5167630"/>
                  <a:gd name="connsiteY20" fmla="*/ 2173472 h 3541533"/>
                  <a:gd name="connsiteX21" fmla="*/ 2665951 w 5167630"/>
                  <a:gd name="connsiteY21" fmla="*/ 2237887 h 3541533"/>
                  <a:gd name="connsiteX22" fmla="*/ 2730366 w 5167630"/>
                  <a:gd name="connsiteY22" fmla="*/ 2302301 h 3541533"/>
                  <a:gd name="connsiteX23" fmla="*/ 3727927 w 5167630"/>
                  <a:gd name="connsiteY23" fmla="*/ 2302302 h 3541533"/>
                  <a:gd name="connsiteX24" fmla="*/ 3727937 w 5167630"/>
                  <a:gd name="connsiteY24" fmla="*/ 2302300 h 3541533"/>
                  <a:gd name="connsiteX25" fmla="*/ 4528784 w 5167630"/>
                  <a:gd name="connsiteY25" fmla="*/ 2302300 h 3541533"/>
                  <a:gd name="connsiteX26" fmla="*/ 4806386 w 5167630"/>
                  <a:gd name="connsiteY26" fmla="*/ 2579902 h 3541533"/>
                  <a:gd name="connsiteX27" fmla="*/ 4528784 w 5167630"/>
                  <a:gd name="connsiteY27" fmla="*/ 2857504 h 3541533"/>
                  <a:gd name="connsiteX28" fmla="*/ 2853691 w 5167630"/>
                  <a:gd name="connsiteY28" fmla="*/ 2857504 h 3541533"/>
                  <a:gd name="connsiteX29" fmla="*/ 2853691 w 5167630"/>
                  <a:gd name="connsiteY29" fmla="*/ 2857506 h 3541533"/>
                  <a:gd name="connsiteX30" fmla="*/ 2730364 w 5167630"/>
                  <a:gd name="connsiteY30" fmla="*/ 2857506 h 3541533"/>
                  <a:gd name="connsiteX31" fmla="*/ 2665951 w 5167630"/>
                  <a:gd name="connsiteY31" fmla="*/ 2921919 h 3541533"/>
                  <a:gd name="connsiteX32" fmla="*/ 2730364 w 5167630"/>
                  <a:gd name="connsiteY32" fmla="*/ 2986332 h 3541533"/>
                  <a:gd name="connsiteX33" fmla="*/ 3727929 w 5167630"/>
                  <a:gd name="connsiteY33" fmla="*/ 2986332 h 3541533"/>
                  <a:gd name="connsiteX34" fmla="*/ 3727944 w 5167630"/>
                  <a:gd name="connsiteY34" fmla="*/ 2986329 h 3541533"/>
                  <a:gd name="connsiteX35" fmla="*/ 4087037 w 5167630"/>
                  <a:gd name="connsiteY35" fmla="*/ 2986329 h 3541533"/>
                  <a:gd name="connsiteX36" fmla="*/ 4364639 w 5167630"/>
                  <a:gd name="connsiteY36" fmla="*/ 3263931 h 3541533"/>
                  <a:gd name="connsiteX37" fmla="*/ 4087037 w 5167630"/>
                  <a:gd name="connsiteY37" fmla="*/ 3541533 h 3541533"/>
                  <a:gd name="connsiteX38" fmla="*/ 1714025 w 5167630"/>
                  <a:gd name="connsiteY38" fmla="*/ 3541533 h 3541533"/>
                  <a:gd name="connsiteX39" fmla="*/ 983851 w 5167630"/>
                  <a:gd name="connsiteY39" fmla="*/ 3424200 h 3541533"/>
                  <a:gd name="connsiteX40" fmla="*/ 503045 w 5167630"/>
                  <a:gd name="connsiteY40" fmla="*/ 3263931 h 3541533"/>
                  <a:gd name="connsiteX41" fmla="*/ 0 w 5167630"/>
                  <a:gd name="connsiteY41" fmla="*/ 3263931 h 3541533"/>
                  <a:gd name="connsiteX42" fmla="*/ 0 w 5167630"/>
                  <a:gd name="connsiteY42" fmla="*/ 1075558 h 3541533"/>
                  <a:gd name="connsiteX43" fmla="*/ 665839 w 5167630"/>
                  <a:gd name="connsiteY43" fmla="*/ 1075558 h 3541533"/>
                  <a:gd name="connsiteX44" fmla="*/ 955652 w 5167630"/>
                  <a:gd name="connsiteY44" fmla="*/ 976785 h 3541533"/>
                  <a:gd name="connsiteX45" fmla="*/ 1220705 w 5167630"/>
                  <a:gd name="connsiteY45" fmla="*/ 760926 h 3541533"/>
                  <a:gd name="connsiteX46" fmla="*/ 2444035 w 5167630"/>
                  <a:gd name="connsiteY46" fmla="*/ 166173 h 3541533"/>
                  <a:gd name="connsiteX47" fmla="*/ 2870052 w 5167630"/>
                  <a:gd name="connsiteY47" fmla="*/ 210 h 354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167630" h="3541533">
                    <a:moveTo>
                      <a:pt x="2870052" y="210"/>
                    </a:moveTo>
                    <a:cubicBezTo>
                      <a:pt x="2997585" y="-6477"/>
                      <a:pt x="3089172" y="147258"/>
                      <a:pt x="3077309" y="255697"/>
                    </a:cubicBezTo>
                    <a:cubicBezTo>
                      <a:pt x="3065446" y="364136"/>
                      <a:pt x="2943022" y="557864"/>
                      <a:pt x="2798873" y="650845"/>
                    </a:cubicBezTo>
                    <a:cubicBezTo>
                      <a:pt x="2654724" y="743826"/>
                      <a:pt x="2537709" y="793924"/>
                      <a:pt x="2498162" y="842159"/>
                    </a:cubicBezTo>
                    <a:cubicBezTo>
                      <a:pt x="2458615" y="890394"/>
                      <a:pt x="2448315" y="935494"/>
                      <a:pt x="2561591" y="940256"/>
                    </a:cubicBezTo>
                    <a:lnTo>
                      <a:pt x="4528781" y="934234"/>
                    </a:lnTo>
                    <a:cubicBezTo>
                      <a:pt x="4682096" y="934234"/>
                      <a:pt x="4806383" y="1058521"/>
                      <a:pt x="4806383" y="1211836"/>
                    </a:cubicBezTo>
                    <a:cubicBezTo>
                      <a:pt x="4806383" y="1365151"/>
                      <a:pt x="4682096" y="1489438"/>
                      <a:pt x="4528781" y="1489438"/>
                    </a:cubicBezTo>
                    <a:lnTo>
                      <a:pt x="2853691" y="1489438"/>
                    </a:lnTo>
                    <a:lnTo>
                      <a:pt x="2853691" y="1489440"/>
                    </a:lnTo>
                    <a:lnTo>
                      <a:pt x="2730366" y="1489440"/>
                    </a:lnTo>
                    <a:cubicBezTo>
                      <a:pt x="2694791" y="1489440"/>
                      <a:pt x="2665951" y="1518280"/>
                      <a:pt x="2665951" y="1553855"/>
                    </a:cubicBezTo>
                    <a:cubicBezTo>
                      <a:pt x="2665951" y="1589430"/>
                      <a:pt x="2694791" y="1618270"/>
                      <a:pt x="2730366" y="1618270"/>
                    </a:cubicBezTo>
                    <a:lnTo>
                      <a:pt x="3727927" y="1618270"/>
                    </a:lnTo>
                    <a:cubicBezTo>
                      <a:pt x="3727932" y="1618270"/>
                      <a:pt x="3727937" y="1618270"/>
                      <a:pt x="3727942" y="1618267"/>
                    </a:cubicBezTo>
                    <a:lnTo>
                      <a:pt x="4890028" y="1618267"/>
                    </a:lnTo>
                    <a:cubicBezTo>
                      <a:pt x="5043343" y="1618267"/>
                      <a:pt x="5167630" y="1742554"/>
                      <a:pt x="5167630" y="1895869"/>
                    </a:cubicBezTo>
                    <a:cubicBezTo>
                      <a:pt x="5167630" y="2049184"/>
                      <a:pt x="5043343" y="2173471"/>
                      <a:pt x="4890028" y="2173471"/>
                    </a:cubicBezTo>
                    <a:lnTo>
                      <a:pt x="2853691" y="2173471"/>
                    </a:lnTo>
                    <a:lnTo>
                      <a:pt x="2853691" y="2173472"/>
                    </a:lnTo>
                    <a:lnTo>
                      <a:pt x="2730366" y="2173472"/>
                    </a:lnTo>
                    <a:cubicBezTo>
                      <a:pt x="2694791" y="2173472"/>
                      <a:pt x="2665952" y="2202312"/>
                      <a:pt x="2665951" y="2237887"/>
                    </a:cubicBezTo>
                    <a:cubicBezTo>
                      <a:pt x="2665952" y="2273462"/>
                      <a:pt x="2694791" y="2302301"/>
                      <a:pt x="2730366" y="2302301"/>
                    </a:cubicBezTo>
                    <a:lnTo>
                      <a:pt x="3727927" y="2302302"/>
                    </a:lnTo>
                    <a:cubicBezTo>
                      <a:pt x="3727931" y="2302302"/>
                      <a:pt x="3727934" y="2302302"/>
                      <a:pt x="3727937" y="2302300"/>
                    </a:cubicBezTo>
                    <a:lnTo>
                      <a:pt x="4528784" y="2302300"/>
                    </a:lnTo>
                    <a:cubicBezTo>
                      <a:pt x="4682099" y="2302300"/>
                      <a:pt x="4806386" y="2426587"/>
                      <a:pt x="4806386" y="2579902"/>
                    </a:cubicBezTo>
                    <a:cubicBezTo>
                      <a:pt x="4806386" y="2733217"/>
                      <a:pt x="4682099" y="2857504"/>
                      <a:pt x="4528784" y="2857504"/>
                    </a:cubicBezTo>
                    <a:lnTo>
                      <a:pt x="2853691" y="2857504"/>
                    </a:lnTo>
                    <a:lnTo>
                      <a:pt x="2853691" y="2857506"/>
                    </a:lnTo>
                    <a:lnTo>
                      <a:pt x="2730364" y="2857506"/>
                    </a:lnTo>
                    <a:cubicBezTo>
                      <a:pt x="2694790" y="2857506"/>
                      <a:pt x="2665951" y="2886345"/>
                      <a:pt x="2665951" y="2921919"/>
                    </a:cubicBezTo>
                    <a:cubicBezTo>
                      <a:pt x="2665951" y="2957493"/>
                      <a:pt x="2694790" y="2986332"/>
                      <a:pt x="2730364" y="2986332"/>
                    </a:cubicBezTo>
                    <a:lnTo>
                      <a:pt x="3727929" y="2986332"/>
                    </a:lnTo>
                    <a:cubicBezTo>
                      <a:pt x="3727934" y="2986332"/>
                      <a:pt x="3727939" y="2986332"/>
                      <a:pt x="3727944" y="2986329"/>
                    </a:cubicBezTo>
                    <a:lnTo>
                      <a:pt x="4087037" y="2986329"/>
                    </a:lnTo>
                    <a:cubicBezTo>
                      <a:pt x="4240352" y="2986329"/>
                      <a:pt x="4364639" y="3110616"/>
                      <a:pt x="4364639" y="3263931"/>
                    </a:cubicBezTo>
                    <a:cubicBezTo>
                      <a:pt x="4364639" y="3417246"/>
                      <a:pt x="4240352" y="3541533"/>
                      <a:pt x="4087037" y="3541533"/>
                    </a:cubicBezTo>
                    <a:lnTo>
                      <a:pt x="1714025" y="3541533"/>
                    </a:lnTo>
                    <a:cubicBezTo>
                      <a:pt x="1196827" y="3521978"/>
                      <a:pt x="1185681" y="3470467"/>
                      <a:pt x="983851" y="3424200"/>
                    </a:cubicBezTo>
                    <a:cubicBezTo>
                      <a:pt x="782021" y="3377933"/>
                      <a:pt x="667020" y="3290642"/>
                      <a:pt x="503045" y="3263931"/>
                    </a:cubicBezTo>
                    <a:cubicBezTo>
                      <a:pt x="339070" y="3237220"/>
                      <a:pt x="248941" y="3234960"/>
                      <a:pt x="0" y="3263931"/>
                    </a:cubicBezTo>
                    <a:lnTo>
                      <a:pt x="0" y="1075558"/>
                    </a:lnTo>
                    <a:lnTo>
                      <a:pt x="665839" y="1075558"/>
                    </a:lnTo>
                    <a:cubicBezTo>
                      <a:pt x="832258" y="1056715"/>
                      <a:pt x="859924" y="1066817"/>
                      <a:pt x="955652" y="976785"/>
                    </a:cubicBezTo>
                    <a:cubicBezTo>
                      <a:pt x="1051380" y="886753"/>
                      <a:pt x="1134689" y="802745"/>
                      <a:pt x="1220705" y="760926"/>
                    </a:cubicBezTo>
                    <a:cubicBezTo>
                      <a:pt x="1755482" y="422975"/>
                      <a:pt x="2017208" y="339024"/>
                      <a:pt x="2444035" y="166173"/>
                    </a:cubicBezTo>
                    <a:cubicBezTo>
                      <a:pt x="2484728" y="146389"/>
                      <a:pt x="2827541" y="2439"/>
                      <a:pt x="2870052" y="21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Oval 23"/>
              <p:cNvSpPr/>
              <p:nvPr/>
            </p:nvSpPr>
            <p:spPr>
              <a:xfrm>
                <a:off x="1561137" y="3295433"/>
                <a:ext cx="180000" cy="180000"/>
              </a:xfrm>
              <a:prstGeom prst="ellipse">
                <a:avLst/>
              </a:prstGeom>
              <a:solidFill>
                <a:schemeClr val="tx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 name="Freeform 5"/>
              <p:cNvSpPr>
                <a:spLocks/>
              </p:cNvSpPr>
              <p:nvPr/>
            </p:nvSpPr>
            <p:spPr bwMode="auto">
              <a:xfrm>
                <a:off x="1614561" y="3321722"/>
                <a:ext cx="93667" cy="142250"/>
              </a:xfrm>
              <a:custGeom>
                <a:avLst/>
                <a:gdLst>
                  <a:gd name="T0" fmla="*/ 250 w 455"/>
                  <a:gd name="T1" fmla="*/ 264 h 691"/>
                  <a:gd name="T2" fmla="*/ 455 w 455"/>
                  <a:gd name="T3" fmla="*/ 0 h 691"/>
                  <a:gd name="T4" fmla="*/ 183 w 455"/>
                  <a:gd name="T5" fmla="*/ 28 h 691"/>
                  <a:gd name="T6" fmla="*/ 25 w 455"/>
                  <a:gd name="T7" fmla="*/ 357 h 691"/>
                  <a:gd name="T8" fmla="*/ 92 w 455"/>
                  <a:gd name="T9" fmla="*/ 350 h 691"/>
                  <a:gd name="T10" fmla="*/ 27 w 455"/>
                  <a:gd name="T11" fmla="*/ 489 h 691"/>
                  <a:gd name="T12" fmla="*/ 101 w 455"/>
                  <a:gd name="T13" fmla="*/ 479 h 691"/>
                  <a:gd name="T14" fmla="*/ 0 w 455"/>
                  <a:gd name="T15" fmla="*/ 691 h 691"/>
                  <a:gd name="T16" fmla="*/ 277 w 455"/>
                  <a:gd name="T17" fmla="*/ 408 h 691"/>
                  <a:gd name="T18" fmla="*/ 214 w 455"/>
                  <a:gd name="T19" fmla="*/ 417 h 691"/>
                  <a:gd name="T20" fmla="*/ 347 w 455"/>
                  <a:gd name="T21" fmla="*/ 253 h 691"/>
                  <a:gd name="T22" fmla="*/ 250 w 455"/>
                  <a:gd name="T23" fmla="*/ 26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5" h="691">
                    <a:moveTo>
                      <a:pt x="250" y="264"/>
                    </a:moveTo>
                    <a:lnTo>
                      <a:pt x="455" y="0"/>
                    </a:lnTo>
                    <a:lnTo>
                      <a:pt x="183" y="28"/>
                    </a:lnTo>
                    <a:lnTo>
                      <a:pt x="25" y="357"/>
                    </a:lnTo>
                    <a:lnTo>
                      <a:pt x="92" y="350"/>
                    </a:lnTo>
                    <a:lnTo>
                      <a:pt x="27" y="489"/>
                    </a:lnTo>
                    <a:lnTo>
                      <a:pt x="101" y="479"/>
                    </a:lnTo>
                    <a:lnTo>
                      <a:pt x="0" y="691"/>
                    </a:lnTo>
                    <a:lnTo>
                      <a:pt x="277" y="408"/>
                    </a:lnTo>
                    <a:lnTo>
                      <a:pt x="214" y="417"/>
                    </a:lnTo>
                    <a:lnTo>
                      <a:pt x="347" y="253"/>
                    </a:lnTo>
                    <a:lnTo>
                      <a:pt x="250" y="26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31" name="Group 30"/>
          <p:cNvGrpSpPr/>
          <p:nvPr/>
        </p:nvGrpSpPr>
        <p:grpSpPr>
          <a:xfrm>
            <a:off x="6460504" y="3001624"/>
            <a:ext cx="866342" cy="866342"/>
            <a:chOff x="6580908" y="4002166"/>
            <a:chExt cx="1155122" cy="1155122"/>
          </a:xfrm>
        </p:grpSpPr>
        <p:sp>
          <p:nvSpPr>
            <p:cNvPr id="26" name="Rechthoek 11"/>
            <p:cNvSpPr>
              <a:spLocks noChangeAspect="1"/>
            </p:cNvSpPr>
            <p:nvPr/>
          </p:nvSpPr>
          <p:spPr>
            <a:xfrm>
              <a:off x="6580908" y="4002166"/>
              <a:ext cx="1155122" cy="115512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b"/>
            <a:lstStyle/>
            <a:p>
              <a:pPr algn="ctr"/>
              <a:r>
                <a:rPr lang="en-GB" dirty="0" smtClean="0">
                  <a:solidFill>
                    <a:schemeClr val="bg1"/>
                  </a:solidFill>
                  <a:latin typeface="Calibri" pitchFamily="34" charset="0"/>
                </a:rPr>
                <a:t>Supply</a:t>
              </a:r>
              <a:endParaRPr lang="en-GB" dirty="0">
                <a:solidFill>
                  <a:schemeClr val="bg1"/>
                </a:solidFill>
                <a:latin typeface="Calibri" pitchFamily="34" charset="0"/>
              </a:endParaRPr>
            </a:p>
          </p:txBody>
        </p:sp>
        <p:grpSp>
          <p:nvGrpSpPr>
            <p:cNvPr id="14" name="Group 13"/>
            <p:cNvGrpSpPr/>
            <p:nvPr/>
          </p:nvGrpSpPr>
          <p:grpSpPr>
            <a:xfrm>
              <a:off x="7024057" y="4228986"/>
              <a:ext cx="268823" cy="390161"/>
              <a:chOff x="3622676" y="-4397375"/>
              <a:chExt cx="2774950" cy="4027487"/>
            </a:xfrm>
            <a:solidFill>
              <a:schemeClr val="bg1"/>
            </a:solidFill>
          </p:grpSpPr>
          <p:sp>
            <p:nvSpPr>
              <p:cNvPr id="15" name="Freeform 7"/>
              <p:cNvSpPr>
                <a:spLocks noEditPoints="1"/>
              </p:cNvSpPr>
              <p:nvPr/>
            </p:nvSpPr>
            <p:spPr bwMode="auto">
              <a:xfrm>
                <a:off x="4403726" y="-1955800"/>
                <a:ext cx="1390650" cy="1147762"/>
              </a:xfrm>
              <a:custGeom>
                <a:avLst/>
                <a:gdLst>
                  <a:gd name="T0" fmla="*/ 455 w 546"/>
                  <a:gd name="T1" fmla="*/ 47 h 450"/>
                  <a:gd name="T2" fmla="*/ 196 w 546"/>
                  <a:gd name="T3" fmla="*/ 311 h 450"/>
                  <a:gd name="T4" fmla="*/ 110 w 546"/>
                  <a:gd name="T5" fmla="*/ 189 h 450"/>
                  <a:gd name="T6" fmla="*/ 21 w 546"/>
                  <a:gd name="T7" fmla="*/ 261 h 450"/>
                  <a:gd name="T8" fmla="*/ 149 w 546"/>
                  <a:gd name="T9" fmla="*/ 429 h 450"/>
                  <a:gd name="T10" fmla="*/ 218 w 546"/>
                  <a:gd name="T11" fmla="*/ 411 h 450"/>
                  <a:gd name="T12" fmla="*/ 495 w 546"/>
                  <a:gd name="T13" fmla="*/ 122 h 450"/>
                  <a:gd name="T14" fmla="*/ 455 w 546"/>
                  <a:gd name="T15" fmla="*/ 47 h 450"/>
                  <a:gd name="T16" fmla="*/ 455 w 546"/>
                  <a:gd name="T17" fmla="*/ 47 h 450"/>
                  <a:gd name="T18" fmla="*/ 455 w 546"/>
                  <a:gd name="T19" fmla="*/ 47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450">
                    <a:moveTo>
                      <a:pt x="455" y="47"/>
                    </a:moveTo>
                    <a:cubicBezTo>
                      <a:pt x="357" y="124"/>
                      <a:pt x="277" y="218"/>
                      <a:pt x="196" y="311"/>
                    </a:cubicBezTo>
                    <a:cubicBezTo>
                      <a:pt x="162" y="274"/>
                      <a:pt x="131" y="236"/>
                      <a:pt x="110" y="189"/>
                    </a:cubicBezTo>
                    <a:cubicBezTo>
                      <a:pt x="87" y="135"/>
                      <a:pt x="0" y="213"/>
                      <a:pt x="21" y="261"/>
                    </a:cubicBezTo>
                    <a:cubicBezTo>
                      <a:pt x="49" y="326"/>
                      <a:pt x="100" y="379"/>
                      <a:pt x="149" y="429"/>
                    </a:cubicBezTo>
                    <a:cubicBezTo>
                      <a:pt x="169" y="450"/>
                      <a:pt x="204" y="427"/>
                      <a:pt x="218" y="411"/>
                    </a:cubicBezTo>
                    <a:cubicBezTo>
                      <a:pt x="306" y="310"/>
                      <a:pt x="389" y="205"/>
                      <a:pt x="495" y="122"/>
                    </a:cubicBezTo>
                    <a:cubicBezTo>
                      <a:pt x="546" y="82"/>
                      <a:pt x="515" y="0"/>
                      <a:pt x="455" y="47"/>
                    </a:cubicBezTo>
                    <a:close/>
                    <a:moveTo>
                      <a:pt x="455" y="47"/>
                    </a:moveTo>
                    <a:cubicBezTo>
                      <a:pt x="455" y="47"/>
                      <a:pt x="455" y="47"/>
                      <a:pt x="455"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16" name="Freeform 8"/>
              <p:cNvSpPr>
                <a:spLocks noEditPoints="1"/>
              </p:cNvSpPr>
              <p:nvPr/>
            </p:nvSpPr>
            <p:spPr bwMode="auto">
              <a:xfrm>
                <a:off x="3622676" y="-4397375"/>
                <a:ext cx="2774950" cy="4027487"/>
              </a:xfrm>
              <a:custGeom>
                <a:avLst/>
                <a:gdLst>
                  <a:gd name="T0" fmla="*/ 1042 w 1089"/>
                  <a:gd name="T1" fmla="*/ 113 h 1579"/>
                  <a:gd name="T2" fmla="*/ 798 w 1089"/>
                  <a:gd name="T3" fmla="*/ 113 h 1579"/>
                  <a:gd name="T4" fmla="*/ 729 w 1089"/>
                  <a:gd name="T5" fmla="*/ 82 h 1579"/>
                  <a:gd name="T6" fmla="*/ 635 w 1089"/>
                  <a:gd name="T7" fmla="*/ 82 h 1579"/>
                  <a:gd name="T8" fmla="*/ 635 w 1089"/>
                  <a:gd name="T9" fmla="*/ 66 h 1579"/>
                  <a:gd name="T10" fmla="*/ 545 w 1089"/>
                  <a:gd name="T11" fmla="*/ 0 h 1579"/>
                  <a:gd name="T12" fmla="*/ 454 w 1089"/>
                  <a:gd name="T13" fmla="*/ 66 h 1579"/>
                  <a:gd name="T14" fmla="*/ 454 w 1089"/>
                  <a:gd name="T15" fmla="*/ 82 h 1579"/>
                  <a:gd name="T16" fmla="*/ 360 w 1089"/>
                  <a:gd name="T17" fmla="*/ 82 h 1579"/>
                  <a:gd name="T18" fmla="*/ 291 w 1089"/>
                  <a:gd name="T19" fmla="*/ 113 h 1579"/>
                  <a:gd name="T20" fmla="*/ 47 w 1089"/>
                  <a:gd name="T21" fmla="*/ 113 h 1579"/>
                  <a:gd name="T22" fmla="*/ 0 w 1089"/>
                  <a:gd name="T23" fmla="*/ 160 h 1579"/>
                  <a:gd name="T24" fmla="*/ 0 w 1089"/>
                  <a:gd name="T25" fmla="*/ 1532 h 1579"/>
                  <a:gd name="T26" fmla="*/ 47 w 1089"/>
                  <a:gd name="T27" fmla="*/ 1579 h 1579"/>
                  <a:gd name="T28" fmla="*/ 1042 w 1089"/>
                  <a:gd name="T29" fmla="*/ 1579 h 1579"/>
                  <a:gd name="T30" fmla="*/ 1089 w 1089"/>
                  <a:gd name="T31" fmla="*/ 1532 h 1579"/>
                  <a:gd name="T32" fmla="*/ 1089 w 1089"/>
                  <a:gd name="T33" fmla="*/ 160 h 1579"/>
                  <a:gd name="T34" fmla="*/ 1042 w 1089"/>
                  <a:gd name="T35" fmla="*/ 113 h 1579"/>
                  <a:gd name="T36" fmla="*/ 995 w 1089"/>
                  <a:gd name="T37" fmla="*/ 1485 h 1579"/>
                  <a:gd name="T38" fmla="*/ 93 w 1089"/>
                  <a:gd name="T39" fmla="*/ 1485 h 1579"/>
                  <a:gd name="T40" fmla="*/ 93 w 1089"/>
                  <a:gd name="T41" fmla="*/ 206 h 1579"/>
                  <a:gd name="T42" fmla="*/ 229 w 1089"/>
                  <a:gd name="T43" fmla="*/ 206 h 1579"/>
                  <a:gd name="T44" fmla="*/ 229 w 1089"/>
                  <a:gd name="T45" fmla="*/ 206 h 1579"/>
                  <a:gd name="T46" fmla="*/ 272 w 1089"/>
                  <a:gd name="T47" fmla="*/ 206 h 1579"/>
                  <a:gd name="T48" fmla="*/ 360 w 1089"/>
                  <a:gd name="T49" fmla="*/ 270 h 1579"/>
                  <a:gd name="T50" fmla="*/ 729 w 1089"/>
                  <a:gd name="T51" fmla="*/ 270 h 1579"/>
                  <a:gd name="T52" fmla="*/ 817 w 1089"/>
                  <a:gd name="T53" fmla="*/ 206 h 1579"/>
                  <a:gd name="T54" fmla="*/ 860 w 1089"/>
                  <a:gd name="T55" fmla="*/ 206 h 1579"/>
                  <a:gd name="T56" fmla="*/ 860 w 1089"/>
                  <a:gd name="T57" fmla="*/ 206 h 1579"/>
                  <a:gd name="T58" fmla="*/ 995 w 1089"/>
                  <a:gd name="T59" fmla="*/ 206 h 1579"/>
                  <a:gd name="T60" fmla="*/ 995 w 1089"/>
                  <a:gd name="T61" fmla="*/ 1485 h 1579"/>
                  <a:gd name="T62" fmla="*/ 995 w 1089"/>
                  <a:gd name="T63" fmla="*/ 1485 h 1579"/>
                  <a:gd name="T64" fmla="*/ 995 w 1089"/>
                  <a:gd name="T65" fmla="*/ 1485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9" h="1579">
                    <a:moveTo>
                      <a:pt x="1042" y="113"/>
                    </a:moveTo>
                    <a:cubicBezTo>
                      <a:pt x="798" y="113"/>
                      <a:pt x="798" y="113"/>
                      <a:pt x="798" y="113"/>
                    </a:cubicBezTo>
                    <a:cubicBezTo>
                      <a:pt x="781" y="94"/>
                      <a:pt x="756" y="82"/>
                      <a:pt x="729" y="82"/>
                    </a:cubicBezTo>
                    <a:cubicBezTo>
                      <a:pt x="635" y="82"/>
                      <a:pt x="635" y="82"/>
                      <a:pt x="635" y="82"/>
                    </a:cubicBezTo>
                    <a:cubicBezTo>
                      <a:pt x="635" y="66"/>
                      <a:pt x="635" y="66"/>
                      <a:pt x="635" y="66"/>
                    </a:cubicBezTo>
                    <a:cubicBezTo>
                      <a:pt x="635" y="31"/>
                      <a:pt x="588" y="0"/>
                      <a:pt x="545" y="0"/>
                    </a:cubicBezTo>
                    <a:cubicBezTo>
                      <a:pt x="501" y="0"/>
                      <a:pt x="454" y="31"/>
                      <a:pt x="454" y="66"/>
                    </a:cubicBezTo>
                    <a:cubicBezTo>
                      <a:pt x="454" y="82"/>
                      <a:pt x="454" y="82"/>
                      <a:pt x="454" y="82"/>
                    </a:cubicBezTo>
                    <a:cubicBezTo>
                      <a:pt x="360" y="82"/>
                      <a:pt x="360" y="82"/>
                      <a:pt x="360" y="82"/>
                    </a:cubicBezTo>
                    <a:cubicBezTo>
                      <a:pt x="333" y="82"/>
                      <a:pt x="308" y="94"/>
                      <a:pt x="291" y="113"/>
                    </a:cubicBezTo>
                    <a:cubicBezTo>
                      <a:pt x="47" y="113"/>
                      <a:pt x="47" y="113"/>
                      <a:pt x="47" y="113"/>
                    </a:cubicBezTo>
                    <a:cubicBezTo>
                      <a:pt x="21" y="113"/>
                      <a:pt x="0" y="134"/>
                      <a:pt x="0" y="160"/>
                    </a:cubicBezTo>
                    <a:cubicBezTo>
                      <a:pt x="0" y="1532"/>
                      <a:pt x="0" y="1532"/>
                      <a:pt x="0" y="1532"/>
                    </a:cubicBezTo>
                    <a:cubicBezTo>
                      <a:pt x="0" y="1558"/>
                      <a:pt x="21" y="1579"/>
                      <a:pt x="47" y="1579"/>
                    </a:cubicBezTo>
                    <a:cubicBezTo>
                      <a:pt x="1042" y="1579"/>
                      <a:pt x="1042" y="1579"/>
                      <a:pt x="1042" y="1579"/>
                    </a:cubicBezTo>
                    <a:cubicBezTo>
                      <a:pt x="1068" y="1579"/>
                      <a:pt x="1089" y="1558"/>
                      <a:pt x="1089" y="1532"/>
                    </a:cubicBezTo>
                    <a:cubicBezTo>
                      <a:pt x="1089" y="160"/>
                      <a:pt x="1089" y="160"/>
                      <a:pt x="1089" y="160"/>
                    </a:cubicBezTo>
                    <a:cubicBezTo>
                      <a:pt x="1089" y="134"/>
                      <a:pt x="1068" y="113"/>
                      <a:pt x="1042" y="113"/>
                    </a:cubicBezTo>
                    <a:close/>
                    <a:moveTo>
                      <a:pt x="995" y="1485"/>
                    </a:moveTo>
                    <a:cubicBezTo>
                      <a:pt x="93" y="1485"/>
                      <a:pt x="93" y="1485"/>
                      <a:pt x="93" y="1485"/>
                    </a:cubicBezTo>
                    <a:cubicBezTo>
                      <a:pt x="93" y="206"/>
                      <a:pt x="93" y="206"/>
                      <a:pt x="93" y="206"/>
                    </a:cubicBezTo>
                    <a:cubicBezTo>
                      <a:pt x="229" y="206"/>
                      <a:pt x="229" y="206"/>
                      <a:pt x="229" y="206"/>
                    </a:cubicBezTo>
                    <a:cubicBezTo>
                      <a:pt x="229" y="206"/>
                      <a:pt x="229" y="206"/>
                      <a:pt x="229" y="206"/>
                    </a:cubicBezTo>
                    <a:cubicBezTo>
                      <a:pt x="272" y="206"/>
                      <a:pt x="272" y="206"/>
                      <a:pt x="272" y="206"/>
                    </a:cubicBezTo>
                    <a:cubicBezTo>
                      <a:pt x="285" y="243"/>
                      <a:pt x="319" y="270"/>
                      <a:pt x="360" y="270"/>
                    </a:cubicBezTo>
                    <a:cubicBezTo>
                      <a:pt x="729" y="270"/>
                      <a:pt x="729" y="270"/>
                      <a:pt x="729" y="270"/>
                    </a:cubicBezTo>
                    <a:cubicBezTo>
                      <a:pt x="770" y="270"/>
                      <a:pt x="804" y="243"/>
                      <a:pt x="817" y="206"/>
                    </a:cubicBezTo>
                    <a:cubicBezTo>
                      <a:pt x="860" y="206"/>
                      <a:pt x="860" y="206"/>
                      <a:pt x="860" y="206"/>
                    </a:cubicBezTo>
                    <a:cubicBezTo>
                      <a:pt x="860" y="206"/>
                      <a:pt x="860" y="206"/>
                      <a:pt x="860" y="206"/>
                    </a:cubicBezTo>
                    <a:cubicBezTo>
                      <a:pt x="995" y="206"/>
                      <a:pt x="995" y="206"/>
                      <a:pt x="995" y="206"/>
                    </a:cubicBezTo>
                    <a:lnTo>
                      <a:pt x="995" y="1485"/>
                    </a:lnTo>
                    <a:close/>
                    <a:moveTo>
                      <a:pt x="995" y="1485"/>
                    </a:moveTo>
                    <a:cubicBezTo>
                      <a:pt x="995" y="1485"/>
                      <a:pt x="995" y="1485"/>
                      <a:pt x="995" y="1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17" name="Rectangle 9"/>
              <p:cNvSpPr>
                <a:spLocks noChangeArrowheads="1"/>
              </p:cNvSpPr>
              <p:nvPr/>
            </p:nvSpPr>
            <p:spPr bwMode="auto">
              <a:xfrm>
                <a:off x="4084638" y="-3460750"/>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18" name="Rectangle 10"/>
              <p:cNvSpPr>
                <a:spLocks noChangeArrowheads="1"/>
              </p:cNvSpPr>
              <p:nvPr/>
            </p:nvSpPr>
            <p:spPr bwMode="auto">
              <a:xfrm>
                <a:off x="4084638" y="-3052763"/>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19" name="Rectangle 11"/>
              <p:cNvSpPr>
                <a:spLocks noChangeArrowheads="1"/>
              </p:cNvSpPr>
              <p:nvPr/>
            </p:nvSpPr>
            <p:spPr bwMode="auto">
              <a:xfrm>
                <a:off x="4084638" y="-2644775"/>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20" name="Rectangle 12"/>
              <p:cNvSpPr>
                <a:spLocks noChangeArrowheads="1"/>
              </p:cNvSpPr>
              <p:nvPr/>
            </p:nvSpPr>
            <p:spPr bwMode="auto">
              <a:xfrm>
                <a:off x="4084638" y="-2236788"/>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grpSp>
      </p:grpSp>
      <p:cxnSp>
        <p:nvCxnSpPr>
          <p:cNvPr id="37" name="Straight Connector 36"/>
          <p:cNvCxnSpPr>
            <a:endCxn id="26" idx="0"/>
          </p:cNvCxnSpPr>
          <p:nvPr/>
        </p:nvCxnSpPr>
        <p:spPr>
          <a:xfrm>
            <a:off x="6893675" y="2291527"/>
            <a:ext cx="0" cy="710105"/>
          </a:xfrm>
          <a:prstGeom prst="lin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cxnSp>
      <p:grpSp>
        <p:nvGrpSpPr>
          <p:cNvPr id="38" name="Group 37"/>
          <p:cNvGrpSpPr/>
          <p:nvPr/>
        </p:nvGrpSpPr>
        <p:grpSpPr>
          <a:xfrm rot="16200000">
            <a:off x="6797341" y="2806639"/>
            <a:ext cx="192782" cy="192782"/>
            <a:chOff x="4149074" y="3145993"/>
            <a:chExt cx="331029" cy="337043"/>
          </a:xfrm>
        </p:grpSpPr>
        <p:sp>
          <p:nvSpPr>
            <p:cNvPr id="39" name="Rechthoek 11"/>
            <p:cNvSpPr>
              <a:spLocks/>
            </p:cNvSpPr>
            <p:nvPr/>
          </p:nvSpPr>
          <p:spPr>
            <a:xfrm rot="16200000">
              <a:off x="4146067" y="3149000"/>
              <a:ext cx="337043" cy="33102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GB" dirty="0">
                <a:solidFill>
                  <a:schemeClr val="bg1"/>
                </a:solidFill>
                <a:latin typeface="Calibri" pitchFamily="34" charset="0"/>
              </a:endParaRPr>
            </a:p>
          </p:txBody>
        </p:sp>
        <p:sp>
          <p:nvSpPr>
            <p:cNvPr id="40" name="Isosceles Triangle 1026"/>
            <p:cNvSpPr/>
            <p:nvPr/>
          </p:nvSpPr>
          <p:spPr>
            <a:xfrm rot="16200000">
              <a:off x="4244833" y="3279093"/>
              <a:ext cx="139512" cy="708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cxnSp>
        <p:nvCxnSpPr>
          <p:cNvPr id="48" name="Straight Connector 47"/>
          <p:cNvCxnSpPr/>
          <p:nvPr/>
        </p:nvCxnSpPr>
        <p:spPr>
          <a:xfrm>
            <a:off x="2236889" y="2291527"/>
            <a:ext cx="0" cy="710105"/>
          </a:xfrm>
          <a:prstGeom prst="lin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cxnSp>
      <p:grpSp>
        <p:nvGrpSpPr>
          <p:cNvPr id="49" name="Group 48"/>
          <p:cNvGrpSpPr/>
          <p:nvPr/>
        </p:nvGrpSpPr>
        <p:grpSpPr>
          <a:xfrm rot="5400000">
            <a:off x="2140559" y="2291521"/>
            <a:ext cx="192782" cy="192782"/>
            <a:chOff x="4149074" y="3145993"/>
            <a:chExt cx="331029" cy="337043"/>
          </a:xfrm>
        </p:grpSpPr>
        <p:sp>
          <p:nvSpPr>
            <p:cNvPr id="50" name="Rechthoek 11"/>
            <p:cNvSpPr>
              <a:spLocks/>
            </p:cNvSpPr>
            <p:nvPr/>
          </p:nvSpPr>
          <p:spPr>
            <a:xfrm rot="16200000">
              <a:off x="4146067" y="3149000"/>
              <a:ext cx="337043" cy="33102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GB" dirty="0">
                <a:solidFill>
                  <a:schemeClr val="bg1"/>
                </a:solidFill>
                <a:latin typeface="Calibri" pitchFamily="34" charset="0"/>
              </a:endParaRPr>
            </a:p>
          </p:txBody>
        </p:sp>
        <p:sp>
          <p:nvSpPr>
            <p:cNvPr id="51" name="Isosceles Triangle 1026"/>
            <p:cNvSpPr/>
            <p:nvPr/>
          </p:nvSpPr>
          <p:spPr>
            <a:xfrm rot="16200000">
              <a:off x="4244833" y="3279093"/>
              <a:ext cx="139512" cy="708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52" name="Group 51"/>
          <p:cNvGrpSpPr/>
          <p:nvPr/>
        </p:nvGrpSpPr>
        <p:grpSpPr>
          <a:xfrm>
            <a:off x="2994808" y="3296151"/>
            <a:ext cx="3135086" cy="300219"/>
            <a:chOff x="2850075" y="3216853"/>
            <a:chExt cx="4180114" cy="400292"/>
          </a:xfrm>
        </p:grpSpPr>
        <p:sp>
          <p:nvSpPr>
            <p:cNvPr id="53" name="Rectangle 52"/>
            <p:cNvSpPr/>
            <p:nvPr/>
          </p:nvSpPr>
          <p:spPr>
            <a:xfrm>
              <a:off x="2850075" y="3216853"/>
              <a:ext cx="4180114" cy="3696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4" name="TextBox 53"/>
            <p:cNvSpPr txBox="1"/>
            <p:nvPr/>
          </p:nvSpPr>
          <p:spPr>
            <a:xfrm>
              <a:off x="3366299" y="3247813"/>
              <a:ext cx="3162350" cy="369332"/>
            </a:xfrm>
            <a:prstGeom prst="rect">
              <a:avLst/>
            </a:prstGeom>
            <a:noFill/>
          </p:spPr>
          <p:txBody>
            <a:bodyPr wrap="square" rtlCol="0">
              <a:spAutoFit/>
            </a:bodyPr>
            <a:lstStyle/>
            <a:p>
              <a:pPr algn="ctr">
                <a:spcAft>
                  <a:spcPts val="900"/>
                </a:spcAft>
              </a:pPr>
              <a:r>
                <a:rPr lang="en-GB" sz="1200" b="1" dirty="0">
                  <a:solidFill>
                    <a:schemeClr val="accent2"/>
                  </a:solidFill>
                  <a:latin typeface="Calibri" pitchFamily="34" charset="0"/>
                </a:rPr>
                <a:t>Wholesale Market</a:t>
              </a:r>
            </a:p>
          </p:txBody>
        </p:sp>
      </p:grpSp>
      <p:grpSp>
        <p:nvGrpSpPr>
          <p:cNvPr id="45" name="Group 44"/>
          <p:cNvGrpSpPr/>
          <p:nvPr/>
        </p:nvGrpSpPr>
        <p:grpSpPr>
          <a:xfrm rot="16200000">
            <a:off x="2140499" y="2806639"/>
            <a:ext cx="192782" cy="192782"/>
            <a:chOff x="4149074" y="3145993"/>
            <a:chExt cx="331029" cy="337043"/>
          </a:xfrm>
        </p:grpSpPr>
        <p:sp>
          <p:nvSpPr>
            <p:cNvPr id="46" name="Rechthoek 11"/>
            <p:cNvSpPr>
              <a:spLocks/>
            </p:cNvSpPr>
            <p:nvPr/>
          </p:nvSpPr>
          <p:spPr>
            <a:xfrm rot="16200000">
              <a:off x="4146067" y="3149000"/>
              <a:ext cx="337043" cy="33102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GB" dirty="0">
                <a:solidFill>
                  <a:schemeClr val="bg1"/>
                </a:solidFill>
                <a:latin typeface="Calibri" pitchFamily="34" charset="0"/>
              </a:endParaRPr>
            </a:p>
          </p:txBody>
        </p:sp>
        <p:sp>
          <p:nvSpPr>
            <p:cNvPr id="47" name="Isosceles Triangle 1026"/>
            <p:cNvSpPr/>
            <p:nvPr/>
          </p:nvSpPr>
          <p:spPr>
            <a:xfrm rot="16200000">
              <a:off x="4244833" y="3279093"/>
              <a:ext cx="139512" cy="708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56" name="Group 55"/>
          <p:cNvGrpSpPr/>
          <p:nvPr/>
        </p:nvGrpSpPr>
        <p:grpSpPr>
          <a:xfrm rot="5400000">
            <a:off x="6803744" y="2291521"/>
            <a:ext cx="192782" cy="192782"/>
            <a:chOff x="4149074" y="3145993"/>
            <a:chExt cx="331029" cy="337043"/>
          </a:xfrm>
        </p:grpSpPr>
        <p:sp>
          <p:nvSpPr>
            <p:cNvPr id="58" name="Rechthoek 11"/>
            <p:cNvSpPr>
              <a:spLocks/>
            </p:cNvSpPr>
            <p:nvPr/>
          </p:nvSpPr>
          <p:spPr>
            <a:xfrm rot="16200000">
              <a:off x="4146067" y="3149000"/>
              <a:ext cx="337043" cy="33102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GB" dirty="0">
                <a:solidFill>
                  <a:schemeClr val="bg1"/>
                </a:solidFill>
                <a:latin typeface="Calibri" pitchFamily="34" charset="0"/>
              </a:endParaRPr>
            </a:p>
          </p:txBody>
        </p:sp>
        <p:sp>
          <p:nvSpPr>
            <p:cNvPr id="59" name="Isosceles Triangle 1026"/>
            <p:cNvSpPr/>
            <p:nvPr/>
          </p:nvSpPr>
          <p:spPr>
            <a:xfrm rot="16200000">
              <a:off x="4244833" y="3279093"/>
              <a:ext cx="139512" cy="708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spTree>
    <p:extLst>
      <p:ext uri="{BB962C8B-B14F-4D97-AF65-F5344CB8AC3E}">
        <p14:creationId xmlns:p14="http://schemas.microsoft.com/office/powerpoint/2010/main" val="423396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 calcmode="lin" valueType="num">
                                      <p:cBhvr>
                                        <p:cTn id="7" dur="750" fill="hold"/>
                                        <p:tgtEl>
                                          <p:spTgt spid="2"/>
                                        </p:tgtEl>
                                        <p:attrNameLst>
                                          <p:attrName>ppt_w</p:attrName>
                                        </p:attrNameLst>
                                      </p:cBhvr>
                                      <p:tavLst>
                                        <p:tav tm="0">
                                          <p:val>
                                            <p:fltVal val="0"/>
                                          </p:val>
                                        </p:tav>
                                        <p:tav tm="100000">
                                          <p:val>
                                            <p:strVal val="#ppt_w"/>
                                          </p:val>
                                        </p:tav>
                                      </p:tavLst>
                                    </p:anim>
                                    <p:anim calcmode="lin" valueType="num">
                                      <p:cBhvr>
                                        <p:cTn id="8" dur="750" fill="hold"/>
                                        <p:tgtEl>
                                          <p:spTgt spid="2"/>
                                        </p:tgtEl>
                                        <p:attrNameLst>
                                          <p:attrName>ppt_h</p:attrName>
                                        </p:attrNameLst>
                                      </p:cBhvr>
                                      <p:tavLst>
                                        <p:tav tm="0">
                                          <p:val>
                                            <p:fltVal val="0"/>
                                          </p:val>
                                        </p:tav>
                                        <p:tav tm="100000">
                                          <p:val>
                                            <p:strVal val="#ppt_h"/>
                                          </p:val>
                                        </p:tav>
                                      </p:tavLst>
                                    </p:anim>
                                    <p:animEffect transition="in" filter="fade">
                                      <p:cBhvr>
                                        <p:cTn id="9" dur="750"/>
                                        <p:tgtEl>
                                          <p:spTgt spid="2"/>
                                        </p:tgtEl>
                                      </p:cBhvr>
                                    </p:animEffect>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52"/>
                                        </p:tgtEl>
                                        <p:attrNameLst>
                                          <p:attrName>style.visibility</p:attrName>
                                        </p:attrNameLst>
                                      </p:cBhvr>
                                      <p:to>
                                        <p:strVal val="visible"/>
                                      </p:to>
                                    </p:set>
                                    <p:animEffect transition="in" filter="fade">
                                      <p:cBhvr>
                                        <p:cTn id="16" dur="500"/>
                                        <p:tgtEl>
                                          <p:spTgt spid="52"/>
                                        </p:tgtEl>
                                      </p:cBhvr>
                                    </p:animEffect>
                                  </p:childTnLst>
                                </p:cTn>
                              </p:par>
                              <p:par>
                                <p:cTn id="17" presetID="35" presetClass="path" presetSubtype="0" accel="50000" decel="50000" fill="hold" nodeType="withEffect">
                                  <p:stCondLst>
                                    <p:cond delay="250"/>
                                  </p:stCondLst>
                                  <p:childTnLst>
                                    <p:animMotion origin="layout" path="M 2.30769E-6 -0.02453 L 2.30769E-6 -2.59259E-6 " pathEditMode="relative" rAng="0" ptsTypes="AA">
                                      <p:cBhvr>
                                        <p:cTn id="18" dur="1000" fill="hold"/>
                                        <p:tgtEl>
                                          <p:spTgt spid="52"/>
                                        </p:tgtEl>
                                        <p:attrNameLst>
                                          <p:attrName>ppt_x</p:attrName>
                                          <p:attrName>ppt_y</p:attrName>
                                        </p:attrNameLst>
                                      </p:cBhvr>
                                      <p:rCtr x="0" y="1227"/>
                                    </p:animMotion>
                                  </p:childTnLst>
                                </p:cTn>
                              </p:par>
                              <p:par>
                                <p:cTn id="19" presetID="10" presetClass="entr" presetSubtype="0" fill="hold" nodeType="withEffect">
                                  <p:stCondLst>
                                    <p:cond delay="75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par>
                                <p:cTn id="22" presetID="35" presetClass="path" presetSubtype="0" accel="50000" decel="50000" fill="hold" nodeType="withEffect">
                                  <p:stCondLst>
                                    <p:cond delay="750"/>
                                  </p:stCondLst>
                                  <p:childTnLst>
                                    <p:animMotion origin="layout" path="M 0.08269 -4.07407E-6 L 0 -4.07407E-6 " pathEditMode="relative" rAng="0" ptsTypes="AA">
                                      <p:cBhvr>
                                        <p:cTn id="23" dur="1000" fill="hold"/>
                                        <p:tgtEl>
                                          <p:spTgt spid="31"/>
                                        </p:tgtEl>
                                        <p:attrNameLst>
                                          <p:attrName>ppt_x</p:attrName>
                                          <p:attrName>ppt_y</p:attrName>
                                        </p:attrNameLst>
                                      </p:cBhvr>
                                      <p:rCtr x="-4135" y="0"/>
                                    </p:animMotion>
                                  </p:childTnLst>
                                </p:cTn>
                              </p:par>
                              <p:par>
                                <p:cTn id="24" presetID="10" presetClass="entr" presetSubtype="0" fill="hold" nodeType="withEffect">
                                  <p:stCondLst>
                                    <p:cond delay="75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par>
                                <p:cTn id="27" presetID="35" presetClass="path" presetSubtype="0" accel="50000" decel="50000" fill="hold" nodeType="withEffect">
                                  <p:stCondLst>
                                    <p:cond delay="750"/>
                                  </p:stCondLst>
                                  <p:childTnLst>
                                    <p:animMotion origin="layout" path="M -0.07901 -4.07407E-6 L 2.82051E-6 -4.07407E-6 " pathEditMode="relative" rAng="0" ptsTypes="AA">
                                      <p:cBhvr>
                                        <p:cTn id="28" dur="1000" fill="hold"/>
                                        <p:tgtEl>
                                          <p:spTgt spid="32"/>
                                        </p:tgtEl>
                                        <p:attrNameLst>
                                          <p:attrName>ppt_x</p:attrName>
                                          <p:attrName>ppt_y</p:attrName>
                                        </p:attrNameLst>
                                      </p:cBhvr>
                                      <p:rCtr x="3942" y="0"/>
                                    </p:animMotion>
                                  </p:childTnLst>
                                </p:cTn>
                              </p:par>
                            </p:childTnLst>
                          </p:cTn>
                        </p:par>
                        <p:par>
                          <p:cTn id="29" fill="hold">
                            <p:stCondLst>
                              <p:cond delay="2750"/>
                            </p:stCondLst>
                            <p:childTnLst>
                              <p:par>
                                <p:cTn id="30" presetID="22" presetClass="entr" presetSubtype="1" fill="hold"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up)">
                                      <p:cBhvr>
                                        <p:cTn id="32" dur="1000"/>
                                        <p:tgtEl>
                                          <p:spTgt spid="37"/>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par>
                                <p:cTn id="36" presetID="35" presetClass="path" presetSubtype="0" accel="50000" decel="50000" fill="hold" nodeType="withEffect">
                                  <p:stCondLst>
                                    <p:cond delay="0"/>
                                  </p:stCondLst>
                                  <p:childTnLst>
                                    <p:animMotion origin="layout" path="M 0 -0.08518 L 0 -1.85185E-6 " pathEditMode="relative" rAng="0" ptsTypes="AA">
                                      <p:cBhvr>
                                        <p:cTn id="37" dur="1000" fill="hold"/>
                                        <p:tgtEl>
                                          <p:spTgt spid="38"/>
                                        </p:tgtEl>
                                        <p:attrNameLst>
                                          <p:attrName>ppt_x</p:attrName>
                                          <p:attrName>ppt_y</p:attrName>
                                        </p:attrNameLst>
                                      </p:cBhvr>
                                      <p:rCtr x="0" y="4259"/>
                                    </p:animMotion>
                                  </p:childTnLst>
                                </p:cTn>
                              </p:par>
                              <p:par>
                                <p:cTn id="38" presetID="22" presetClass="entr" presetSubtype="4" fill="hold" nodeType="with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wipe(down)">
                                      <p:cBhvr>
                                        <p:cTn id="40" dur="1000"/>
                                        <p:tgtEl>
                                          <p:spTgt spid="48"/>
                                        </p:tgtEl>
                                      </p:cBhvr>
                                    </p:animEffect>
                                  </p:childTnLst>
                                </p:cTn>
                              </p:par>
                              <p:par>
                                <p:cTn id="41" presetID="10" presetClass="entr" presetSubtype="0" fill="hold" nodeType="with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35" presetClass="path" presetSubtype="0" accel="50000" decel="50000" fill="hold" nodeType="withEffect">
                                  <p:stCondLst>
                                    <p:cond delay="0"/>
                                  </p:stCondLst>
                                  <p:childTnLst>
                                    <p:animMotion origin="layout" path="M 2.82051E-6 0.1 L 2.82051E-6 -1.85185E-6 " pathEditMode="relative" rAng="0" ptsTypes="AA">
                                      <p:cBhvr>
                                        <p:cTn id="45" dur="1000" fill="hold"/>
                                        <p:tgtEl>
                                          <p:spTgt spid="49"/>
                                        </p:tgtEl>
                                        <p:attrNameLst>
                                          <p:attrName>ppt_x</p:attrName>
                                          <p:attrName>ppt_y</p:attrName>
                                        </p:attrNameLst>
                                      </p:cBhvr>
                                      <p:rCtr x="0" y="-5000"/>
                                    </p:animMotion>
                                  </p:childTnLst>
                                </p:cTn>
                              </p:par>
                              <p:par>
                                <p:cTn id="46" presetID="10" presetClass="entr" presetSubtype="0" fill="hold" grpId="0" nodeType="with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fade">
                                      <p:cBhvr>
                                        <p:cTn id="48" dur="500"/>
                                        <p:tgtEl>
                                          <p:spTgt spid="5"/>
                                        </p:tgtEl>
                                      </p:cBhvr>
                                    </p:animEffect>
                                  </p:childTnLst>
                                </p:cTn>
                              </p:par>
                              <p:par>
                                <p:cTn id="49" presetID="10" presetClass="entr" presetSubtype="0" fill="hold" nodeType="with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500"/>
                                        <p:tgtEl>
                                          <p:spTgt spid="33"/>
                                        </p:tgtEl>
                                      </p:cBhvr>
                                    </p:animEffect>
                                  </p:childTnLst>
                                </p:cTn>
                              </p:par>
                              <p:par>
                                <p:cTn id="52" presetID="35" presetClass="path" presetSubtype="0" accel="50000" decel="50000" fill="hold" nodeType="withEffect">
                                  <p:stCondLst>
                                    <p:cond delay="0"/>
                                  </p:stCondLst>
                                  <p:childTnLst>
                                    <p:animMotion origin="layout" path="M -0.4125 -2.59259E-6 L 1.53846E-6 -2.59259E-6 " pathEditMode="relative" rAng="0" ptsTypes="AA">
                                      <p:cBhvr>
                                        <p:cTn id="53" dur="1000" fill="hold"/>
                                        <p:tgtEl>
                                          <p:spTgt spid="33"/>
                                        </p:tgtEl>
                                        <p:attrNameLst>
                                          <p:attrName>ppt_x</p:attrName>
                                          <p:attrName>ppt_y</p:attrName>
                                        </p:attrNameLst>
                                      </p:cBhvr>
                                      <p:rCtr x="20625" y="0"/>
                                    </p:animMotion>
                                  </p:childTnLst>
                                </p:cTn>
                              </p:par>
                              <p:par>
                                <p:cTn id="54" presetID="10" presetClass="entr" presetSubtype="0" fill="hold" nodeType="withEffect">
                                  <p:stCondLst>
                                    <p:cond delay="0"/>
                                  </p:stCondLst>
                                  <p:childTnLst>
                                    <p:set>
                                      <p:cBhvr>
                                        <p:cTn id="55" dur="1" fill="hold">
                                          <p:stCondLst>
                                            <p:cond delay="0"/>
                                          </p:stCondLst>
                                        </p:cTn>
                                        <p:tgtEl>
                                          <p:spTgt spid="56"/>
                                        </p:tgtEl>
                                        <p:attrNameLst>
                                          <p:attrName>style.visibility</p:attrName>
                                        </p:attrNameLst>
                                      </p:cBhvr>
                                      <p:to>
                                        <p:strVal val="visible"/>
                                      </p:to>
                                    </p:set>
                                    <p:animEffect transition="in" filter="fade">
                                      <p:cBhvr>
                                        <p:cTn id="56" dur="500"/>
                                        <p:tgtEl>
                                          <p:spTgt spid="56"/>
                                        </p:tgtEl>
                                      </p:cBhvr>
                                    </p:animEffect>
                                  </p:childTnLst>
                                </p:cTn>
                              </p:par>
                              <p:par>
                                <p:cTn id="57" presetID="35" presetClass="path" presetSubtype="0" accel="50000" decel="50000" fill="hold" nodeType="withEffect">
                                  <p:stCondLst>
                                    <p:cond delay="0"/>
                                  </p:stCondLst>
                                  <p:childTnLst>
                                    <p:animMotion origin="layout" path="M 2.82051E-6 0.1 L 2.82051E-6 -1.85185E-6 " pathEditMode="relative" rAng="0" ptsTypes="AA">
                                      <p:cBhvr>
                                        <p:cTn id="58" dur="1000" fill="hold"/>
                                        <p:tgtEl>
                                          <p:spTgt spid="56"/>
                                        </p:tgtEl>
                                        <p:attrNameLst>
                                          <p:attrName>ppt_x</p:attrName>
                                          <p:attrName>ppt_y</p:attrName>
                                        </p:attrNameLst>
                                      </p:cBhvr>
                                      <p:rCtr x="0" y="-5000"/>
                                    </p:animMotion>
                                  </p:childTnLst>
                                </p:cTn>
                              </p:par>
                              <p:par>
                                <p:cTn id="59" presetID="10" presetClass="entr" presetSubtype="0" fill="hold" nodeType="with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fade">
                                      <p:cBhvr>
                                        <p:cTn id="61" dur="500"/>
                                        <p:tgtEl>
                                          <p:spTgt spid="45"/>
                                        </p:tgtEl>
                                      </p:cBhvr>
                                    </p:animEffect>
                                  </p:childTnLst>
                                </p:cTn>
                              </p:par>
                              <p:par>
                                <p:cTn id="62" presetID="35" presetClass="path" presetSubtype="0" accel="50000" decel="50000" fill="hold" nodeType="withEffect">
                                  <p:stCondLst>
                                    <p:cond delay="0"/>
                                  </p:stCondLst>
                                  <p:childTnLst>
                                    <p:animMotion origin="layout" path="M 0 -0.08518 L 0 -1.85185E-6 " pathEditMode="relative" rAng="0" ptsTypes="AA">
                                      <p:cBhvr>
                                        <p:cTn id="63" dur="1000" fill="hold"/>
                                        <p:tgtEl>
                                          <p:spTgt spid="45"/>
                                        </p:tgtEl>
                                        <p:attrNameLst>
                                          <p:attrName>ppt_x</p:attrName>
                                          <p:attrName>ppt_y</p:attrName>
                                        </p:attrNameLst>
                                      </p:cBhvr>
                                      <p:rCtr x="0" y="42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2670063" y="3296152"/>
            <a:ext cx="3790444" cy="284830"/>
            <a:chOff x="2417080" y="3216853"/>
            <a:chExt cx="5053925" cy="379774"/>
          </a:xfrm>
        </p:grpSpPr>
        <p:sp>
          <p:nvSpPr>
            <p:cNvPr id="44" name="Rectangle 43"/>
            <p:cNvSpPr/>
            <p:nvPr/>
          </p:nvSpPr>
          <p:spPr>
            <a:xfrm>
              <a:off x="2505075" y="3216853"/>
              <a:ext cx="4880205" cy="369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5" name="TextBox 44"/>
            <p:cNvSpPr txBox="1"/>
            <p:nvPr/>
          </p:nvSpPr>
          <p:spPr>
            <a:xfrm>
              <a:off x="2417080" y="3247813"/>
              <a:ext cx="5053925" cy="348814"/>
            </a:xfrm>
            <a:prstGeom prst="rect">
              <a:avLst/>
            </a:prstGeom>
            <a:noFill/>
          </p:spPr>
          <p:txBody>
            <a:bodyPr wrap="square" rtlCol="0">
              <a:spAutoFit/>
            </a:bodyPr>
            <a:lstStyle/>
            <a:p>
              <a:pPr algn="ctr">
                <a:spcAft>
                  <a:spcPts val="900"/>
                </a:spcAft>
              </a:pPr>
              <a:r>
                <a:rPr lang="en-GB" sz="1100" dirty="0">
                  <a:solidFill>
                    <a:schemeClr val="bg1"/>
                  </a:solidFill>
                  <a:latin typeface="Calibri" pitchFamily="34" charset="0"/>
                </a:rPr>
                <a:t>USEF describes the interaction in a market with three variables:</a:t>
              </a:r>
            </a:p>
          </p:txBody>
        </p:sp>
      </p:grpSp>
      <p:sp>
        <p:nvSpPr>
          <p:cNvPr id="7" name="Rectangle 6"/>
          <p:cNvSpPr/>
          <p:nvPr/>
        </p:nvSpPr>
        <p:spPr>
          <a:xfrm>
            <a:off x="1062038" y="3001624"/>
            <a:ext cx="7029450" cy="8663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p>
        </p:txBody>
      </p:sp>
      <p:sp>
        <p:nvSpPr>
          <p:cNvPr id="5" name="Rectangle 4"/>
          <p:cNvSpPr/>
          <p:nvPr/>
        </p:nvSpPr>
        <p:spPr>
          <a:xfrm>
            <a:off x="1062038" y="1425178"/>
            <a:ext cx="7029450" cy="8663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68563" tIns="34285" rIns="68563" bIns="34285" rtlCol="0" anchor="ctr"/>
          <a:lstStyle/>
          <a:p>
            <a:pPr algn="ctr"/>
            <a:endParaRPr lang="en-GB" dirty="0"/>
          </a:p>
        </p:txBody>
      </p:sp>
      <p:sp>
        <p:nvSpPr>
          <p:cNvPr id="47" name="Rechthoek 11"/>
          <p:cNvSpPr>
            <a:spLocks noChangeAspect="1"/>
          </p:cNvSpPr>
          <p:nvPr/>
        </p:nvSpPr>
        <p:spPr>
          <a:xfrm>
            <a:off x="1803719" y="2221924"/>
            <a:ext cx="866342" cy="866342"/>
          </a:xfrm>
          <a:prstGeom prst="rect">
            <a:avLst/>
          </a:prstGeom>
          <a:solidFill>
            <a:schemeClr val="accent2">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4285" rIns="0" bIns="34285" rtlCol="0" anchor="b"/>
          <a:lstStyle/>
          <a:p>
            <a:pPr algn="ctr"/>
            <a:endParaRPr lang="en-GB" dirty="0">
              <a:solidFill>
                <a:schemeClr val="bg1"/>
              </a:solidFill>
              <a:latin typeface="Calibri" pitchFamily="34" charset="0"/>
            </a:endParaRPr>
          </a:p>
        </p:txBody>
      </p:sp>
      <p:sp>
        <p:nvSpPr>
          <p:cNvPr id="59" name="Rechthoek 11"/>
          <p:cNvSpPr>
            <a:spLocks noChangeAspect="1"/>
          </p:cNvSpPr>
          <p:nvPr/>
        </p:nvSpPr>
        <p:spPr>
          <a:xfrm>
            <a:off x="6460504" y="2221924"/>
            <a:ext cx="866342" cy="866342"/>
          </a:xfrm>
          <a:prstGeom prst="rect">
            <a:avLst/>
          </a:prstGeom>
          <a:solidFill>
            <a:schemeClr val="accent2">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4285" rIns="0" bIns="34285" rtlCol="0" anchor="b"/>
          <a:lstStyle/>
          <a:p>
            <a:pPr algn="ctr"/>
            <a:endParaRPr lang="en-GB" dirty="0">
              <a:solidFill>
                <a:schemeClr val="bg1"/>
              </a:solidFill>
              <a:latin typeface="Calibri" pitchFamily="34" charset="0"/>
            </a:endParaRPr>
          </a:p>
        </p:txBody>
      </p:sp>
      <p:sp>
        <p:nvSpPr>
          <p:cNvPr id="60" name="Rechthoek 11"/>
          <p:cNvSpPr>
            <a:spLocks noChangeAspect="1"/>
          </p:cNvSpPr>
          <p:nvPr/>
        </p:nvSpPr>
        <p:spPr>
          <a:xfrm>
            <a:off x="4138763" y="2221924"/>
            <a:ext cx="866342" cy="866342"/>
          </a:xfrm>
          <a:prstGeom prst="rect">
            <a:avLst/>
          </a:prstGeom>
          <a:solidFill>
            <a:schemeClr val="accent3">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4285" rIns="0" bIns="34285" rtlCol="0" anchor="b"/>
          <a:lstStyle/>
          <a:p>
            <a:pPr algn="ctr"/>
            <a:endParaRPr lang="en-GB" dirty="0">
              <a:solidFill>
                <a:schemeClr val="bg1"/>
              </a:solidFill>
              <a:latin typeface="Calibri" pitchFamily="34" charset="0"/>
            </a:endParaRPr>
          </a:p>
        </p:txBody>
      </p:sp>
      <p:grpSp>
        <p:nvGrpSpPr>
          <p:cNvPr id="52" name="Group 51"/>
          <p:cNvGrpSpPr/>
          <p:nvPr/>
        </p:nvGrpSpPr>
        <p:grpSpPr>
          <a:xfrm>
            <a:off x="2994808" y="3296151"/>
            <a:ext cx="3135086" cy="300219"/>
            <a:chOff x="2850075" y="3216853"/>
            <a:chExt cx="4180114" cy="400292"/>
          </a:xfrm>
        </p:grpSpPr>
        <p:sp>
          <p:nvSpPr>
            <p:cNvPr id="53" name="Rectangle 52"/>
            <p:cNvSpPr/>
            <p:nvPr/>
          </p:nvSpPr>
          <p:spPr>
            <a:xfrm>
              <a:off x="2850075" y="3216853"/>
              <a:ext cx="4180114" cy="3696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000" b="1" dirty="0"/>
            </a:p>
          </p:txBody>
        </p:sp>
        <p:sp>
          <p:nvSpPr>
            <p:cNvPr id="54" name="TextBox 53"/>
            <p:cNvSpPr txBox="1"/>
            <p:nvPr/>
          </p:nvSpPr>
          <p:spPr>
            <a:xfrm>
              <a:off x="3366299" y="3247813"/>
              <a:ext cx="3162350" cy="369332"/>
            </a:xfrm>
            <a:prstGeom prst="rect">
              <a:avLst/>
            </a:prstGeom>
            <a:noFill/>
          </p:spPr>
          <p:txBody>
            <a:bodyPr wrap="square" rtlCol="0">
              <a:spAutoFit/>
            </a:bodyPr>
            <a:lstStyle/>
            <a:p>
              <a:pPr algn="ctr">
                <a:spcAft>
                  <a:spcPts val="900"/>
                </a:spcAft>
              </a:pPr>
              <a:r>
                <a:rPr lang="en-GB" sz="1200" b="1" dirty="0">
                  <a:solidFill>
                    <a:schemeClr val="accent2"/>
                  </a:solidFill>
                  <a:latin typeface="Calibri" pitchFamily="34" charset="0"/>
                </a:rPr>
                <a:t>Wholesale Market</a:t>
              </a:r>
            </a:p>
          </p:txBody>
        </p:sp>
      </p:grpSp>
      <p:grpSp>
        <p:nvGrpSpPr>
          <p:cNvPr id="33" name="Group 32"/>
          <p:cNvGrpSpPr/>
          <p:nvPr/>
        </p:nvGrpSpPr>
        <p:grpSpPr>
          <a:xfrm>
            <a:off x="4132112" y="1425178"/>
            <a:ext cx="866342" cy="866342"/>
            <a:chOff x="4373852" y="1900238"/>
            <a:chExt cx="1155122" cy="1155122"/>
          </a:xfrm>
        </p:grpSpPr>
        <p:sp>
          <p:nvSpPr>
            <p:cNvPr id="6" name="Rechthoek 11"/>
            <p:cNvSpPr>
              <a:spLocks noChangeAspect="1"/>
            </p:cNvSpPr>
            <p:nvPr/>
          </p:nvSpPr>
          <p:spPr>
            <a:xfrm>
              <a:off x="4373852" y="1900238"/>
              <a:ext cx="1155122" cy="115512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b"/>
            <a:lstStyle/>
            <a:p>
              <a:pPr algn="ctr"/>
              <a:r>
                <a:rPr lang="en-GB" sz="1600" dirty="0">
                  <a:solidFill>
                    <a:schemeClr val="bg1"/>
                  </a:solidFill>
                  <a:latin typeface="Calibri" pitchFamily="34" charset="0"/>
                </a:rPr>
                <a:t>Flexibility</a:t>
              </a:r>
            </a:p>
          </p:txBody>
        </p:sp>
        <p:grpSp>
          <p:nvGrpSpPr>
            <p:cNvPr id="8" name="Group 65"/>
            <p:cNvGrpSpPr/>
            <p:nvPr/>
          </p:nvGrpSpPr>
          <p:grpSpPr>
            <a:xfrm>
              <a:off x="4767681" y="2181450"/>
              <a:ext cx="338674" cy="331974"/>
              <a:chOff x="7112001" y="-3495675"/>
              <a:chExt cx="2889250" cy="2832100"/>
            </a:xfrm>
            <a:solidFill>
              <a:schemeClr val="bg1"/>
            </a:solidFill>
          </p:grpSpPr>
          <p:sp>
            <p:nvSpPr>
              <p:cNvPr id="9" name="Freeform 13"/>
              <p:cNvSpPr>
                <a:spLocks noEditPoints="1"/>
              </p:cNvSpPr>
              <p:nvPr/>
            </p:nvSpPr>
            <p:spPr bwMode="auto">
              <a:xfrm>
                <a:off x="7112001" y="-3495675"/>
                <a:ext cx="1774825" cy="1244600"/>
              </a:xfrm>
              <a:custGeom>
                <a:avLst/>
                <a:gdLst>
                  <a:gd name="T0" fmla="*/ 153 w 697"/>
                  <a:gd name="T1" fmla="*/ 488 h 488"/>
                  <a:gd name="T2" fmla="*/ 265 w 697"/>
                  <a:gd name="T3" fmla="*/ 377 h 488"/>
                  <a:gd name="T4" fmla="*/ 204 w 697"/>
                  <a:gd name="T5" fmla="*/ 316 h 488"/>
                  <a:gd name="T6" fmla="*/ 204 w 697"/>
                  <a:gd name="T7" fmla="*/ 204 h 488"/>
                  <a:gd name="T8" fmla="*/ 316 w 697"/>
                  <a:gd name="T9" fmla="*/ 204 h 488"/>
                  <a:gd name="T10" fmla="*/ 586 w 697"/>
                  <a:gd name="T11" fmla="*/ 474 h 488"/>
                  <a:gd name="T12" fmla="*/ 697 w 697"/>
                  <a:gd name="T13" fmla="*/ 362 h 488"/>
                  <a:gd name="T14" fmla="*/ 428 w 697"/>
                  <a:gd name="T15" fmla="*/ 92 h 488"/>
                  <a:gd name="T16" fmla="*/ 92 w 697"/>
                  <a:gd name="T17" fmla="*/ 92 h 488"/>
                  <a:gd name="T18" fmla="*/ 92 w 697"/>
                  <a:gd name="T19" fmla="*/ 427 h 488"/>
                  <a:gd name="T20" fmla="*/ 153 w 697"/>
                  <a:gd name="T21" fmla="*/ 488 h 488"/>
                  <a:gd name="T22" fmla="*/ 153 w 697"/>
                  <a:gd name="T23" fmla="*/ 488 h 488"/>
                  <a:gd name="T24" fmla="*/ 153 w 697"/>
                  <a:gd name="T25"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488">
                    <a:moveTo>
                      <a:pt x="153" y="488"/>
                    </a:moveTo>
                    <a:cubicBezTo>
                      <a:pt x="265" y="377"/>
                      <a:pt x="265" y="377"/>
                      <a:pt x="265" y="377"/>
                    </a:cubicBezTo>
                    <a:cubicBezTo>
                      <a:pt x="204" y="316"/>
                      <a:pt x="204" y="316"/>
                      <a:pt x="204" y="316"/>
                    </a:cubicBezTo>
                    <a:cubicBezTo>
                      <a:pt x="173" y="285"/>
                      <a:pt x="173" y="235"/>
                      <a:pt x="204" y="204"/>
                    </a:cubicBezTo>
                    <a:cubicBezTo>
                      <a:pt x="235" y="173"/>
                      <a:pt x="285" y="173"/>
                      <a:pt x="316" y="204"/>
                    </a:cubicBezTo>
                    <a:cubicBezTo>
                      <a:pt x="586" y="474"/>
                      <a:pt x="586" y="474"/>
                      <a:pt x="586" y="474"/>
                    </a:cubicBezTo>
                    <a:cubicBezTo>
                      <a:pt x="697" y="362"/>
                      <a:pt x="697" y="362"/>
                      <a:pt x="697" y="362"/>
                    </a:cubicBezTo>
                    <a:cubicBezTo>
                      <a:pt x="428" y="92"/>
                      <a:pt x="428" y="92"/>
                      <a:pt x="428" y="92"/>
                    </a:cubicBezTo>
                    <a:cubicBezTo>
                      <a:pt x="335" y="0"/>
                      <a:pt x="185" y="0"/>
                      <a:pt x="92" y="92"/>
                    </a:cubicBezTo>
                    <a:cubicBezTo>
                      <a:pt x="0" y="185"/>
                      <a:pt x="0" y="335"/>
                      <a:pt x="92" y="427"/>
                    </a:cubicBezTo>
                    <a:lnTo>
                      <a:pt x="153" y="488"/>
                    </a:lnTo>
                    <a:close/>
                    <a:moveTo>
                      <a:pt x="153" y="488"/>
                    </a:moveTo>
                    <a:cubicBezTo>
                      <a:pt x="153" y="488"/>
                      <a:pt x="153" y="488"/>
                      <a:pt x="153" y="4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latin typeface="Calibri" pitchFamily="34" charset="0"/>
                </a:endParaRPr>
              </a:p>
            </p:txBody>
          </p:sp>
          <p:sp>
            <p:nvSpPr>
              <p:cNvPr id="10" name="Freeform 14"/>
              <p:cNvSpPr>
                <a:spLocks noEditPoints="1"/>
              </p:cNvSpPr>
              <p:nvPr/>
            </p:nvSpPr>
            <p:spPr bwMode="auto">
              <a:xfrm>
                <a:off x="8224838" y="-1851025"/>
                <a:ext cx="1776413" cy="1187450"/>
              </a:xfrm>
              <a:custGeom>
                <a:avLst/>
                <a:gdLst>
                  <a:gd name="T0" fmla="*/ 544 w 697"/>
                  <a:gd name="T1" fmla="*/ 0 h 466"/>
                  <a:gd name="T2" fmla="*/ 432 w 697"/>
                  <a:gd name="T3" fmla="*/ 112 h 466"/>
                  <a:gd name="T4" fmla="*/ 493 w 697"/>
                  <a:gd name="T5" fmla="*/ 173 h 466"/>
                  <a:gd name="T6" fmla="*/ 493 w 697"/>
                  <a:gd name="T7" fmla="*/ 285 h 466"/>
                  <a:gd name="T8" fmla="*/ 381 w 697"/>
                  <a:gd name="T9" fmla="*/ 285 h 466"/>
                  <a:gd name="T10" fmla="*/ 111 w 697"/>
                  <a:gd name="T11" fmla="*/ 15 h 466"/>
                  <a:gd name="T12" fmla="*/ 0 w 697"/>
                  <a:gd name="T13" fmla="*/ 127 h 466"/>
                  <a:gd name="T14" fmla="*/ 269 w 697"/>
                  <a:gd name="T15" fmla="*/ 396 h 466"/>
                  <a:gd name="T16" fmla="*/ 437 w 697"/>
                  <a:gd name="T17" fmla="*/ 466 h 466"/>
                  <a:gd name="T18" fmla="*/ 605 w 697"/>
                  <a:gd name="T19" fmla="*/ 396 h 466"/>
                  <a:gd name="T20" fmla="*/ 605 w 697"/>
                  <a:gd name="T21" fmla="*/ 61 h 466"/>
                  <a:gd name="T22" fmla="*/ 544 w 697"/>
                  <a:gd name="T23" fmla="*/ 0 h 466"/>
                  <a:gd name="T24" fmla="*/ 544 w 697"/>
                  <a:gd name="T25" fmla="*/ 0 h 466"/>
                  <a:gd name="T26" fmla="*/ 544 w 697"/>
                  <a:gd name="T27"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7" h="466">
                    <a:moveTo>
                      <a:pt x="544" y="0"/>
                    </a:moveTo>
                    <a:cubicBezTo>
                      <a:pt x="432" y="112"/>
                      <a:pt x="432" y="112"/>
                      <a:pt x="432" y="112"/>
                    </a:cubicBezTo>
                    <a:cubicBezTo>
                      <a:pt x="493" y="173"/>
                      <a:pt x="493" y="173"/>
                      <a:pt x="493" y="173"/>
                    </a:cubicBezTo>
                    <a:cubicBezTo>
                      <a:pt x="524" y="204"/>
                      <a:pt x="524" y="254"/>
                      <a:pt x="493" y="285"/>
                    </a:cubicBezTo>
                    <a:cubicBezTo>
                      <a:pt x="462" y="315"/>
                      <a:pt x="412" y="315"/>
                      <a:pt x="381" y="285"/>
                    </a:cubicBezTo>
                    <a:cubicBezTo>
                      <a:pt x="111" y="15"/>
                      <a:pt x="111" y="15"/>
                      <a:pt x="111" y="15"/>
                    </a:cubicBezTo>
                    <a:cubicBezTo>
                      <a:pt x="0" y="127"/>
                      <a:pt x="0" y="127"/>
                      <a:pt x="0" y="127"/>
                    </a:cubicBezTo>
                    <a:cubicBezTo>
                      <a:pt x="269" y="396"/>
                      <a:pt x="269" y="396"/>
                      <a:pt x="269" y="396"/>
                    </a:cubicBezTo>
                    <a:cubicBezTo>
                      <a:pt x="316" y="443"/>
                      <a:pt x="376" y="466"/>
                      <a:pt x="437" y="466"/>
                    </a:cubicBezTo>
                    <a:cubicBezTo>
                      <a:pt x="498" y="466"/>
                      <a:pt x="558" y="443"/>
                      <a:pt x="605" y="396"/>
                    </a:cubicBezTo>
                    <a:cubicBezTo>
                      <a:pt x="697" y="304"/>
                      <a:pt x="697" y="154"/>
                      <a:pt x="605" y="61"/>
                    </a:cubicBezTo>
                    <a:lnTo>
                      <a:pt x="544" y="0"/>
                    </a:lnTo>
                    <a:close/>
                    <a:moveTo>
                      <a:pt x="544" y="0"/>
                    </a:moveTo>
                    <a:cubicBezTo>
                      <a:pt x="544" y="0"/>
                      <a:pt x="544" y="0"/>
                      <a:pt x="5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latin typeface="Calibri" pitchFamily="34" charset="0"/>
                </a:endParaRPr>
              </a:p>
            </p:txBody>
          </p:sp>
          <p:sp>
            <p:nvSpPr>
              <p:cNvPr id="11" name="Freeform 15"/>
              <p:cNvSpPr>
                <a:spLocks noEditPoints="1"/>
              </p:cNvSpPr>
              <p:nvPr/>
            </p:nvSpPr>
            <p:spPr bwMode="auto">
              <a:xfrm>
                <a:off x="8755063" y="-3495675"/>
                <a:ext cx="1246188" cy="1776412"/>
              </a:xfrm>
              <a:custGeom>
                <a:avLst/>
                <a:gdLst>
                  <a:gd name="T0" fmla="*/ 173 w 489"/>
                  <a:gd name="T1" fmla="*/ 204 h 697"/>
                  <a:gd name="T2" fmla="*/ 285 w 489"/>
                  <a:gd name="T3" fmla="*/ 204 h 697"/>
                  <a:gd name="T4" fmla="*/ 285 w 489"/>
                  <a:gd name="T5" fmla="*/ 316 h 697"/>
                  <a:gd name="T6" fmla="*/ 15 w 489"/>
                  <a:gd name="T7" fmla="*/ 585 h 697"/>
                  <a:gd name="T8" fmla="*/ 127 w 489"/>
                  <a:gd name="T9" fmla="*/ 697 h 697"/>
                  <a:gd name="T10" fmla="*/ 397 w 489"/>
                  <a:gd name="T11" fmla="*/ 427 h 697"/>
                  <a:gd name="T12" fmla="*/ 397 w 489"/>
                  <a:gd name="T13" fmla="*/ 92 h 697"/>
                  <a:gd name="T14" fmla="*/ 61 w 489"/>
                  <a:gd name="T15" fmla="*/ 92 h 697"/>
                  <a:gd name="T16" fmla="*/ 0 w 489"/>
                  <a:gd name="T17" fmla="*/ 153 h 697"/>
                  <a:gd name="T18" fmla="*/ 112 w 489"/>
                  <a:gd name="T19" fmla="*/ 265 h 697"/>
                  <a:gd name="T20" fmla="*/ 173 w 489"/>
                  <a:gd name="T21" fmla="*/ 204 h 697"/>
                  <a:gd name="T22" fmla="*/ 173 w 489"/>
                  <a:gd name="T23" fmla="*/ 204 h 697"/>
                  <a:gd name="T24" fmla="*/ 173 w 489"/>
                  <a:gd name="T25" fmla="*/ 20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9" h="697">
                    <a:moveTo>
                      <a:pt x="173" y="204"/>
                    </a:moveTo>
                    <a:cubicBezTo>
                      <a:pt x="204" y="173"/>
                      <a:pt x="254" y="173"/>
                      <a:pt x="285" y="204"/>
                    </a:cubicBezTo>
                    <a:cubicBezTo>
                      <a:pt x="316" y="235"/>
                      <a:pt x="316" y="285"/>
                      <a:pt x="285" y="316"/>
                    </a:cubicBezTo>
                    <a:cubicBezTo>
                      <a:pt x="15" y="585"/>
                      <a:pt x="15" y="585"/>
                      <a:pt x="15" y="585"/>
                    </a:cubicBezTo>
                    <a:cubicBezTo>
                      <a:pt x="127" y="697"/>
                      <a:pt x="127" y="697"/>
                      <a:pt x="127" y="697"/>
                    </a:cubicBezTo>
                    <a:cubicBezTo>
                      <a:pt x="397" y="427"/>
                      <a:pt x="397" y="427"/>
                      <a:pt x="397" y="427"/>
                    </a:cubicBezTo>
                    <a:cubicBezTo>
                      <a:pt x="489" y="335"/>
                      <a:pt x="489" y="185"/>
                      <a:pt x="397" y="92"/>
                    </a:cubicBezTo>
                    <a:cubicBezTo>
                      <a:pt x="304" y="0"/>
                      <a:pt x="154" y="0"/>
                      <a:pt x="61" y="92"/>
                    </a:cubicBezTo>
                    <a:cubicBezTo>
                      <a:pt x="0" y="153"/>
                      <a:pt x="0" y="153"/>
                      <a:pt x="0" y="153"/>
                    </a:cubicBezTo>
                    <a:cubicBezTo>
                      <a:pt x="112" y="265"/>
                      <a:pt x="112" y="265"/>
                      <a:pt x="112" y="265"/>
                    </a:cubicBezTo>
                    <a:lnTo>
                      <a:pt x="173" y="204"/>
                    </a:lnTo>
                    <a:close/>
                    <a:moveTo>
                      <a:pt x="173" y="204"/>
                    </a:moveTo>
                    <a:cubicBezTo>
                      <a:pt x="173" y="204"/>
                      <a:pt x="173" y="204"/>
                      <a:pt x="173" y="2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latin typeface="Calibri" pitchFamily="34" charset="0"/>
                </a:endParaRPr>
              </a:p>
            </p:txBody>
          </p:sp>
          <p:sp>
            <p:nvSpPr>
              <p:cNvPr id="12" name="Freeform 16"/>
              <p:cNvSpPr>
                <a:spLocks noEditPoints="1"/>
              </p:cNvSpPr>
              <p:nvPr/>
            </p:nvSpPr>
            <p:spPr bwMode="auto">
              <a:xfrm>
                <a:off x="7112001" y="-2384425"/>
                <a:ext cx="1244600" cy="1720850"/>
              </a:xfrm>
              <a:custGeom>
                <a:avLst/>
                <a:gdLst>
                  <a:gd name="T0" fmla="*/ 316 w 489"/>
                  <a:gd name="T1" fmla="*/ 494 h 675"/>
                  <a:gd name="T2" fmla="*/ 204 w 489"/>
                  <a:gd name="T3" fmla="*/ 494 h 675"/>
                  <a:gd name="T4" fmla="*/ 204 w 489"/>
                  <a:gd name="T5" fmla="*/ 382 h 675"/>
                  <a:gd name="T6" fmla="*/ 474 w 489"/>
                  <a:gd name="T7" fmla="*/ 112 h 675"/>
                  <a:gd name="T8" fmla="*/ 362 w 489"/>
                  <a:gd name="T9" fmla="*/ 0 h 675"/>
                  <a:gd name="T10" fmla="*/ 92 w 489"/>
                  <a:gd name="T11" fmla="*/ 270 h 675"/>
                  <a:gd name="T12" fmla="*/ 92 w 489"/>
                  <a:gd name="T13" fmla="*/ 605 h 675"/>
                  <a:gd name="T14" fmla="*/ 260 w 489"/>
                  <a:gd name="T15" fmla="*/ 675 h 675"/>
                  <a:gd name="T16" fmla="*/ 428 w 489"/>
                  <a:gd name="T17" fmla="*/ 605 h 675"/>
                  <a:gd name="T18" fmla="*/ 489 w 489"/>
                  <a:gd name="T19" fmla="*/ 544 h 675"/>
                  <a:gd name="T20" fmla="*/ 377 w 489"/>
                  <a:gd name="T21" fmla="*/ 433 h 675"/>
                  <a:gd name="T22" fmla="*/ 316 w 489"/>
                  <a:gd name="T23" fmla="*/ 494 h 675"/>
                  <a:gd name="T24" fmla="*/ 316 w 489"/>
                  <a:gd name="T25" fmla="*/ 494 h 675"/>
                  <a:gd name="T26" fmla="*/ 316 w 489"/>
                  <a:gd name="T27" fmla="*/ 494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675">
                    <a:moveTo>
                      <a:pt x="316" y="494"/>
                    </a:moveTo>
                    <a:cubicBezTo>
                      <a:pt x="285" y="524"/>
                      <a:pt x="235" y="524"/>
                      <a:pt x="204" y="494"/>
                    </a:cubicBezTo>
                    <a:cubicBezTo>
                      <a:pt x="173" y="463"/>
                      <a:pt x="173" y="413"/>
                      <a:pt x="204" y="382"/>
                    </a:cubicBezTo>
                    <a:cubicBezTo>
                      <a:pt x="474" y="112"/>
                      <a:pt x="474" y="112"/>
                      <a:pt x="474" y="112"/>
                    </a:cubicBezTo>
                    <a:cubicBezTo>
                      <a:pt x="362" y="0"/>
                      <a:pt x="362" y="0"/>
                      <a:pt x="362" y="0"/>
                    </a:cubicBezTo>
                    <a:cubicBezTo>
                      <a:pt x="92" y="270"/>
                      <a:pt x="92" y="270"/>
                      <a:pt x="92" y="270"/>
                    </a:cubicBezTo>
                    <a:cubicBezTo>
                      <a:pt x="0" y="363"/>
                      <a:pt x="0" y="513"/>
                      <a:pt x="92" y="605"/>
                    </a:cubicBezTo>
                    <a:cubicBezTo>
                      <a:pt x="139" y="652"/>
                      <a:pt x="199" y="675"/>
                      <a:pt x="260" y="675"/>
                    </a:cubicBezTo>
                    <a:cubicBezTo>
                      <a:pt x="321" y="675"/>
                      <a:pt x="381" y="652"/>
                      <a:pt x="428" y="605"/>
                    </a:cubicBezTo>
                    <a:cubicBezTo>
                      <a:pt x="489" y="544"/>
                      <a:pt x="489" y="544"/>
                      <a:pt x="489" y="544"/>
                    </a:cubicBezTo>
                    <a:cubicBezTo>
                      <a:pt x="377" y="433"/>
                      <a:pt x="377" y="433"/>
                      <a:pt x="377" y="433"/>
                    </a:cubicBezTo>
                    <a:lnTo>
                      <a:pt x="316" y="494"/>
                    </a:lnTo>
                    <a:close/>
                    <a:moveTo>
                      <a:pt x="316" y="494"/>
                    </a:moveTo>
                    <a:cubicBezTo>
                      <a:pt x="316" y="494"/>
                      <a:pt x="316" y="494"/>
                      <a:pt x="316" y="4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latin typeface="Calibri" pitchFamily="34" charset="0"/>
                </a:endParaRPr>
              </a:p>
            </p:txBody>
          </p:sp>
        </p:grpSp>
      </p:grpSp>
      <p:grpSp>
        <p:nvGrpSpPr>
          <p:cNvPr id="32" name="Group 31"/>
          <p:cNvGrpSpPr/>
          <p:nvPr/>
        </p:nvGrpSpPr>
        <p:grpSpPr>
          <a:xfrm>
            <a:off x="1803719" y="3001624"/>
            <a:ext cx="866342" cy="866342"/>
            <a:chOff x="1083833" y="4002166"/>
            <a:chExt cx="1155122" cy="1155122"/>
          </a:xfrm>
        </p:grpSpPr>
        <p:sp>
          <p:nvSpPr>
            <p:cNvPr id="13" name="Rechthoek 11"/>
            <p:cNvSpPr>
              <a:spLocks noChangeAspect="1"/>
            </p:cNvSpPr>
            <p:nvPr/>
          </p:nvSpPr>
          <p:spPr>
            <a:xfrm>
              <a:off x="1083833" y="4002166"/>
              <a:ext cx="1155122" cy="115512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b"/>
            <a:lstStyle/>
            <a:p>
              <a:pPr algn="ctr"/>
              <a:r>
                <a:rPr lang="en-GB" dirty="0" smtClean="0">
                  <a:solidFill>
                    <a:schemeClr val="bg1"/>
                  </a:solidFill>
                  <a:latin typeface="Calibri" pitchFamily="34" charset="0"/>
                </a:rPr>
                <a:t>Demand</a:t>
              </a:r>
              <a:endParaRPr lang="en-GB" dirty="0">
                <a:solidFill>
                  <a:schemeClr val="bg1"/>
                </a:solidFill>
                <a:latin typeface="Calibri" pitchFamily="34" charset="0"/>
              </a:endParaRPr>
            </a:p>
          </p:txBody>
        </p:sp>
        <p:grpSp>
          <p:nvGrpSpPr>
            <p:cNvPr id="21" name="Group 20"/>
            <p:cNvGrpSpPr/>
            <p:nvPr/>
          </p:nvGrpSpPr>
          <p:grpSpPr>
            <a:xfrm>
              <a:off x="1514767" y="4224208"/>
              <a:ext cx="273939" cy="399719"/>
              <a:chOff x="1514767" y="3143554"/>
              <a:chExt cx="273939" cy="399719"/>
            </a:xfrm>
          </p:grpSpPr>
          <p:sp>
            <p:nvSpPr>
              <p:cNvPr id="23" name="Rectangle 25"/>
              <p:cNvSpPr/>
              <p:nvPr/>
            </p:nvSpPr>
            <p:spPr>
              <a:xfrm rot="2933454" flipH="1">
                <a:off x="1451877" y="3206444"/>
                <a:ext cx="399719" cy="273939"/>
              </a:xfrm>
              <a:custGeom>
                <a:avLst/>
                <a:gdLst>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1544901 w 5167630"/>
                  <a:gd name="connsiteY38" fmla="*/ 3349530 h 3408420"/>
                  <a:gd name="connsiteX39" fmla="*/ 983851 w 5167630"/>
                  <a:gd name="connsiteY39" fmla="*/ 3291087 h 3408420"/>
                  <a:gd name="connsiteX40" fmla="*/ 503045 w 5167630"/>
                  <a:gd name="connsiteY40" fmla="*/ 3130818 h 3408420"/>
                  <a:gd name="connsiteX41" fmla="*/ 0 w 5167630"/>
                  <a:gd name="connsiteY41" fmla="*/ 3130818 h 3408420"/>
                  <a:gd name="connsiteX42" fmla="*/ 0 w 5167630"/>
                  <a:gd name="connsiteY42" fmla="*/ 942445 h 3408420"/>
                  <a:gd name="connsiteX43" fmla="*/ 813477 w 5167630"/>
                  <a:gd name="connsiteY43" fmla="*/ 942445 h 3408420"/>
                  <a:gd name="connsiteX44" fmla="*/ 1050903 w 5167630"/>
                  <a:gd name="connsiteY44" fmla="*/ 829385 h 3408420"/>
                  <a:gd name="connsiteX45" fmla="*/ 1220705 w 5167630"/>
                  <a:gd name="connsiteY45" fmla="*/ 627813 h 3408420"/>
                  <a:gd name="connsiteX46" fmla="*/ 2444035 w 5167630"/>
                  <a:gd name="connsiteY46" fmla="*/ 33060 h 3408420"/>
                  <a:gd name="connsiteX47" fmla="*/ 2570015 w 5167630"/>
                  <a:gd name="connsiteY47"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447 h 3408420"/>
                  <a:gd name="connsiteX1" fmla="*/ 2882046 w 5167630"/>
                  <a:gd name="connsiteY1" fmla="*/ 184496 h 3408420"/>
                  <a:gd name="connsiteX2" fmla="*/ 2730610 w 5167630"/>
                  <a:gd name="connsiteY2" fmla="*/ 622507 h 3408420"/>
                  <a:gd name="connsiteX3" fmla="*/ 2363224 w 5167630"/>
                  <a:gd name="connsiteY3" fmla="*/ 801121 h 3408420"/>
                  <a:gd name="connsiteX4" fmla="*/ 4528781 w 5167630"/>
                  <a:gd name="connsiteY4" fmla="*/ 801121 h 3408420"/>
                  <a:gd name="connsiteX5" fmla="*/ 4806383 w 5167630"/>
                  <a:gd name="connsiteY5" fmla="*/ 1078723 h 3408420"/>
                  <a:gd name="connsiteX6" fmla="*/ 4528781 w 5167630"/>
                  <a:gd name="connsiteY6" fmla="*/ 1356325 h 3408420"/>
                  <a:gd name="connsiteX7" fmla="*/ 2853691 w 5167630"/>
                  <a:gd name="connsiteY7" fmla="*/ 1356325 h 3408420"/>
                  <a:gd name="connsiteX8" fmla="*/ 2853691 w 5167630"/>
                  <a:gd name="connsiteY8" fmla="*/ 1356327 h 3408420"/>
                  <a:gd name="connsiteX9" fmla="*/ 2730366 w 5167630"/>
                  <a:gd name="connsiteY9" fmla="*/ 1356327 h 3408420"/>
                  <a:gd name="connsiteX10" fmla="*/ 2665951 w 5167630"/>
                  <a:gd name="connsiteY10" fmla="*/ 1420742 h 3408420"/>
                  <a:gd name="connsiteX11" fmla="*/ 2730366 w 5167630"/>
                  <a:gd name="connsiteY11" fmla="*/ 1485157 h 3408420"/>
                  <a:gd name="connsiteX12" fmla="*/ 3727927 w 5167630"/>
                  <a:gd name="connsiteY12" fmla="*/ 1485157 h 3408420"/>
                  <a:gd name="connsiteX13" fmla="*/ 3727942 w 5167630"/>
                  <a:gd name="connsiteY13" fmla="*/ 1485154 h 3408420"/>
                  <a:gd name="connsiteX14" fmla="*/ 4890028 w 5167630"/>
                  <a:gd name="connsiteY14" fmla="*/ 1485154 h 3408420"/>
                  <a:gd name="connsiteX15" fmla="*/ 5167630 w 5167630"/>
                  <a:gd name="connsiteY15" fmla="*/ 1762756 h 3408420"/>
                  <a:gd name="connsiteX16" fmla="*/ 4890028 w 5167630"/>
                  <a:gd name="connsiteY16" fmla="*/ 2040358 h 3408420"/>
                  <a:gd name="connsiteX17" fmla="*/ 2853691 w 5167630"/>
                  <a:gd name="connsiteY17" fmla="*/ 2040358 h 3408420"/>
                  <a:gd name="connsiteX18" fmla="*/ 2853691 w 5167630"/>
                  <a:gd name="connsiteY18" fmla="*/ 2040359 h 3408420"/>
                  <a:gd name="connsiteX19" fmla="*/ 2730366 w 5167630"/>
                  <a:gd name="connsiteY19" fmla="*/ 2040359 h 3408420"/>
                  <a:gd name="connsiteX20" fmla="*/ 2665951 w 5167630"/>
                  <a:gd name="connsiteY20" fmla="*/ 2104774 h 3408420"/>
                  <a:gd name="connsiteX21" fmla="*/ 2730366 w 5167630"/>
                  <a:gd name="connsiteY21" fmla="*/ 2169188 h 3408420"/>
                  <a:gd name="connsiteX22" fmla="*/ 3727927 w 5167630"/>
                  <a:gd name="connsiteY22" fmla="*/ 2169189 h 3408420"/>
                  <a:gd name="connsiteX23" fmla="*/ 3727937 w 5167630"/>
                  <a:gd name="connsiteY23" fmla="*/ 2169187 h 3408420"/>
                  <a:gd name="connsiteX24" fmla="*/ 4528784 w 5167630"/>
                  <a:gd name="connsiteY24" fmla="*/ 2169187 h 3408420"/>
                  <a:gd name="connsiteX25" fmla="*/ 4806386 w 5167630"/>
                  <a:gd name="connsiteY25" fmla="*/ 2446789 h 3408420"/>
                  <a:gd name="connsiteX26" fmla="*/ 4528784 w 5167630"/>
                  <a:gd name="connsiteY26" fmla="*/ 2724391 h 3408420"/>
                  <a:gd name="connsiteX27" fmla="*/ 2853691 w 5167630"/>
                  <a:gd name="connsiteY27" fmla="*/ 2724391 h 3408420"/>
                  <a:gd name="connsiteX28" fmla="*/ 2853691 w 5167630"/>
                  <a:gd name="connsiteY28" fmla="*/ 2724393 h 3408420"/>
                  <a:gd name="connsiteX29" fmla="*/ 2730364 w 5167630"/>
                  <a:gd name="connsiteY29" fmla="*/ 2724393 h 3408420"/>
                  <a:gd name="connsiteX30" fmla="*/ 2665951 w 5167630"/>
                  <a:gd name="connsiteY30" fmla="*/ 2788806 h 3408420"/>
                  <a:gd name="connsiteX31" fmla="*/ 2730364 w 5167630"/>
                  <a:gd name="connsiteY31" fmla="*/ 2853219 h 3408420"/>
                  <a:gd name="connsiteX32" fmla="*/ 3727929 w 5167630"/>
                  <a:gd name="connsiteY32" fmla="*/ 2853219 h 3408420"/>
                  <a:gd name="connsiteX33" fmla="*/ 3727944 w 5167630"/>
                  <a:gd name="connsiteY33" fmla="*/ 2853216 h 3408420"/>
                  <a:gd name="connsiteX34" fmla="*/ 4087037 w 5167630"/>
                  <a:gd name="connsiteY34" fmla="*/ 2853216 h 3408420"/>
                  <a:gd name="connsiteX35" fmla="*/ 4364639 w 5167630"/>
                  <a:gd name="connsiteY35" fmla="*/ 3130818 h 3408420"/>
                  <a:gd name="connsiteX36" fmla="*/ 4087037 w 5167630"/>
                  <a:gd name="connsiteY36" fmla="*/ 3408420 h 3408420"/>
                  <a:gd name="connsiteX37" fmla="*/ 1714025 w 5167630"/>
                  <a:gd name="connsiteY37" fmla="*/ 3408420 h 3408420"/>
                  <a:gd name="connsiteX38" fmla="*/ 983851 w 5167630"/>
                  <a:gd name="connsiteY38" fmla="*/ 3291087 h 3408420"/>
                  <a:gd name="connsiteX39" fmla="*/ 503045 w 5167630"/>
                  <a:gd name="connsiteY39" fmla="*/ 3130818 h 3408420"/>
                  <a:gd name="connsiteX40" fmla="*/ 0 w 5167630"/>
                  <a:gd name="connsiteY40" fmla="*/ 3130818 h 3408420"/>
                  <a:gd name="connsiteX41" fmla="*/ 0 w 5167630"/>
                  <a:gd name="connsiteY41" fmla="*/ 942445 h 3408420"/>
                  <a:gd name="connsiteX42" fmla="*/ 813477 w 5167630"/>
                  <a:gd name="connsiteY42" fmla="*/ 942445 h 3408420"/>
                  <a:gd name="connsiteX43" fmla="*/ 1050903 w 5167630"/>
                  <a:gd name="connsiteY43" fmla="*/ 829385 h 3408420"/>
                  <a:gd name="connsiteX44" fmla="*/ 1220705 w 5167630"/>
                  <a:gd name="connsiteY44" fmla="*/ 627813 h 3408420"/>
                  <a:gd name="connsiteX45" fmla="*/ 2444035 w 5167630"/>
                  <a:gd name="connsiteY45" fmla="*/ 33060 h 3408420"/>
                  <a:gd name="connsiteX46" fmla="*/ 2570015 w 5167630"/>
                  <a:gd name="connsiteY46" fmla="*/ 447 h 3408420"/>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4528781 w 5167630"/>
                  <a:gd name="connsiteY4" fmla="*/ 801003 h 3408302"/>
                  <a:gd name="connsiteX5" fmla="*/ 4806383 w 5167630"/>
                  <a:gd name="connsiteY5" fmla="*/ 1078605 h 3408302"/>
                  <a:gd name="connsiteX6" fmla="*/ 4528781 w 5167630"/>
                  <a:gd name="connsiteY6" fmla="*/ 1356207 h 3408302"/>
                  <a:gd name="connsiteX7" fmla="*/ 2853691 w 5167630"/>
                  <a:gd name="connsiteY7" fmla="*/ 1356207 h 3408302"/>
                  <a:gd name="connsiteX8" fmla="*/ 2853691 w 5167630"/>
                  <a:gd name="connsiteY8" fmla="*/ 1356209 h 3408302"/>
                  <a:gd name="connsiteX9" fmla="*/ 2730366 w 5167630"/>
                  <a:gd name="connsiteY9" fmla="*/ 1356209 h 3408302"/>
                  <a:gd name="connsiteX10" fmla="*/ 2665951 w 5167630"/>
                  <a:gd name="connsiteY10" fmla="*/ 1420624 h 3408302"/>
                  <a:gd name="connsiteX11" fmla="*/ 2730366 w 5167630"/>
                  <a:gd name="connsiteY11" fmla="*/ 1485039 h 3408302"/>
                  <a:gd name="connsiteX12" fmla="*/ 3727927 w 5167630"/>
                  <a:gd name="connsiteY12" fmla="*/ 1485039 h 3408302"/>
                  <a:gd name="connsiteX13" fmla="*/ 3727942 w 5167630"/>
                  <a:gd name="connsiteY13" fmla="*/ 1485036 h 3408302"/>
                  <a:gd name="connsiteX14" fmla="*/ 4890028 w 5167630"/>
                  <a:gd name="connsiteY14" fmla="*/ 1485036 h 3408302"/>
                  <a:gd name="connsiteX15" fmla="*/ 5167630 w 5167630"/>
                  <a:gd name="connsiteY15" fmla="*/ 1762638 h 3408302"/>
                  <a:gd name="connsiteX16" fmla="*/ 4890028 w 5167630"/>
                  <a:gd name="connsiteY16" fmla="*/ 2040240 h 3408302"/>
                  <a:gd name="connsiteX17" fmla="*/ 2853691 w 5167630"/>
                  <a:gd name="connsiteY17" fmla="*/ 2040240 h 3408302"/>
                  <a:gd name="connsiteX18" fmla="*/ 2853691 w 5167630"/>
                  <a:gd name="connsiteY18" fmla="*/ 2040241 h 3408302"/>
                  <a:gd name="connsiteX19" fmla="*/ 2730366 w 5167630"/>
                  <a:gd name="connsiteY19" fmla="*/ 2040241 h 3408302"/>
                  <a:gd name="connsiteX20" fmla="*/ 2665951 w 5167630"/>
                  <a:gd name="connsiteY20" fmla="*/ 2104656 h 3408302"/>
                  <a:gd name="connsiteX21" fmla="*/ 2730366 w 5167630"/>
                  <a:gd name="connsiteY21" fmla="*/ 2169070 h 3408302"/>
                  <a:gd name="connsiteX22" fmla="*/ 3727927 w 5167630"/>
                  <a:gd name="connsiteY22" fmla="*/ 2169071 h 3408302"/>
                  <a:gd name="connsiteX23" fmla="*/ 3727937 w 5167630"/>
                  <a:gd name="connsiteY23" fmla="*/ 2169069 h 3408302"/>
                  <a:gd name="connsiteX24" fmla="*/ 4528784 w 5167630"/>
                  <a:gd name="connsiteY24" fmla="*/ 2169069 h 3408302"/>
                  <a:gd name="connsiteX25" fmla="*/ 4806386 w 5167630"/>
                  <a:gd name="connsiteY25" fmla="*/ 2446671 h 3408302"/>
                  <a:gd name="connsiteX26" fmla="*/ 4528784 w 5167630"/>
                  <a:gd name="connsiteY26" fmla="*/ 2724273 h 3408302"/>
                  <a:gd name="connsiteX27" fmla="*/ 2853691 w 5167630"/>
                  <a:gd name="connsiteY27" fmla="*/ 2724273 h 3408302"/>
                  <a:gd name="connsiteX28" fmla="*/ 2853691 w 5167630"/>
                  <a:gd name="connsiteY28" fmla="*/ 2724275 h 3408302"/>
                  <a:gd name="connsiteX29" fmla="*/ 2730364 w 5167630"/>
                  <a:gd name="connsiteY29" fmla="*/ 2724275 h 3408302"/>
                  <a:gd name="connsiteX30" fmla="*/ 2665951 w 5167630"/>
                  <a:gd name="connsiteY30" fmla="*/ 2788688 h 3408302"/>
                  <a:gd name="connsiteX31" fmla="*/ 2730364 w 5167630"/>
                  <a:gd name="connsiteY31" fmla="*/ 2853101 h 3408302"/>
                  <a:gd name="connsiteX32" fmla="*/ 3727929 w 5167630"/>
                  <a:gd name="connsiteY32" fmla="*/ 2853101 h 3408302"/>
                  <a:gd name="connsiteX33" fmla="*/ 3727944 w 5167630"/>
                  <a:gd name="connsiteY33" fmla="*/ 2853098 h 3408302"/>
                  <a:gd name="connsiteX34" fmla="*/ 4087037 w 5167630"/>
                  <a:gd name="connsiteY34" fmla="*/ 2853098 h 3408302"/>
                  <a:gd name="connsiteX35" fmla="*/ 4364639 w 5167630"/>
                  <a:gd name="connsiteY35" fmla="*/ 3130700 h 3408302"/>
                  <a:gd name="connsiteX36" fmla="*/ 4087037 w 5167630"/>
                  <a:gd name="connsiteY36" fmla="*/ 3408302 h 3408302"/>
                  <a:gd name="connsiteX37" fmla="*/ 1714025 w 5167630"/>
                  <a:gd name="connsiteY37" fmla="*/ 3408302 h 3408302"/>
                  <a:gd name="connsiteX38" fmla="*/ 983851 w 5167630"/>
                  <a:gd name="connsiteY38" fmla="*/ 3290969 h 3408302"/>
                  <a:gd name="connsiteX39" fmla="*/ 503045 w 5167630"/>
                  <a:gd name="connsiteY39" fmla="*/ 3130700 h 3408302"/>
                  <a:gd name="connsiteX40" fmla="*/ 0 w 5167630"/>
                  <a:gd name="connsiteY40" fmla="*/ 3130700 h 3408302"/>
                  <a:gd name="connsiteX41" fmla="*/ 0 w 5167630"/>
                  <a:gd name="connsiteY41" fmla="*/ 942327 h 3408302"/>
                  <a:gd name="connsiteX42" fmla="*/ 813477 w 5167630"/>
                  <a:gd name="connsiteY42" fmla="*/ 942327 h 3408302"/>
                  <a:gd name="connsiteX43" fmla="*/ 1050903 w 5167630"/>
                  <a:gd name="connsiteY43" fmla="*/ 829267 h 3408302"/>
                  <a:gd name="connsiteX44" fmla="*/ 1220705 w 5167630"/>
                  <a:gd name="connsiteY44" fmla="*/ 627695 h 3408302"/>
                  <a:gd name="connsiteX45" fmla="*/ 2444035 w 5167630"/>
                  <a:gd name="connsiteY45" fmla="*/ 32942 h 3408302"/>
                  <a:gd name="connsiteX46" fmla="*/ 2570015 w 5167630"/>
                  <a:gd name="connsiteY46"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2536191 w 5167630"/>
                  <a:gd name="connsiteY4" fmla="*/ 7943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363224 w 5167630"/>
                  <a:gd name="connsiteY3" fmla="*/ 80100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502924 w 5167630"/>
                  <a:gd name="connsiteY3" fmla="*/ 71845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502924 w 5167630"/>
                  <a:gd name="connsiteY3" fmla="*/ 71845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502924 w 5167630"/>
                  <a:gd name="connsiteY3" fmla="*/ 718453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813477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1050903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98515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98515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98515 w 5167630"/>
                  <a:gd name="connsiteY44" fmla="*/ 829267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570015 w 5167630"/>
                  <a:gd name="connsiteY0" fmla="*/ 329 h 3408302"/>
                  <a:gd name="connsiteX1" fmla="*/ 2882046 w 5167630"/>
                  <a:gd name="connsiteY1" fmla="*/ 184378 h 3408302"/>
                  <a:gd name="connsiteX2" fmla="*/ 2717910 w 5167630"/>
                  <a:gd name="connsiteY2" fmla="*/ 565239 h 3408302"/>
                  <a:gd name="connsiteX3" fmla="*/ 2498162 w 5167630"/>
                  <a:gd name="connsiteY3" fmla="*/ 708928 h 3408302"/>
                  <a:gd name="connsiteX4" fmla="*/ 2561591 w 5167630"/>
                  <a:gd name="connsiteY4" fmla="*/ 807025 h 3408302"/>
                  <a:gd name="connsiteX5" fmla="*/ 4528781 w 5167630"/>
                  <a:gd name="connsiteY5" fmla="*/ 801003 h 3408302"/>
                  <a:gd name="connsiteX6" fmla="*/ 4806383 w 5167630"/>
                  <a:gd name="connsiteY6" fmla="*/ 1078605 h 3408302"/>
                  <a:gd name="connsiteX7" fmla="*/ 4528781 w 5167630"/>
                  <a:gd name="connsiteY7" fmla="*/ 1356207 h 3408302"/>
                  <a:gd name="connsiteX8" fmla="*/ 2853691 w 5167630"/>
                  <a:gd name="connsiteY8" fmla="*/ 1356207 h 3408302"/>
                  <a:gd name="connsiteX9" fmla="*/ 2853691 w 5167630"/>
                  <a:gd name="connsiteY9" fmla="*/ 1356209 h 3408302"/>
                  <a:gd name="connsiteX10" fmla="*/ 2730366 w 5167630"/>
                  <a:gd name="connsiteY10" fmla="*/ 1356209 h 3408302"/>
                  <a:gd name="connsiteX11" fmla="*/ 2665951 w 5167630"/>
                  <a:gd name="connsiteY11" fmla="*/ 1420624 h 3408302"/>
                  <a:gd name="connsiteX12" fmla="*/ 2730366 w 5167630"/>
                  <a:gd name="connsiteY12" fmla="*/ 1485039 h 3408302"/>
                  <a:gd name="connsiteX13" fmla="*/ 3727927 w 5167630"/>
                  <a:gd name="connsiteY13" fmla="*/ 1485039 h 3408302"/>
                  <a:gd name="connsiteX14" fmla="*/ 3727942 w 5167630"/>
                  <a:gd name="connsiteY14" fmla="*/ 1485036 h 3408302"/>
                  <a:gd name="connsiteX15" fmla="*/ 4890028 w 5167630"/>
                  <a:gd name="connsiteY15" fmla="*/ 1485036 h 3408302"/>
                  <a:gd name="connsiteX16" fmla="*/ 5167630 w 5167630"/>
                  <a:gd name="connsiteY16" fmla="*/ 1762638 h 3408302"/>
                  <a:gd name="connsiteX17" fmla="*/ 4890028 w 5167630"/>
                  <a:gd name="connsiteY17" fmla="*/ 2040240 h 3408302"/>
                  <a:gd name="connsiteX18" fmla="*/ 2853691 w 5167630"/>
                  <a:gd name="connsiteY18" fmla="*/ 2040240 h 3408302"/>
                  <a:gd name="connsiteX19" fmla="*/ 2853691 w 5167630"/>
                  <a:gd name="connsiteY19" fmla="*/ 2040241 h 3408302"/>
                  <a:gd name="connsiteX20" fmla="*/ 2730366 w 5167630"/>
                  <a:gd name="connsiteY20" fmla="*/ 2040241 h 3408302"/>
                  <a:gd name="connsiteX21" fmla="*/ 2665951 w 5167630"/>
                  <a:gd name="connsiteY21" fmla="*/ 2104656 h 3408302"/>
                  <a:gd name="connsiteX22" fmla="*/ 2730366 w 5167630"/>
                  <a:gd name="connsiteY22" fmla="*/ 2169070 h 3408302"/>
                  <a:gd name="connsiteX23" fmla="*/ 3727927 w 5167630"/>
                  <a:gd name="connsiteY23" fmla="*/ 2169071 h 3408302"/>
                  <a:gd name="connsiteX24" fmla="*/ 3727937 w 5167630"/>
                  <a:gd name="connsiteY24" fmla="*/ 2169069 h 3408302"/>
                  <a:gd name="connsiteX25" fmla="*/ 4528784 w 5167630"/>
                  <a:gd name="connsiteY25" fmla="*/ 2169069 h 3408302"/>
                  <a:gd name="connsiteX26" fmla="*/ 4806386 w 5167630"/>
                  <a:gd name="connsiteY26" fmla="*/ 2446671 h 3408302"/>
                  <a:gd name="connsiteX27" fmla="*/ 4528784 w 5167630"/>
                  <a:gd name="connsiteY27" fmla="*/ 2724273 h 3408302"/>
                  <a:gd name="connsiteX28" fmla="*/ 2853691 w 5167630"/>
                  <a:gd name="connsiteY28" fmla="*/ 2724273 h 3408302"/>
                  <a:gd name="connsiteX29" fmla="*/ 2853691 w 5167630"/>
                  <a:gd name="connsiteY29" fmla="*/ 2724275 h 3408302"/>
                  <a:gd name="connsiteX30" fmla="*/ 2730364 w 5167630"/>
                  <a:gd name="connsiteY30" fmla="*/ 2724275 h 3408302"/>
                  <a:gd name="connsiteX31" fmla="*/ 2665951 w 5167630"/>
                  <a:gd name="connsiteY31" fmla="*/ 2788688 h 3408302"/>
                  <a:gd name="connsiteX32" fmla="*/ 2730364 w 5167630"/>
                  <a:gd name="connsiteY32" fmla="*/ 2853101 h 3408302"/>
                  <a:gd name="connsiteX33" fmla="*/ 3727929 w 5167630"/>
                  <a:gd name="connsiteY33" fmla="*/ 2853101 h 3408302"/>
                  <a:gd name="connsiteX34" fmla="*/ 3727944 w 5167630"/>
                  <a:gd name="connsiteY34" fmla="*/ 2853098 h 3408302"/>
                  <a:gd name="connsiteX35" fmla="*/ 4087037 w 5167630"/>
                  <a:gd name="connsiteY35" fmla="*/ 2853098 h 3408302"/>
                  <a:gd name="connsiteX36" fmla="*/ 4364639 w 5167630"/>
                  <a:gd name="connsiteY36" fmla="*/ 3130700 h 3408302"/>
                  <a:gd name="connsiteX37" fmla="*/ 4087037 w 5167630"/>
                  <a:gd name="connsiteY37" fmla="*/ 3408302 h 3408302"/>
                  <a:gd name="connsiteX38" fmla="*/ 1714025 w 5167630"/>
                  <a:gd name="connsiteY38" fmla="*/ 3408302 h 3408302"/>
                  <a:gd name="connsiteX39" fmla="*/ 983851 w 5167630"/>
                  <a:gd name="connsiteY39" fmla="*/ 3290969 h 3408302"/>
                  <a:gd name="connsiteX40" fmla="*/ 503045 w 5167630"/>
                  <a:gd name="connsiteY40" fmla="*/ 3130700 h 3408302"/>
                  <a:gd name="connsiteX41" fmla="*/ 0 w 5167630"/>
                  <a:gd name="connsiteY41" fmla="*/ 3130700 h 3408302"/>
                  <a:gd name="connsiteX42" fmla="*/ 0 w 5167630"/>
                  <a:gd name="connsiteY42" fmla="*/ 942327 h 3408302"/>
                  <a:gd name="connsiteX43" fmla="*/ 665839 w 5167630"/>
                  <a:gd name="connsiteY43" fmla="*/ 942327 h 3408302"/>
                  <a:gd name="connsiteX44" fmla="*/ 955652 w 5167630"/>
                  <a:gd name="connsiteY44" fmla="*/ 843554 h 3408302"/>
                  <a:gd name="connsiteX45" fmla="*/ 1220705 w 5167630"/>
                  <a:gd name="connsiteY45" fmla="*/ 627695 h 3408302"/>
                  <a:gd name="connsiteX46" fmla="*/ 2444035 w 5167630"/>
                  <a:gd name="connsiteY46" fmla="*/ 32942 h 3408302"/>
                  <a:gd name="connsiteX47" fmla="*/ 2570015 w 5167630"/>
                  <a:gd name="connsiteY47" fmla="*/ 329 h 3408302"/>
                  <a:gd name="connsiteX0" fmla="*/ 2679552 w 5167630"/>
                  <a:gd name="connsiteY0" fmla="*/ 250 h 3446323"/>
                  <a:gd name="connsiteX1" fmla="*/ 2882046 w 5167630"/>
                  <a:gd name="connsiteY1" fmla="*/ 222399 h 3446323"/>
                  <a:gd name="connsiteX2" fmla="*/ 2717910 w 5167630"/>
                  <a:gd name="connsiteY2" fmla="*/ 603260 h 3446323"/>
                  <a:gd name="connsiteX3" fmla="*/ 2498162 w 5167630"/>
                  <a:gd name="connsiteY3" fmla="*/ 746949 h 3446323"/>
                  <a:gd name="connsiteX4" fmla="*/ 2561591 w 5167630"/>
                  <a:gd name="connsiteY4" fmla="*/ 845046 h 3446323"/>
                  <a:gd name="connsiteX5" fmla="*/ 4528781 w 5167630"/>
                  <a:gd name="connsiteY5" fmla="*/ 839024 h 3446323"/>
                  <a:gd name="connsiteX6" fmla="*/ 4806383 w 5167630"/>
                  <a:gd name="connsiteY6" fmla="*/ 1116626 h 3446323"/>
                  <a:gd name="connsiteX7" fmla="*/ 4528781 w 5167630"/>
                  <a:gd name="connsiteY7" fmla="*/ 1394228 h 3446323"/>
                  <a:gd name="connsiteX8" fmla="*/ 2853691 w 5167630"/>
                  <a:gd name="connsiteY8" fmla="*/ 1394228 h 3446323"/>
                  <a:gd name="connsiteX9" fmla="*/ 2853691 w 5167630"/>
                  <a:gd name="connsiteY9" fmla="*/ 1394230 h 3446323"/>
                  <a:gd name="connsiteX10" fmla="*/ 2730366 w 5167630"/>
                  <a:gd name="connsiteY10" fmla="*/ 1394230 h 3446323"/>
                  <a:gd name="connsiteX11" fmla="*/ 2665951 w 5167630"/>
                  <a:gd name="connsiteY11" fmla="*/ 1458645 h 3446323"/>
                  <a:gd name="connsiteX12" fmla="*/ 2730366 w 5167630"/>
                  <a:gd name="connsiteY12" fmla="*/ 1523060 h 3446323"/>
                  <a:gd name="connsiteX13" fmla="*/ 3727927 w 5167630"/>
                  <a:gd name="connsiteY13" fmla="*/ 1523060 h 3446323"/>
                  <a:gd name="connsiteX14" fmla="*/ 3727942 w 5167630"/>
                  <a:gd name="connsiteY14" fmla="*/ 1523057 h 3446323"/>
                  <a:gd name="connsiteX15" fmla="*/ 4890028 w 5167630"/>
                  <a:gd name="connsiteY15" fmla="*/ 1523057 h 3446323"/>
                  <a:gd name="connsiteX16" fmla="*/ 5167630 w 5167630"/>
                  <a:gd name="connsiteY16" fmla="*/ 1800659 h 3446323"/>
                  <a:gd name="connsiteX17" fmla="*/ 4890028 w 5167630"/>
                  <a:gd name="connsiteY17" fmla="*/ 2078261 h 3446323"/>
                  <a:gd name="connsiteX18" fmla="*/ 2853691 w 5167630"/>
                  <a:gd name="connsiteY18" fmla="*/ 2078261 h 3446323"/>
                  <a:gd name="connsiteX19" fmla="*/ 2853691 w 5167630"/>
                  <a:gd name="connsiteY19" fmla="*/ 2078262 h 3446323"/>
                  <a:gd name="connsiteX20" fmla="*/ 2730366 w 5167630"/>
                  <a:gd name="connsiteY20" fmla="*/ 2078262 h 3446323"/>
                  <a:gd name="connsiteX21" fmla="*/ 2665951 w 5167630"/>
                  <a:gd name="connsiteY21" fmla="*/ 2142677 h 3446323"/>
                  <a:gd name="connsiteX22" fmla="*/ 2730366 w 5167630"/>
                  <a:gd name="connsiteY22" fmla="*/ 2207091 h 3446323"/>
                  <a:gd name="connsiteX23" fmla="*/ 3727927 w 5167630"/>
                  <a:gd name="connsiteY23" fmla="*/ 2207092 h 3446323"/>
                  <a:gd name="connsiteX24" fmla="*/ 3727937 w 5167630"/>
                  <a:gd name="connsiteY24" fmla="*/ 2207090 h 3446323"/>
                  <a:gd name="connsiteX25" fmla="*/ 4528784 w 5167630"/>
                  <a:gd name="connsiteY25" fmla="*/ 2207090 h 3446323"/>
                  <a:gd name="connsiteX26" fmla="*/ 4806386 w 5167630"/>
                  <a:gd name="connsiteY26" fmla="*/ 2484692 h 3446323"/>
                  <a:gd name="connsiteX27" fmla="*/ 4528784 w 5167630"/>
                  <a:gd name="connsiteY27" fmla="*/ 2762294 h 3446323"/>
                  <a:gd name="connsiteX28" fmla="*/ 2853691 w 5167630"/>
                  <a:gd name="connsiteY28" fmla="*/ 2762294 h 3446323"/>
                  <a:gd name="connsiteX29" fmla="*/ 2853691 w 5167630"/>
                  <a:gd name="connsiteY29" fmla="*/ 2762296 h 3446323"/>
                  <a:gd name="connsiteX30" fmla="*/ 2730364 w 5167630"/>
                  <a:gd name="connsiteY30" fmla="*/ 2762296 h 3446323"/>
                  <a:gd name="connsiteX31" fmla="*/ 2665951 w 5167630"/>
                  <a:gd name="connsiteY31" fmla="*/ 2826709 h 3446323"/>
                  <a:gd name="connsiteX32" fmla="*/ 2730364 w 5167630"/>
                  <a:gd name="connsiteY32" fmla="*/ 2891122 h 3446323"/>
                  <a:gd name="connsiteX33" fmla="*/ 3727929 w 5167630"/>
                  <a:gd name="connsiteY33" fmla="*/ 2891122 h 3446323"/>
                  <a:gd name="connsiteX34" fmla="*/ 3727944 w 5167630"/>
                  <a:gd name="connsiteY34" fmla="*/ 2891119 h 3446323"/>
                  <a:gd name="connsiteX35" fmla="*/ 4087037 w 5167630"/>
                  <a:gd name="connsiteY35" fmla="*/ 2891119 h 3446323"/>
                  <a:gd name="connsiteX36" fmla="*/ 4364639 w 5167630"/>
                  <a:gd name="connsiteY36" fmla="*/ 3168721 h 3446323"/>
                  <a:gd name="connsiteX37" fmla="*/ 4087037 w 5167630"/>
                  <a:gd name="connsiteY37" fmla="*/ 3446323 h 3446323"/>
                  <a:gd name="connsiteX38" fmla="*/ 1714025 w 5167630"/>
                  <a:gd name="connsiteY38" fmla="*/ 3446323 h 3446323"/>
                  <a:gd name="connsiteX39" fmla="*/ 983851 w 5167630"/>
                  <a:gd name="connsiteY39" fmla="*/ 3328990 h 3446323"/>
                  <a:gd name="connsiteX40" fmla="*/ 503045 w 5167630"/>
                  <a:gd name="connsiteY40" fmla="*/ 3168721 h 3446323"/>
                  <a:gd name="connsiteX41" fmla="*/ 0 w 5167630"/>
                  <a:gd name="connsiteY41" fmla="*/ 3168721 h 3446323"/>
                  <a:gd name="connsiteX42" fmla="*/ 0 w 5167630"/>
                  <a:gd name="connsiteY42" fmla="*/ 980348 h 3446323"/>
                  <a:gd name="connsiteX43" fmla="*/ 665839 w 5167630"/>
                  <a:gd name="connsiteY43" fmla="*/ 980348 h 3446323"/>
                  <a:gd name="connsiteX44" fmla="*/ 955652 w 5167630"/>
                  <a:gd name="connsiteY44" fmla="*/ 881575 h 3446323"/>
                  <a:gd name="connsiteX45" fmla="*/ 1220705 w 5167630"/>
                  <a:gd name="connsiteY45" fmla="*/ 665716 h 3446323"/>
                  <a:gd name="connsiteX46" fmla="*/ 2444035 w 5167630"/>
                  <a:gd name="connsiteY46" fmla="*/ 70963 h 3446323"/>
                  <a:gd name="connsiteX47" fmla="*/ 2679552 w 5167630"/>
                  <a:gd name="connsiteY47" fmla="*/ 250 h 3446323"/>
                  <a:gd name="connsiteX0" fmla="*/ 2679552 w 5167630"/>
                  <a:gd name="connsiteY0" fmla="*/ 462 h 3446535"/>
                  <a:gd name="connsiteX1" fmla="*/ 3029684 w 5167630"/>
                  <a:gd name="connsiteY1" fmla="*/ 160699 h 3446535"/>
                  <a:gd name="connsiteX2" fmla="*/ 2717910 w 5167630"/>
                  <a:gd name="connsiteY2" fmla="*/ 603472 h 3446535"/>
                  <a:gd name="connsiteX3" fmla="*/ 2498162 w 5167630"/>
                  <a:gd name="connsiteY3" fmla="*/ 747161 h 3446535"/>
                  <a:gd name="connsiteX4" fmla="*/ 2561591 w 5167630"/>
                  <a:gd name="connsiteY4" fmla="*/ 845258 h 3446535"/>
                  <a:gd name="connsiteX5" fmla="*/ 4528781 w 5167630"/>
                  <a:gd name="connsiteY5" fmla="*/ 839236 h 3446535"/>
                  <a:gd name="connsiteX6" fmla="*/ 4806383 w 5167630"/>
                  <a:gd name="connsiteY6" fmla="*/ 1116838 h 3446535"/>
                  <a:gd name="connsiteX7" fmla="*/ 4528781 w 5167630"/>
                  <a:gd name="connsiteY7" fmla="*/ 1394440 h 3446535"/>
                  <a:gd name="connsiteX8" fmla="*/ 2853691 w 5167630"/>
                  <a:gd name="connsiteY8" fmla="*/ 1394440 h 3446535"/>
                  <a:gd name="connsiteX9" fmla="*/ 2853691 w 5167630"/>
                  <a:gd name="connsiteY9" fmla="*/ 1394442 h 3446535"/>
                  <a:gd name="connsiteX10" fmla="*/ 2730366 w 5167630"/>
                  <a:gd name="connsiteY10" fmla="*/ 1394442 h 3446535"/>
                  <a:gd name="connsiteX11" fmla="*/ 2665951 w 5167630"/>
                  <a:gd name="connsiteY11" fmla="*/ 1458857 h 3446535"/>
                  <a:gd name="connsiteX12" fmla="*/ 2730366 w 5167630"/>
                  <a:gd name="connsiteY12" fmla="*/ 1523272 h 3446535"/>
                  <a:gd name="connsiteX13" fmla="*/ 3727927 w 5167630"/>
                  <a:gd name="connsiteY13" fmla="*/ 1523272 h 3446535"/>
                  <a:gd name="connsiteX14" fmla="*/ 3727942 w 5167630"/>
                  <a:gd name="connsiteY14" fmla="*/ 1523269 h 3446535"/>
                  <a:gd name="connsiteX15" fmla="*/ 4890028 w 5167630"/>
                  <a:gd name="connsiteY15" fmla="*/ 1523269 h 3446535"/>
                  <a:gd name="connsiteX16" fmla="*/ 5167630 w 5167630"/>
                  <a:gd name="connsiteY16" fmla="*/ 1800871 h 3446535"/>
                  <a:gd name="connsiteX17" fmla="*/ 4890028 w 5167630"/>
                  <a:gd name="connsiteY17" fmla="*/ 2078473 h 3446535"/>
                  <a:gd name="connsiteX18" fmla="*/ 2853691 w 5167630"/>
                  <a:gd name="connsiteY18" fmla="*/ 2078473 h 3446535"/>
                  <a:gd name="connsiteX19" fmla="*/ 2853691 w 5167630"/>
                  <a:gd name="connsiteY19" fmla="*/ 2078474 h 3446535"/>
                  <a:gd name="connsiteX20" fmla="*/ 2730366 w 5167630"/>
                  <a:gd name="connsiteY20" fmla="*/ 2078474 h 3446535"/>
                  <a:gd name="connsiteX21" fmla="*/ 2665951 w 5167630"/>
                  <a:gd name="connsiteY21" fmla="*/ 2142889 h 3446535"/>
                  <a:gd name="connsiteX22" fmla="*/ 2730366 w 5167630"/>
                  <a:gd name="connsiteY22" fmla="*/ 2207303 h 3446535"/>
                  <a:gd name="connsiteX23" fmla="*/ 3727927 w 5167630"/>
                  <a:gd name="connsiteY23" fmla="*/ 2207304 h 3446535"/>
                  <a:gd name="connsiteX24" fmla="*/ 3727937 w 5167630"/>
                  <a:gd name="connsiteY24" fmla="*/ 2207302 h 3446535"/>
                  <a:gd name="connsiteX25" fmla="*/ 4528784 w 5167630"/>
                  <a:gd name="connsiteY25" fmla="*/ 2207302 h 3446535"/>
                  <a:gd name="connsiteX26" fmla="*/ 4806386 w 5167630"/>
                  <a:gd name="connsiteY26" fmla="*/ 2484904 h 3446535"/>
                  <a:gd name="connsiteX27" fmla="*/ 4528784 w 5167630"/>
                  <a:gd name="connsiteY27" fmla="*/ 2762506 h 3446535"/>
                  <a:gd name="connsiteX28" fmla="*/ 2853691 w 5167630"/>
                  <a:gd name="connsiteY28" fmla="*/ 2762506 h 3446535"/>
                  <a:gd name="connsiteX29" fmla="*/ 2853691 w 5167630"/>
                  <a:gd name="connsiteY29" fmla="*/ 2762508 h 3446535"/>
                  <a:gd name="connsiteX30" fmla="*/ 2730364 w 5167630"/>
                  <a:gd name="connsiteY30" fmla="*/ 2762508 h 3446535"/>
                  <a:gd name="connsiteX31" fmla="*/ 2665951 w 5167630"/>
                  <a:gd name="connsiteY31" fmla="*/ 2826921 h 3446535"/>
                  <a:gd name="connsiteX32" fmla="*/ 2730364 w 5167630"/>
                  <a:gd name="connsiteY32" fmla="*/ 2891334 h 3446535"/>
                  <a:gd name="connsiteX33" fmla="*/ 3727929 w 5167630"/>
                  <a:gd name="connsiteY33" fmla="*/ 2891334 h 3446535"/>
                  <a:gd name="connsiteX34" fmla="*/ 3727944 w 5167630"/>
                  <a:gd name="connsiteY34" fmla="*/ 2891331 h 3446535"/>
                  <a:gd name="connsiteX35" fmla="*/ 4087037 w 5167630"/>
                  <a:gd name="connsiteY35" fmla="*/ 2891331 h 3446535"/>
                  <a:gd name="connsiteX36" fmla="*/ 4364639 w 5167630"/>
                  <a:gd name="connsiteY36" fmla="*/ 3168933 h 3446535"/>
                  <a:gd name="connsiteX37" fmla="*/ 4087037 w 5167630"/>
                  <a:gd name="connsiteY37" fmla="*/ 3446535 h 3446535"/>
                  <a:gd name="connsiteX38" fmla="*/ 1714025 w 5167630"/>
                  <a:gd name="connsiteY38" fmla="*/ 3446535 h 3446535"/>
                  <a:gd name="connsiteX39" fmla="*/ 983851 w 5167630"/>
                  <a:gd name="connsiteY39" fmla="*/ 3329202 h 3446535"/>
                  <a:gd name="connsiteX40" fmla="*/ 503045 w 5167630"/>
                  <a:gd name="connsiteY40" fmla="*/ 3168933 h 3446535"/>
                  <a:gd name="connsiteX41" fmla="*/ 0 w 5167630"/>
                  <a:gd name="connsiteY41" fmla="*/ 3168933 h 3446535"/>
                  <a:gd name="connsiteX42" fmla="*/ 0 w 5167630"/>
                  <a:gd name="connsiteY42" fmla="*/ 980560 h 3446535"/>
                  <a:gd name="connsiteX43" fmla="*/ 665839 w 5167630"/>
                  <a:gd name="connsiteY43" fmla="*/ 980560 h 3446535"/>
                  <a:gd name="connsiteX44" fmla="*/ 955652 w 5167630"/>
                  <a:gd name="connsiteY44" fmla="*/ 881787 h 3446535"/>
                  <a:gd name="connsiteX45" fmla="*/ 1220705 w 5167630"/>
                  <a:gd name="connsiteY45" fmla="*/ 665928 h 3446535"/>
                  <a:gd name="connsiteX46" fmla="*/ 2444035 w 5167630"/>
                  <a:gd name="connsiteY46" fmla="*/ 71175 h 3446535"/>
                  <a:gd name="connsiteX47" fmla="*/ 2679552 w 5167630"/>
                  <a:gd name="connsiteY47" fmla="*/ 462 h 3446535"/>
                  <a:gd name="connsiteX0" fmla="*/ 2760515 w 5167630"/>
                  <a:gd name="connsiteY0" fmla="*/ 349 h 3474997"/>
                  <a:gd name="connsiteX1" fmla="*/ 3029684 w 5167630"/>
                  <a:gd name="connsiteY1" fmla="*/ 189161 h 3474997"/>
                  <a:gd name="connsiteX2" fmla="*/ 2717910 w 5167630"/>
                  <a:gd name="connsiteY2" fmla="*/ 631934 h 3474997"/>
                  <a:gd name="connsiteX3" fmla="*/ 2498162 w 5167630"/>
                  <a:gd name="connsiteY3" fmla="*/ 775623 h 3474997"/>
                  <a:gd name="connsiteX4" fmla="*/ 2561591 w 5167630"/>
                  <a:gd name="connsiteY4" fmla="*/ 873720 h 3474997"/>
                  <a:gd name="connsiteX5" fmla="*/ 4528781 w 5167630"/>
                  <a:gd name="connsiteY5" fmla="*/ 867698 h 3474997"/>
                  <a:gd name="connsiteX6" fmla="*/ 4806383 w 5167630"/>
                  <a:gd name="connsiteY6" fmla="*/ 1145300 h 3474997"/>
                  <a:gd name="connsiteX7" fmla="*/ 4528781 w 5167630"/>
                  <a:gd name="connsiteY7" fmla="*/ 1422902 h 3474997"/>
                  <a:gd name="connsiteX8" fmla="*/ 2853691 w 5167630"/>
                  <a:gd name="connsiteY8" fmla="*/ 1422902 h 3474997"/>
                  <a:gd name="connsiteX9" fmla="*/ 2853691 w 5167630"/>
                  <a:gd name="connsiteY9" fmla="*/ 1422904 h 3474997"/>
                  <a:gd name="connsiteX10" fmla="*/ 2730366 w 5167630"/>
                  <a:gd name="connsiteY10" fmla="*/ 1422904 h 3474997"/>
                  <a:gd name="connsiteX11" fmla="*/ 2665951 w 5167630"/>
                  <a:gd name="connsiteY11" fmla="*/ 1487319 h 3474997"/>
                  <a:gd name="connsiteX12" fmla="*/ 2730366 w 5167630"/>
                  <a:gd name="connsiteY12" fmla="*/ 1551734 h 3474997"/>
                  <a:gd name="connsiteX13" fmla="*/ 3727927 w 5167630"/>
                  <a:gd name="connsiteY13" fmla="*/ 1551734 h 3474997"/>
                  <a:gd name="connsiteX14" fmla="*/ 3727942 w 5167630"/>
                  <a:gd name="connsiteY14" fmla="*/ 1551731 h 3474997"/>
                  <a:gd name="connsiteX15" fmla="*/ 4890028 w 5167630"/>
                  <a:gd name="connsiteY15" fmla="*/ 1551731 h 3474997"/>
                  <a:gd name="connsiteX16" fmla="*/ 5167630 w 5167630"/>
                  <a:gd name="connsiteY16" fmla="*/ 1829333 h 3474997"/>
                  <a:gd name="connsiteX17" fmla="*/ 4890028 w 5167630"/>
                  <a:gd name="connsiteY17" fmla="*/ 2106935 h 3474997"/>
                  <a:gd name="connsiteX18" fmla="*/ 2853691 w 5167630"/>
                  <a:gd name="connsiteY18" fmla="*/ 2106935 h 3474997"/>
                  <a:gd name="connsiteX19" fmla="*/ 2853691 w 5167630"/>
                  <a:gd name="connsiteY19" fmla="*/ 2106936 h 3474997"/>
                  <a:gd name="connsiteX20" fmla="*/ 2730366 w 5167630"/>
                  <a:gd name="connsiteY20" fmla="*/ 2106936 h 3474997"/>
                  <a:gd name="connsiteX21" fmla="*/ 2665951 w 5167630"/>
                  <a:gd name="connsiteY21" fmla="*/ 2171351 h 3474997"/>
                  <a:gd name="connsiteX22" fmla="*/ 2730366 w 5167630"/>
                  <a:gd name="connsiteY22" fmla="*/ 2235765 h 3474997"/>
                  <a:gd name="connsiteX23" fmla="*/ 3727927 w 5167630"/>
                  <a:gd name="connsiteY23" fmla="*/ 2235766 h 3474997"/>
                  <a:gd name="connsiteX24" fmla="*/ 3727937 w 5167630"/>
                  <a:gd name="connsiteY24" fmla="*/ 2235764 h 3474997"/>
                  <a:gd name="connsiteX25" fmla="*/ 4528784 w 5167630"/>
                  <a:gd name="connsiteY25" fmla="*/ 2235764 h 3474997"/>
                  <a:gd name="connsiteX26" fmla="*/ 4806386 w 5167630"/>
                  <a:gd name="connsiteY26" fmla="*/ 2513366 h 3474997"/>
                  <a:gd name="connsiteX27" fmla="*/ 4528784 w 5167630"/>
                  <a:gd name="connsiteY27" fmla="*/ 2790968 h 3474997"/>
                  <a:gd name="connsiteX28" fmla="*/ 2853691 w 5167630"/>
                  <a:gd name="connsiteY28" fmla="*/ 2790968 h 3474997"/>
                  <a:gd name="connsiteX29" fmla="*/ 2853691 w 5167630"/>
                  <a:gd name="connsiteY29" fmla="*/ 2790970 h 3474997"/>
                  <a:gd name="connsiteX30" fmla="*/ 2730364 w 5167630"/>
                  <a:gd name="connsiteY30" fmla="*/ 2790970 h 3474997"/>
                  <a:gd name="connsiteX31" fmla="*/ 2665951 w 5167630"/>
                  <a:gd name="connsiteY31" fmla="*/ 2855383 h 3474997"/>
                  <a:gd name="connsiteX32" fmla="*/ 2730364 w 5167630"/>
                  <a:gd name="connsiteY32" fmla="*/ 2919796 h 3474997"/>
                  <a:gd name="connsiteX33" fmla="*/ 3727929 w 5167630"/>
                  <a:gd name="connsiteY33" fmla="*/ 2919796 h 3474997"/>
                  <a:gd name="connsiteX34" fmla="*/ 3727944 w 5167630"/>
                  <a:gd name="connsiteY34" fmla="*/ 2919793 h 3474997"/>
                  <a:gd name="connsiteX35" fmla="*/ 4087037 w 5167630"/>
                  <a:gd name="connsiteY35" fmla="*/ 2919793 h 3474997"/>
                  <a:gd name="connsiteX36" fmla="*/ 4364639 w 5167630"/>
                  <a:gd name="connsiteY36" fmla="*/ 3197395 h 3474997"/>
                  <a:gd name="connsiteX37" fmla="*/ 4087037 w 5167630"/>
                  <a:gd name="connsiteY37" fmla="*/ 3474997 h 3474997"/>
                  <a:gd name="connsiteX38" fmla="*/ 1714025 w 5167630"/>
                  <a:gd name="connsiteY38" fmla="*/ 3474997 h 3474997"/>
                  <a:gd name="connsiteX39" fmla="*/ 983851 w 5167630"/>
                  <a:gd name="connsiteY39" fmla="*/ 3357664 h 3474997"/>
                  <a:gd name="connsiteX40" fmla="*/ 503045 w 5167630"/>
                  <a:gd name="connsiteY40" fmla="*/ 3197395 h 3474997"/>
                  <a:gd name="connsiteX41" fmla="*/ 0 w 5167630"/>
                  <a:gd name="connsiteY41" fmla="*/ 3197395 h 3474997"/>
                  <a:gd name="connsiteX42" fmla="*/ 0 w 5167630"/>
                  <a:gd name="connsiteY42" fmla="*/ 1009022 h 3474997"/>
                  <a:gd name="connsiteX43" fmla="*/ 665839 w 5167630"/>
                  <a:gd name="connsiteY43" fmla="*/ 1009022 h 3474997"/>
                  <a:gd name="connsiteX44" fmla="*/ 955652 w 5167630"/>
                  <a:gd name="connsiteY44" fmla="*/ 910249 h 3474997"/>
                  <a:gd name="connsiteX45" fmla="*/ 1220705 w 5167630"/>
                  <a:gd name="connsiteY45" fmla="*/ 694390 h 3474997"/>
                  <a:gd name="connsiteX46" fmla="*/ 2444035 w 5167630"/>
                  <a:gd name="connsiteY46" fmla="*/ 99637 h 3474997"/>
                  <a:gd name="connsiteX47" fmla="*/ 2760515 w 5167630"/>
                  <a:gd name="connsiteY47" fmla="*/ 349 h 3474997"/>
                  <a:gd name="connsiteX0" fmla="*/ 2760515 w 5167630"/>
                  <a:gd name="connsiteY0" fmla="*/ 349 h 3474997"/>
                  <a:gd name="connsiteX1" fmla="*/ 3029684 w 5167630"/>
                  <a:gd name="connsiteY1" fmla="*/ 189161 h 3474997"/>
                  <a:gd name="connsiteX2" fmla="*/ 2717910 w 5167630"/>
                  <a:gd name="connsiteY2" fmla="*/ 631934 h 3474997"/>
                  <a:gd name="connsiteX3" fmla="*/ 2498162 w 5167630"/>
                  <a:gd name="connsiteY3" fmla="*/ 775623 h 3474997"/>
                  <a:gd name="connsiteX4" fmla="*/ 2561591 w 5167630"/>
                  <a:gd name="connsiteY4" fmla="*/ 873720 h 3474997"/>
                  <a:gd name="connsiteX5" fmla="*/ 4528781 w 5167630"/>
                  <a:gd name="connsiteY5" fmla="*/ 867698 h 3474997"/>
                  <a:gd name="connsiteX6" fmla="*/ 4806383 w 5167630"/>
                  <a:gd name="connsiteY6" fmla="*/ 1145300 h 3474997"/>
                  <a:gd name="connsiteX7" fmla="*/ 4528781 w 5167630"/>
                  <a:gd name="connsiteY7" fmla="*/ 1422902 h 3474997"/>
                  <a:gd name="connsiteX8" fmla="*/ 2853691 w 5167630"/>
                  <a:gd name="connsiteY8" fmla="*/ 1422902 h 3474997"/>
                  <a:gd name="connsiteX9" fmla="*/ 2853691 w 5167630"/>
                  <a:gd name="connsiteY9" fmla="*/ 1422904 h 3474997"/>
                  <a:gd name="connsiteX10" fmla="*/ 2730366 w 5167630"/>
                  <a:gd name="connsiteY10" fmla="*/ 1422904 h 3474997"/>
                  <a:gd name="connsiteX11" fmla="*/ 2665951 w 5167630"/>
                  <a:gd name="connsiteY11" fmla="*/ 1487319 h 3474997"/>
                  <a:gd name="connsiteX12" fmla="*/ 2730366 w 5167630"/>
                  <a:gd name="connsiteY12" fmla="*/ 1551734 h 3474997"/>
                  <a:gd name="connsiteX13" fmla="*/ 3727927 w 5167630"/>
                  <a:gd name="connsiteY13" fmla="*/ 1551734 h 3474997"/>
                  <a:gd name="connsiteX14" fmla="*/ 3727942 w 5167630"/>
                  <a:gd name="connsiteY14" fmla="*/ 1551731 h 3474997"/>
                  <a:gd name="connsiteX15" fmla="*/ 4890028 w 5167630"/>
                  <a:gd name="connsiteY15" fmla="*/ 1551731 h 3474997"/>
                  <a:gd name="connsiteX16" fmla="*/ 5167630 w 5167630"/>
                  <a:gd name="connsiteY16" fmla="*/ 1829333 h 3474997"/>
                  <a:gd name="connsiteX17" fmla="*/ 4890028 w 5167630"/>
                  <a:gd name="connsiteY17" fmla="*/ 2106935 h 3474997"/>
                  <a:gd name="connsiteX18" fmla="*/ 2853691 w 5167630"/>
                  <a:gd name="connsiteY18" fmla="*/ 2106935 h 3474997"/>
                  <a:gd name="connsiteX19" fmla="*/ 2853691 w 5167630"/>
                  <a:gd name="connsiteY19" fmla="*/ 2106936 h 3474997"/>
                  <a:gd name="connsiteX20" fmla="*/ 2730366 w 5167630"/>
                  <a:gd name="connsiteY20" fmla="*/ 2106936 h 3474997"/>
                  <a:gd name="connsiteX21" fmla="*/ 2665951 w 5167630"/>
                  <a:gd name="connsiteY21" fmla="*/ 2171351 h 3474997"/>
                  <a:gd name="connsiteX22" fmla="*/ 2730366 w 5167630"/>
                  <a:gd name="connsiteY22" fmla="*/ 2235765 h 3474997"/>
                  <a:gd name="connsiteX23" fmla="*/ 3727927 w 5167630"/>
                  <a:gd name="connsiteY23" fmla="*/ 2235766 h 3474997"/>
                  <a:gd name="connsiteX24" fmla="*/ 3727937 w 5167630"/>
                  <a:gd name="connsiteY24" fmla="*/ 2235764 h 3474997"/>
                  <a:gd name="connsiteX25" fmla="*/ 4528784 w 5167630"/>
                  <a:gd name="connsiteY25" fmla="*/ 2235764 h 3474997"/>
                  <a:gd name="connsiteX26" fmla="*/ 4806386 w 5167630"/>
                  <a:gd name="connsiteY26" fmla="*/ 2513366 h 3474997"/>
                  <a:gd name="connsiteX27" fmla="*/ 4528784 w 5167630"/>
                  <a:gd name="connsiteY27" fmla="*/ 2790968 h 3474997"/>
                  <a:gd name="connsiteX28" fmla="*/ 2853691 w 5167630"/>
                  <a:gd name="connsiteY28" fmla="*/ 2790968 h 3474997"/>
                  <a:gd name="connsiteX29" fmla="*/ 2853691 w 5167630"/>
                  <a:gd name="connsiteY29" fmla="*/ 2790970 h 3474997"/>
                  <a:gd name="connsiteX30" fmla="*/ 2730364 w 5167630"/>
                  <a:gd name="connsiteY30" fmla="*/ 2790970 h 3474997"/>
                  <a:gd name="connsiteX31" fmla="*/ 2665951 w 5167630"/>
                  <a:gd name="connsiteY31" fmla="*/ 2855383 h 3474997"/>
                  <a:gd name="connsiteX32" fmla="*/ 2730364 w 5167630"/>
                  <a:gd name="connsiteY32" fmla="*/ 2919796 h 3474997"/>
                  <a:gd name="connsiteX33" fmla="*/ 3727929 w 5167630"/>
                  <a:gd name="connsiteY33" fmla="*/ 2919796 h 3474997"/>
                  <a:gd name="connsiteX34" fmla="*/ 3727944 w 5167630"/>
                  <a:gd name="connsiteY34" fmla="*/ 2919793 h 3474997"/>
                  <a:gd name="connsiteX35" fmla="*/ 4087037 w 5167630"/>
                  <a:gd name="connsiteY35" fmla="*/ 2919793 h 3474997"/>
                  <a:gd name="connsiteX36" fmla="*/ 4364639 w 5167630"/>
                  <a:gd name="connsiteY36" fmla="*/ 3197395 h 3474997"/>
                  <a:gd name="connsiteX37" fmla="*/ 4087037 w 5167630"/>
                  <a:gd name="connsiteY37" fmla="*/ 3474997 h 3474997"/>
                  <a:gd name="connsiteX38" fmla="*/ 1714025 w 5167630"/>
                  <a:gd name="connsiteY38" fmla="*/ 3474997 h 3474997"/>
                  <a:gd name="connsiteX39" fmla="*/ 983851 w 5167630"/>
                  <a:gd name="connsiteY39" fmla="*/ 3357664 h 3474997"/>
                  <a:gd name="connsiteX40" fmla="*/ 503045 w 5167630"/>
                  <a:gd name="connsiteY40" fmla="*/ 3197395 h 3474997"/>
                  <a:gd name="connsiteX41" fmla="*/ 0 w 5167630"/>
                  <a:gd name="connsiteY41" fmla="*/ 3197395 h 3474997"/>
                  <a:gd name="connsiteX42" fmla="*/ 0 w 5167630"/>
                  <a:gd name="connsiteY42" fmla="*/ 1009022 h 3474997"/>
                  <a:gd name="connsiteX43" fmla="*/ 665839 w 5167630"/>
                  <a:gd name="connsiteY43" fmla="*/ 1009022 h 3474997"/>
                  <a:gd name="connsiteX44" fmla="*/ 955652 w 5167630"/>
                  <a:gd name="connsiteY44" fmla="*/ 910249 h 3474997"/>
                  <a:gd name="connsiteX45" fmla="*/ 1220705 w 5167630"/>
                  <a:gd name="connsiteY45" fmla="*/ 694390 h 3474997"/>
                  <a:gd name="connsiteX46" fmla="*/ 2444035 w 5167630"/>
                  <a:gd name="connsiteY46" fmla="*/ 99637 h 3474997"/>
                  <a:gd name="connsiteX47" fmla="*/ 2760515 w 5167630"/>
                  <a:gd name="connsiteY47" fmla="*/ 349 h 3474997"/>
                  <a:gd name="connsiteX0" fmla="*/ 2760515 w 5167630"/>
                  <a:gd name="connsiteY0" fmla="*/ 324 h 3474972"/>
                  <a:gd name="connsiteX1" fmla="*/ 3029684 w 5167630"/>
                  <a:gd name="connsiteY1" fmla="*/ 189136 h 3474972"/>
                  <a:gd name="connsiteX2" fmla="*/ 2798873 w 5167630"/>
                  <a:gd name="connsiteY2" fmla="*/ 584284 h 3474972"/>
                  <a:gd name="connsiteX3" fmla="*/ 2498162 w 5167630"/>
                  <a:gd name="connsiteY3" fmla="*/ 775598 h 3474972"/>
                  <a:gd name="connsiteX4" fmla="*/ 2561591 w 5167630"/>
                  <a:gd name="connsiteY4" fmla="*/ 873695 h 3474972"/>
                  <a:gd name="connsiteX5" fmla="*/ 4528781 w 5167630"/>
                  <a:gd name="connsiteY5" fmla="*/ 867673 h 3474972"/>
                  <a:gd name="connsiteX6" fmla="*/ 4806383 w 5167630"/>
                  <a:gd name="connsiteY6" fmla="*/ 1145275 h 3474972"/>
                  <a:gd name="connsiteX7" fmla="*/ 4528781 w 5167630"/>
                  <a:gd name="connsiteY7" fmla="*/ 1422877 h 3474972"/>
                  <a:gd name="connsiteX8" fmla="*/ 2853691 w 5167630"/>
                  <a:gd name="connsiteY8" fmla="*/ 1422877 h 3474972"/>
                  <a:gd name="connsiteX9" fmla="*/ 2853691 w 5167630"/>
                  <a:gd name="connsiteY9" fmla="*/ 1422879 h 3474972"/>
                  <a:gd name="connsiteX10" fmla="*/ 2730366 w 5167630"/>
                  <a:gd name="connsiteY10" fmla="*/ 1422879 h 3474972"/>
                  <a:gd name="connsiteX11" fmla="*/ 2665951 w 5167630"/>
                  <a:gd name="connsiteY11" fmla="*/ 1487294 h 3474972"/>
                  <a:gd name="connsiteX12" fmla="*/ 2730366 w 5167630"/>
                  <a:gd name="connsiteY12" fmla="*/ 1551709 h 3474972"/>
                  <a:gd name="connsiteX13" fmla="*/ 3727927 w 5167630"/>
                  <a:gd name="connsiteY13" fmla="*/ 1551709 h 3474972"/>
                  <a:gd name="connsiteX14" fmla="*/ 3727942 w 5167630"/>
                  <a:gd name="connsiteY14" fmla="*/ 1551706 h 3474972"/>
                  <a:gd name="connsiteX15" fmla="*/ 4890028 w 5167630"/>
                  <a:gd name="connsiteY15" fmla="*/ 1551706 h 3474972"/>
                  <a:gd name="connsiteX16" fmla="*/ 5167630 w 5167630"/>
                  <a:gd name="connsiteY16" fmla="*/ 1829308 h 3474972"/>
                  <a:gd name="connsiteX17" fmla="*/ 4890028 w 5167630"/>
                  <a:gd name="connsiteY17" fmla="*/ 2106910 h 3474972"/>
                  <a:gd name="connsiteX18" fmla="*/ 2853691 w 5167630"/>
                  <a:gd name="connsiteY18" fmla="*/ 2106910 h 3474972"/>
                  <a:gd name="connsiteX19" fmla="*/ 2853691 w 5167630"/>
                  <a:gd name="connsiteY19" fmla="*/ 2106911 h 3474972"/>
                  <a:gd name="connsiteX20" fmla="*/ 2730366 w 5167630"/>
                  <a:gd name="connsiteY20" fmla="*/ 2106911 h 3474972"/>
                  <a:gd name="connsiteX21" fmla="*/ 2665951 w 5167630"/>
                  <a:gd name="connsiteY21" fmla="*/ 2171326 h 3474972"/>
                  <a:gd name="connsiteX22" fmla="*/ 2730366 w 5167630"/>
                  <a:gd name="connsiteY22" fmla="*/ 2235740 h 3474972"/>
                  <a:gd name="connsiteX23" fmla="*/ 3727927 w 5167630"/>
                  <a:gd name="connsiteY23" fmla="*/ 2235741 h 3474972"/>
                  <a:gd name="connsiteX24" fmla="*/ 3727937 w 5167630"/>
                  <a:gd name="connsiteY24" fmla="*/ 2235739 h 3474972"/>
                  <a:gd name="connsiteX25" fmla="*/ 4528784 w 5167630"/>
                  <a:gd name="connsiteY25" fmla="*/ 2235739 h 3474972"/>
                  <a:gd name="connsiteX26" fmla="*/ 4806386 w 5167630"/>
                  <a:gd name="connsiteY26" fmla="*/ 2513341 h 3474972"/>
                  <a:gd name="connsiteX27" fmla="*/ 4528784 w 5167630"/>
                  <a:gd name="connsiteY27" fmla="*/ 2790943 h 3474972"/>
                  <a:gd name="connsiteX28" fmla="*/ 2853691 w 5167630"/>
                  <a:gd name="connsiteY28" fmla="*/ 2790943 h 3474972"/>
                  <a:gd name="connsiteX29" fmla="*/ 2853691 w 5167630"/>
                  <a:gd name="connsiteY29" fmla="*/ 2790945 h 3474972"/>
                  <a:gd name="connsiteX30" fmla="*/ 2730364 w 5167630"/>
                  <a:gd name="connsiteY30" fmla="*/ 2790945 h 3474972"/>
                  <a:gd name="connsiteX31" fmla="*/ 2665951 w 5167630"/>
                  <a:gd name="connsiteY31" fmla="*/ 2855358 h 3474972"/>
                  <a:gd name="connsiteX32" fmla="*/ 2730364 w 5167630"/>
                  <a:gd name="connsiteY32" fmla="*/ 2919771 h 3474972"/>
                  <a:gd name="connsiteX33" fmla="*/ 3727929 w 5167630"/>
                  <a:gd name="connsiteY33" fmla="*/ 2919771 h 3474972"/>
                  <a:gd name="connsiteX34" fmla="*/ 3727944 w 5167630"/>
                  <a:gd name="connsiteY34" fmla="*/ 2919768 h 3474972"/>
                  <a:gd name="connsiteX35" fmla="*/ 4087037 w 5167630"/>
                  <a:gd name="connsiteY35" fmla="*/ 2919768 h 3474972"/>
                  <a:gd name="connsiteX36" fmla="*/ 4364639 w 5167630"/>
                  <a:gd name="connsiteY36" fmla="*/ 3197370 h 3474972"/>
                  <a:gd name="connsiteX37" fmla="*/ 4087037 w 5167630"/>
                  <a:gd name="connsiteY37" fmla="*/ 3474972 h 3474972"/>
                  <a:gd name="connsiteX38" fmla="*/ 1714025 w 5167630"/>
                  <a:gd name="connsiteY38" fmla="*/ 3474972 h 3474972"/>
                  <a:gd name="connsiteX39" fmla="*/ 983851 w 5167630"/>
                  <a:gd name="connsiteY39" fmla="*/ 3357639 h 3474972"/>
                  <a:gd name="connsiteX40" fmla="*/ 503045 w 5167630"/>
                  <a:gd name="connsiteY40" fmla="*/ 3197370 h 3474972"/>
                  <a:gd name="connsiteX41" fmla="*/ 0 w 5167630"/>
                  <a:gd name="connsiteY41" fmla="*/ 3197370 h 3474972"/>
                  <a:gd name="connsiteX42" fmla="*/ 0 w 5167630"/>
                  <a:gd name="connsiteY42" fmla="*/ 1008997 h 3474972"/>
                  <a:gd name="connsiteX43" fmla="*/ 665839 w 5167630"/>
                  <a:gd name="connsiteY43" fmla="*/ 1008997 h 3474972"/>
                  <a:gd name="connsiteX44" fmla="*/ 955652 w 5167630"/>
                  <a:gd name="connsiteY44" fmla="*/ 910224 h 3474972"/>
                  <a:gd name="connsiteX45" fmla="*/ 1220705 w 5167630"/>
                  <a:gd name="connsiteY45" fmla="*/ 694365 h 3474972"/>
                  <a:gd name="connsiteX46" fmla="*/ 2444035 w 5167630"/>
                  <a:gd name="connsiteY46" fmla="*/ 99612 h 3474972"/>
                  <a:gd name="connsiteX47" fmla="*/ 2760515 w 5167630"/>
                  <a:gd name="connsiteY47" fmla="*/ 324 h 3474972"/>
                  <a:gd name="connsiteX0" fmla="*/ 2870052 w 5167630"/>
                  <a:gd name="connsiteY0" fmla="*/ 210 h 3541533"/>
                  <a:gd name="connsiteX1" fmla="*/ 3029684 w 5167630"/>
                  <a:gd name="connsiteY1" fmla="*/ 255697 h 3541533"/>
                  <a:gd name="connsiteX2" fmla="*/ 2798873 w 5167630"/>
                  <a:gd name="connsiteY2" fmla="*/ 650845 h 3541533"/>
                  <a:gd name="connsiteX3" fmla="*/ 2498162 w 5167630"/>
                  <a:gd name="connsiteY3" fmla="*/ 842159 h 3541533"/>
                  <a:gd name="connsiteX4" fmla="*/ 2561591 w 5167630"/>
                  <a:gd name="connsiteY4" fmla="*/ 940256 h 3541533"/>
                  <a:gd name="connsiteX5" fmla="*/ 4528781 w 5167630"/>
                  <a:gd name="connsiteY5" fmla="*/ 934234 h 3541533"/>
                  <a:gd name="connsiteX6" fmla="*/ 4806383 w 5167630"/>
                  <a:gd name="connsiteY6" fmla="*/ 1211836 h 3541533"/>
                  <a:gd name="connsiteX7" fmla="*/ 4528781 w 5167630"/>
                  <a:gd name="connsiteY7" fmla="*/ 1489438 h 3541533"/>
                  <a:gd name="connsiteX8" fmla="*/ 2853691 w 5167630"/>
                  <a:gd name="connsiteY8" fmla="*/ 1489438 h 3541533"/>
                  <a:gd name="connsiteX9" fmla="*/ 2853691 w 5167630"/>
                  <a:gd name="connsiteY9" fmla="*/ 1489440 h 3541533"/>
                  <a:gd name="connsiteX10" fmla="*/ 2730366 w 5167630"/>
                  <a:gd name="connsiteY10" fmla="*/ 1489440 h 3541533"/>
                  <a:gd name="connsiteX11" fmla="*/ 2665951 w 5167630"/>
                  <a:gd name="connsiteY11" fmla="*/ 1553855 h 3541533"/>
                  <a:gd name="connsiteX12" fmla="*/ 2730366 w 5167630"/>
                  <a:gd name="connsiteY12" fmla="*/ 1618270 h 3541533"/>
                  <a:gd name="connsiteX13" fmla="*/ 3727927 w 5167630"/>
                  <a:gd name="connsiteY13" fmla="*/ 1618270 h 3541533"/>
                  <a:gd name="connsiteX14" fmla="*/ 3727942 w 5167630"/>
                  <a:gd name="connsiteY14" fmla="*/ 1618267 h 3541533"/>
                  <a:gd name="connsiteX15" fmla="*/ 4890028 w 5167630"/>
                  <a:gd name="connsiteY15" fmla="*/ 1618267 h 3541533"/>
                  <a:gd name="connsiteX16" fmla="*/ 5167630 w 5167630"/>
                  <a:gd name="connsiteY16" fmla="*/ 1895869 h 3541533"/>
                  <a:gd name="connsiteX17" fmla="*/ 4890028 w 5167630"/>
                  <a:gd name="connsiteY17" fmla="*/ 2173471 h 3541533"/>
                  <a:gd name="connsiteX18" fmla="*/ 2853691 w 5167630"/>
                  <a:gd name="connsiteY18" fmla="*/ 2173471 h 3541533"/>
                  <a:gd name="connsiteX19" fmla="*/ 2853691 w 5167630"/>
                  <a:gd name="connsiteY19" fmla="*/ 2173472 h 3541533"/>
                  <a:gd name="connsiteX20" fmla="*/ 2730366 w 5167630"/>
                  <a:gd name="connsiteY20" fmla="*/ 2173472 h 3541533"/>
                  <a:gd name="connsiteX21" fmla="*/ 2665951 w 5167630"/>
                  <a:gd name="connsiteY21" fmla="*/ 2237887 h 3541533"/>
                  <a:gd name="connsiteX22" fmla="*/ 2730366 w 5167630"/>
                  <a:gd name="connsiteY22" fmla="*/ 2302301 h 3541533"/>
                  <a:gd name="connsiteX23" fmla="*/ 3727927 w 5167630"/>
                  <a:gd name="connsiteY23" fmla="*/ 2302302 h 3541533"/>
                  <a:gd name="connsiteX24" fmla="*/ 3727937 w 5167630"/>
                  <a:gd name="connsiteY24" fmla="*/ 2302300 h 3541533"/>
                  <a:gd name="connsiteX25" fmla="*/ 4528784 w 5167630"/>
                  <a:gd name="connsiteY25" fmla="*/ 2302300 h 3541533"/>
                  <a:gd name="connsiteX26" fmla="*/ 4806386 w 5167630"/>
                  <a:gd name="connsiteY26" fmla="*/ 2579902 h 3541533"/>
                  <a:gd name="connsiteX27" fmla="*/ 4528784 w 5167630"/>
                  <a:gd name="connsiteY27" fmla="*/ 2857504 h 3541533"/>
                  <a:gd name="connsiteX28" fmla="*/ 2853691 w 5167630"/>
                  <a:gd name="connsiteY28" fmla="*/ 2857504 h 3541533"/>
                  <a:gd name="connsiteX29" fmla="*/ 2853691 w 5167630"/>
                  <a:gd name="connsiteY29" fmla="*/ 2857506 h 3541533"/>
                  <a:gd name="connsiteX30" fmla="*/ 2730364 w 5167630"/>
                  <a:gd name="connsiteY30" fmla="*/ 2857506 h 3541533"/>
                  <a:gd name="connsiteX31" fmla="*/ 2665951 w 5167630"/>
                  <a:gd name="connsiteY31" fmla="*/ 2921919 h 3541533"/>
                  <a:gd name="connsiteX32" fmla="*/ 2730364 w 5167630"/>
                  <a:gd name="connsiteY32" fmla="*/ 2986332 h 3541533"/>
                  <a:gd name="connsiteX33" fmla="*/ 3727929 w 5167630"/>
                  <a:gd name="connsiteY33" fmla="*/ 2986332 h 3541533"/>
                  <a:gd name="connsiteX34" fmla="*/ 3727944 w 5167630"/>
                  <a:gd name="connsiteY34" fmla="*/ 2986329 h 3541533"/>
                  <a:gd name="connsiteX35" fmla="*/ 4087037 w 5167630"/>
                  <a:gd name="connsiteY35" fmla="*/ 2986329 h 3541533"/>
                  <a:gd name="connsiteX36" fmla="*/ 4364639 w 5167630"/>
                  <a:gd name="connsiteY36" fmla="*/ 3263931 h 3541533"/>
                  <a:gd name="connsiteX37" fmla="*/ 4087037 w 5167630"/>
                  <a:gd name="connsiteY37" fmla="*/ 3541533 h 3541533"/>
                  <a:gd name="connsiteX38" fmla="*/ 1714025 w 5167630"/>
                  <a:gd name="connsiteY38" fmla="*/ 3541533 h 3541533"/>
                  <a:gd name="connsiteX39" fmla="*/ 983851 w 5167630"/>
                  <a:gd name="connsiteY39" fmla="*/ 3424200 h 3541533"/>
                  <a:gd name="connsiteX40" fmla="*/ 503045 w 5167630"/>
                  <a:gd name="connsiteY40" fmla="*/ 3263931 h 3541533"/>
                  <a:gd name="connsiteX41" fmla="*/ 0 w 5167630"/>
                  <a:gd name="connsiteY41" fmla="*/ 3263931 h 3541533"/>
                  <a:gd name="connsiteX42" fmla="*/ 0 w 5167630"/>
                  <a:gd name="connsiteY42" fmla="*/ 1075558 h 3541533"/>
                  <a:gd name="connsiteX43" fmla="*/ 665839 w 5167630"/>
                  <a:gd name="connsiteY43" fmla="*/ 1075558 h 3541533"/>
                  <a:gd name="connsiteX44" fmla="*/ 955652 w 5167630"/>
                  <a:gd name="connsiteY44" fmla="*/ 976785 h 3541533"/>
                  <a:gd name="connsiteX45" fmla="*/ 1220705 w 5167630"/>
                  <a:gd name="connsiteY45" fmla="*/ 760926 h 3541533"/>
                  <a:gd name="connsiteX46" fmla="*/ 2444035 w 5167630"/>
                  <a:gd name="connsiteY46" fmla="*/ 166173 h 3541533"/>
                  <a:gd name="connsiteX47" fmla="*/ 2870052 w 5167630"/>
                  <a:gd name="connsiteY47" fmla="*/ 210 h 3541533"/>
                  <a:gd name="connsiteX0" fmla="*/ 2870052 w 5167630"/>
                  <a:gd name="connsiteY0" fmla="*/ 210 h 3541533"/>
                  <a:gd name="connsiteX1" fmla="*/ 3077309 w 5167630"/>
                  <a:gd name="connsiteY1" fmla="*/ 255697 h 3541533"/>
                  <a:gd name="connsiteX2" fmla="*/ 2798873 w 5167630"/>
                  <a:gd name="connsiteY2" fmla="*/ 650845 h 3541533"/>
                  <a:gd name="connsiteX3" fmla="*/ 2498162 w 5167630"/>
                  <a:gd name="connsiteY3" fmla="*/ 842159 h 3541533"/>
                  <a:gd name="connsiteX4" fmla="*/ 2561591 w 5167630"/>
                  <a:gd name="connsiteY4" fmla="*/ 940256 h 3541533"/>
                  <a:gd name="connsiteX5" fmla="*/ 4528781 w 5167630"/>
                  <a:gd name="connsiteY5" fmla="*/ 934234 h 3541533"/>
                  <a:gd name="connsiteX6" fmla="*/ 4806383 w 5167630"/>
                  <a:gd name="connsiteY6" fmla="*/ 1211836 h 3541533"/>
                  <a:gd name="connsiteX7" fmla="*/ 4528781 w 5167630"/>
                  <a:gd name="connsiteY7" fmla="*/ 1489438 h 3541533"/>
                  <a:gd name="connsiteX8" fmla="*/ 2853691 w 5167630"/>
                  <a:gd name="connsiteY8" fmla="*/ 1489438 h 3541533"/>
                  <a:gd name="connsiteX9" fmla="*/ 2853691 w 5167630"/>
                  <a:gd name="connsiteY9" fmla="*/ 1489440 h 3541533"/>
                  <a:gd name="connsiteX10" fmla="*/ 2730366 w 5167630"/>
                  <a:gd name="connsiteY10" fmla="*/ 1489440 h 3541533"/>
                  <a:gd name="connsiteX11" fmla="*/ 2665951 w 5167630"/>
                  <a:gd name="connsiteY11" fmla="*/ 1553855 h 3541533"/>
                  <a:gd name="connsiteX12" fmla="*/ 2730366 w 5167630"/>
                  <a:gd name="connsiteY12" fmla="*/ 1618270 h 3541533"/>
                  <a:gd name="connsiteX13" fmla="*/ 3727927 w 5167630"/>
                  <a:gd name="connsiteY13" fmla="*/ 1618270 h 3541533"/>
                  <a:gd name="connsiteX14" fmla="*/ 3727942 w 5167630"/>
                  <a:gd name="connsiteY14" fmla="*/ 1618267 h 3541533"/>
                  <a:gd name="connsiteX15" fmla="*/ 4890028 w 5167630"/>
                  <a:gd name="connsiteY15" fmla="*/ 1618267 h 3541533"/>
                  <a:gd name="connsiteX16" fmla="*/ 5167630 w 5167630"/>
                  <a:gd name="connsiteY16" fmla="*/ 1895869 h 3541533"/>
                  <a:gd name="connsiteX17" fmla="*/ 4890028 w 5167630"/>
                  <a:gd name="connsiteY17" fmla="*/ 2173471 h 3541533"/>
                  <a:gd name="connsiteX18" fmla="*/ 2853691 w 5167630"/>
                  <a:gd name="connsiteY18" fmla="*/ 2173471 h 3541533"/>
                  <a:gd name="connsiteX19" fmla="*/ 2853691 w 5167630"/>
                  <a:gd name="connsiteY19" fmla="*/ 2173472 h 3541533"/>
                  <a:gd name="connsiteX20" fmla="*/ 2730366 w 5167630"/>
                  <a:gd name="connsiteY20" fmla="*/ 2173472 h 3541533"/>
                  <a:gd name="connsiteX21" fmla="*/ 2665951 w 5167630"/>
                  <a:gd name="connsiteY21" fmla="*/ 2237887 h 3541533"/>
                  <a:gd name="connsiteX22" fmla="*/ 2730366 w 5167630"/>
                  <a:gd name="connsiteY22" fmla="*/ 2302301 h 3541533"/>
                  <a:gd name="connsiteX23" fmla="*/ 3727927 w 5167630"/>
                  <a:gd name="connsiteY23" fmla="*/ 2302302 h 3541533"/>
                  <a:gd name="connsiteX24" fmla="*/ 3727937 w 5167630"/>
                  <a:gd name="connsiteY24" fmla="*/ 2302300 h 3541533"/>
                  <a:gd name="connsiteX25" fmla="*/ 4528784 w 5167630"/>
                  <a:gd name="connsiteY25" fmla="*/ 2302300 h 3541533"/>
                  <a:gd name="connsiteX26" fmla="*/ 4806386 w 5167630"/>
                  <a:gd name="connsiteY26" fmla="*/ 2579902 h 3541533"/>
                  <a:gd name="connsiteX27" fmla="*/ 4528784 w 5167630"/>
                  <a:gd name="connsiteY27" fmla="*/ 2857504 h 3541533"/>
                  <a:gd name="connsiteX28" fmla="*/ 2853691 w 5167630"/>
                  <a:gd name="connsiteY28" fmla="*/ 2857504 h 3541533"/>
                  <a:gd name="connsiteX29" fmla="*/ 2853691 w 5167630"/>
                  <a:gd name="connsiteY29" fmla="*/ 2857506 h 3541533"/>
                  <a:gd name="connsiteX30" fmla="*/ 2730364 w 5167630"/>
                  <a:gd name="connsiteY30" fmla="*/ 2857506 h 3541533"/>
                  <a:gd name="connsiteX31" fmla="*/ 2665951 w 5167630"/>
                  <a:gd name="connsiteY31" fmla="*/ 2921919 h 3541533"/>
                  <a:gd name="connsiteX32" fmla="*/ 2730364 w 5167630"/>
                  <a:gd name="connsiteY32" fmla="*/ 2986332 h 3541533"/>
                  <a:gd name="connsiteX33" fmla="*/ 3727929 w 5167630"/>
                  <a:gd name="connsiteY33" fmla="*/ 2986332 h 3541533"/>
                  <a:gd name="connsiteX34" fmla="*/ 3727944 w 5167630"/>
                  <a:gd name="connsiteY34" fmla="*/ 2986329 h 3541533"/>
                  <a:gd name="connsiteX35" fmla="*/ 4087037 w 5167630"/>
                  <a:gd name="connsiteY35" fmla="*/ 2986329 h 3541533"/>
                  <a:gd name="connsiteX36" fmla="*/ 4364639 w 5167630"/>
                  <a:gd name="connsiteY36" fmla="*/ 3263931 h 3541533"/>
                  <a:gd name="connsiteX37" fmla="*/ 4087037 w 5167630"/>
                  <a:gd name="connsiteY37" fmla="*/ 3541533 h 3541533"/>
                  <a:gd name="connsiteX38" fmla="*/ 1714025 w 5167630"/>
                  <a:gd name="connsiteY38" fmla="*/ 3541533 h 3541533"/>
                  <a:gd name="connsiteX39" fmla="*/ 983851 w 5167630"/>
                  <a:gd name="connsiteY39" fmla="*/ 3424200 h 3541533"/>
                  <a:gd name="connsiteX40" fmla="*/ 503045 w 5167630"/>
                  <a:gd name="connsiteY40" fmla="*/ 3263931 h 3541533"/>
                  <a:gd name="connsiteX41" fmla="*/ 0 w 5167630"/>
                  <a:gd name="connsiteY41" fmla="*/ 3263931 h 3541533"/>
                  <a:gd name="connsiteX42" fmla="*/ 0 w 5167630"/>
                  <a:gd name="connsiteY42" fmla="*/ 1075558 h 3541533"/>
                  <a:gd name="connsiteX43" fmla="*/ 665839 w 5167630"/>
                  <a:gd name="connsiteY43" fmla="*/ 1075558 h 3541533"/>
                  <a:gd name="connsiteX44" fmla="*/ 955652 w 5167630"/>
                  <a:gd name="connsiteY44" fmla="*/ 976785 h 3541533"/>
                  <a:gd name="connsiteX45" fmla="*/ 1220705 w 5167630"/>
                  <a:gd name="connsiteY45" fmla="*/ 760926 h 3541533"/>
                  <a:gd name="connsiteX46" fmla="*/ 2444035 w 5167630"/>
                  <a:gd name="connsiteY46" fmla="*/ 166173 h 3541533"/>
                  <a:gd name="connsiteX47" fmla="*/ 2870052 w 5167630"/>
                  <a:gd name="connsiteY47" fmla="*/ 210 h 3541533"/>
                  <a:gd name="connsiteX0" fmla="*/ 2870052 w 5167630"/>
                  <a:gd name="connsiteY0" fmla="*/ 210 h 3541533"/>
                  <a:gd name="connsiteX1" fmla="*/ 3077309 w 5167630"/>
                  <a:gd name="connsiteY1" fmla="*/ 255697 h 3541533"/>
                  <a:gd name="connsiteX2" fmla="*/ 2798873 w 5167630"/>
                  <a:gd name="connsiteY2" fmla="*/ 650845 h 3541533"/>
                  <a:gd name="connsiteX3" fmla="*/ 2498162 w 5167630"/>
                  <a:gd name="connsiteY3" fmla="*/ 842159 h 3541533"/>
                  <a:gd name="connsiteX4" fmla="*/ 2561591 w 5167630"/>
                  <a:gd name="connsiteY4" fmla="*/ 940256 h 3541533"/>
                  <a:gd name="connsiteX5" fmla="*/ 4528781 w 5167630"/>
                  <a:gd name="connsiteY5" fmla="*/ 934234 h 3541533"/>
                  <a:gd name="connsiteX6" fmla="*/ 4806383 w 5167630"/>
                  <a:gd name="connsiteY6" fmla="*/ 1211836 h 3541533"/>
                  <a:gd name="connsiteX7" fmla="*/ 4528781 w 5167630"/>
                  <a:gd name="connsiteY7" fmla="*/ 1489438 h 3541533"/>
                  <a:gd name="connsiteX8" fmla="*/ 2853691 w 5167630"/>
                  <a:gd name="connsiteY8" fmla="*/ 1489438 h 3541533"/>
                  <a:gd name="connsiteX9" fmla="*/ 2853691 w 5167630"/>
                  <a:gd name="connsiteY9" fmla="*/ 1489440 h 3541533"/>
                  <a:gd name="connsiteX10" fmla="*/ 2730366 w 5167630"/>
                  <a:gd name="connsiteY10" fmla="*/ 1489440 h 3541533"/>
                  <a:gd name="connsiteX11" fmla="*/ 2665951 w 5167630"/>
                  <a:gd name="connsiteY11" fmla="*/ 1553855 h 3541533"/>
                  <a:gd name="connsiteX12" fmla="*/ 2730366 w 5167630"/>
                  <a:gd name="connsiteY12" fmla="*/ 1618270 h 3541533"/>
                  <a:gd name="connsiteX13" fmla="*/ 3727927 w 5167630"/>
                  <a:gd name="connsiteY13" fmla="*/ 1618270 h 3541533"/>
                  <a:gd name="connsiteX14" fmla="*/ 3727942 w 5167630"/>
                  <a:gd name="connsiteY14" fmla="*/ 1618267 h 3541533"/>
                  <a:gd name="connsiteX15" fmla="*/ 4890028 w 5167630"/>
                  <a:gd name="connsiteY15" fmla="*/ 1618267 h 3541533"/>
                  <a:gd name="connsiteX16" fmla="*/ 5167630 w 5167630"/>
                  <a:gd name="connsiteY16" fmla="*/ 1895869 h 3541533"/>
                  <a:gd name="connsiteX17" fmla="*/ 4890028 w 5167630"/>
                  <a:gd name="connsiteY17" fmla="*/ 2173471 h 3541533"/>
                  <a:gd name="connsiteX18" fmla="*/ 2853691 w 5167630"/>
                  <a:gd name="connsiteY18" fmla="*/ 2173471 h 3541533"/>
                  <a:gd name="connsiteX19" fmla="*/ 2853691 w 5167630"/>
                  <a:gd name="connsiteY19" fmla="*/ 2173472 h 3541533"/>
                  <a:gd name="connsiteX20" fmla="*/ 2730366 w 5167630"/>
                  <a:gd name="connsiteY20" fmla="*/ 2173472 h 3541533"/>
                  <a:gd name="connsiteX21" fmla="*/ 2665951 w 5167630"/>
                  <a:gd name="connsiteY21" fmla="*/ 2237887 h 3541533"/>
                  <a:gd name="connsiteX22" fmla="*/ 2730366 w 5167630"/>
                  <a:gd name="connsiteY22" fmla="*/ 2302301 h 3541533"/>
                  <a:gd name="connsiteX23" fmla="*/ 3727927 w 5167630"/>
                  <a:gd name="connsiteY23" fmla="*/ 2302302 h 3541533"/>
                  <a:gd name="connsiteX24" fmla="*/ 3727937 w 5167630"/>
                  <a:gd name="connsiteY24" fmla="*/ 2302300 h 3541533"/>
                  <a:gd name="connsiteX25" fmla="*/ 4528784 w 5167630"/>
                  <a:gd name="connsiteY25" fmla="*/ 2302300 h 3541533"/>
                  <a:gd name="connsiteX26" fmla="*/ 4806386 w 5167630"/>
                  <a:gd name="connsiteY26" fmla="*/ 2579902 h 3541533"/>
                  <a:gd name="connsiteX27" fmla="*/ 4528784 w 5167630"/>
                  <a:gd name="connsiteY27" fmla="*/ 2857504 h 3541533"/>
                  <a:gd name="connsiteX28" fmla="*/ 2853691 w 5167630"/>
                  <a:gd name="connsiteY28" fmla="*/ 2857504 h 3541533"/>
                  <a:gd name="connsiteX29" fmla="*/ 2853691 w 5167630"/>
                  <a:gd name="connsiteY29" fmla="*/ 2857506 h 3541533"/>
                  <a:gd name="connsiteX30" fmla="*/ 2730364 w 5167630"/>
                  <a:gd name="connsiteY30" fmla="*/ 2857506 h 3541533"/>
                  <a:gd name="connsiteX31" fmla="*/ 2665951 w 5167630"/>
                  <a:gd name="connsiteY31" fmla="*/ 2921919 h 3541533"/>
                  <a:gd name="connsiteX32" fmla="*/ 2730364 w 5167630"/>
                  <a:gd name="connsiteY32" fmla="*/ 2986332 h 3541533"/>
                  <a:gd name="connsiteX33" fmla="*/ 3727929 w 5167630"/>
                  <a:gd name="connsiteY33" fmla="*/ 2986332 h 3541533"/>
                  <a:gd name="connsiteX34" fmla="*/ 3727944 w 5167630"/>
                  <a:gd name="connsiteY34" fmla="*/ 2986329 h 3541533"/>
                  <a:gd name="connsiteX35" fmla="*/ 4087037 w 5167630"/>
                  <a:gd name="connsiteY35" fmla="*/ 2986329 h 3541533"/>
                  <a:gd name="connsiteX36" fmla="*/ 4364639 w 5167630"/>
                  <a:gd name="connsiteY36" fmla="*/ 3263931 h 3541533"/>
                  <a:gd name="connsiteX37" fmla="*/ 4087037 w 5167630"/>
                  <a:gd name="connsiteY37" fmla="*/ 3541533 h 3541533"/>
                  <a:gd name="connsiteX38" fmla="*/ 1714025 w 5167630"/>
                  <a:gd name="connsiteY38" fmla="*/ 3541533 h 3541533"/>
                  <a:gd name="connsiteX39" fmla="*/ 983851 w 5167630"/>
                  <a:gd name="connsiteY39" fmla="*/ 3424200 h 3541533"/>
                  <a:gd name="connsiteX40" fmla="*/ 503045 w 5167630"/>
                  <a:gd name="connsiteY40" fmla="*/ 3263931 h 3541533"/>
                  <a:gd name="connsiteX41" fmla="*/ 0 w 5167630"/>
                  <a:gd name="connsiteY41" fmla="*/ 3263931 h 3541533"/>
                  <a:gd name="connsiteX42" fmla="*/ 0 w 5167630"/>
                  <a:gd name="connsiteY42" fmla="*/ 1075558 h 3541533"/>
                  <a:gd name="connsiteX43" fmla="*/ 665839 w 5167630"/>
                  <a:gd name="connsiteY43" fmla="*/ 1075558 h 3541533"/>
                  <a:gd name="connsiteX44" fmla="*/ 955652 w 5167630"/>
                  <a:gd name="connsiteY44" fmla="*/ 976785 h 3541533"/>
                  <a:gd name="connsiteX45" fmla="*/ 1220705 w 5167630"/>
                  <a:gd name="connsiteY45" fmla="*/ 760926 h 3541533"/>
                  <a:gd name="connsiteX46" fmla="*/ 2444035 w 5167630"/>
                  <a:gd name="connsiteY46" fmla="*/ 166173 h 3541533"/>
                  <a:gd name="connsiteX47" fmla="*/ 2870052 w 5167630"/>
                  <a:gd name="connsiteY47" fmla="*/ 210 h 354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167630" h="3541533">
                    <a:moveTo>
                      <a:pt x="2870052" y="210"/>
                    </a:moveTo>
                    <a:cubicBezTo>
                      <a:pt x="2997585" y="-6477"/>
                      <a:pt x="3089172" y="147258"/>
                      <a:pt x="3077309" y="255697"/>
                    </a:cubicBezTo>
                    <a:cubicBezTo>
                      <a:pt x="3065446" y="364136"/>
                      <a:pt x="2943022" y="557864"/>
                      <a:pt x="2798873" y="650845"/>
                    </a:cubicBezTo>
                    <a:cubicBezTo>
                      <a:pt x="2654724" y="743826"/>
                      <a:pt x="2537709" y="793924"/>
                      <a:pt x="2498162" y="842159"/>
                    </a:cubicBezTo>
                    <a:cubicBezTo>
                      <a:pt x="2458615" y="890394"/>
                      <a:pt x="2448315" y="935494"/>
                      <a:pt x="2561591" y="940256"/>
                    </a:cubicBezTo>
                    <a:lnTo>
                      <a:pt x="4528781" y="934234"/>
                    </a:lnTo>
                    <a:cubicBezTo>
                      <a:pt x="4682096" y="934234"/>
                      <a:pt x="4806383" y="1058521"/>
                      <a:pt x="4806383" y="1211836"/>
                    </a:cubicBezTo>
                    <a:cubicBezTo>
                      <a:pt x="4806383" y="1365151"/>
                      <a:pt x="4682096" y="1489438"/>
                      <a:pt x="4528781" y="1489438"/>
                    </a:cubicBezTo>
                    <a:lnTo>
                      <a:pt x="2853691" y="1489438"/>
                    </a:lnTo>
                    <a:lnTo>
                      <a:pt x="2853691" y="1489440"/>
                    </a:lnTo>
                    <a:lnTo>
                      <a:pt x="2730366" y="1489440"/>
                    </a:lnTo>
                    <a:cubicBezTo>
                      <a:pt x="2694791" y="1489440"/>
                      <a:pt x="2665951" y="1518280"/>
                      <a:pt x="2665951" y="1553855"/>
                    </a:cubicBezTo>
                    <a:cubicBezTo>
                      <a:pt x="2665951" y="1589430"/>
                      <a:pt x="2694791" y="1618270"/>
                      <a:pt x="2730366" y="1618270"/>
                    </a:cubicBezTo>
                    <a:lnTo>
                      <a:pt x="3727927" y="1618270"/>
                    </a:lnTo>
                    <a:cubicBezTo>
                      <a:pt x="3727932" y="1618270"/>
                      <a:pt x="3727937" y="1618270"/>
                      <a:pt x="3727942" y="1618267"/>
                    </a:cubicBezTo>
                    <a:lnTo>
                      <a:pt x="4890028" y="1618267"/>
                    </a:lnTo>
                    <a:cubicBezTo>
                      <a:pt x="5043343" y="1618267"/>
                      <a:pt x="5167630" y="1742554"/>
                      <a:pt x="5167630" y="1895869"/>
                    </a:cubicBezTo>
                    <a:cubicBezTo>
                      <a:pt x="5167630" y="2049184"/>
                      <a:pt x="5043343" y="2173471"/>
                      <a:pt x="4890028" y="2173471"/>
                    </a:cubicBezTo>
                    <a:lnTo>
                      <a:pt x="2853691" y="2173471"/>
                    </a:lnTo>
                    <a:lnTo>
                      <a:pt x="2853691" y="2173472"/>
                    </a:lnTo>
                    <a:lnTo>
                      <a:pt x="2730366" y="2173472"/>
                    </a:lnTo>
                    <a:cubicBezTo>
                      <a:pt x="2694791" y="2173472"/>
                      <a:pt x="2665952" y="2202312"/>
                      <a:pt x="2665951" y="2237887"/>
                    </a:cubicBezTo>
                    <a:cubicBezTo>
                      <a:pt x="2665952" y="2273462"/>
                      <a:pt x="2694791" y="2302301"/>
                      <a:pt x="2730366" y="2302301"/>
                    </a:cubicBezTo>
                    <a:lnTo>
                      <a:pt x="3727927" y="2302302"/>
                    </a:lnTo>
                    <a:cubicBezTo>
                      <a:pt x="3727931" y="2302302"/>
                      <a:pt x="3727934" y="2302302"/>
                      <a:pt x="3727937" y="2302300"/>
                    </a:cubicBezTo>
                    <a:lnTo>
                      <a:pt x="4528784" y="2302300"/>
                    </a:lnTo>
                    <a:cubicBezTo>
                      <a:pt x="4682099" y="2302300"/>
                      <a:pt x="4806386" y="2426587"/>
                      <a:pt x="4806386" y="2579902"/>
                    </a:cubicBezTo>
                    <a:cubicBezTo>
                      <a:pt x="4806386" y="2733217"/>
                      <a:pt x="4682099" y="2857504"/>
                      <a:pt x="4528784" y="2857504"/>
                    </a:cubicBezTo>
                    <a:lnTo>
                      <a:pt x="2853691" y="2857504"/>
                    </a:lnTo>
                    <a:lnTo>
                      <a:pt x="2853691" y="2857506"/>
                    </a:lnTo>
                    <a:lnTo>
                      <a:pt x="2730364" y="2857506"/>
                    </a:lnTo>
                    <a:cubicBezTo>
                      <a:pt x="2694790" y="2857506"/>
                      <a:pt x="2665951" y="2886345"/>
                      <a:pt x="2665951" y="2921919"/>
                    </a:cubicBezTo>
                    <a:cubicBezTo>
                      <a:pt x="2665951" y="2957493"/>
                      <a:pt x="2694790" y="2986332"/>
                      <a:pt x="2730364" y="2986332"/>
                    </a:cubicBezTo>
                    <a:lnTo>
                      <a:pt x="3727929" y="2986332"/>
                    </a:lnTo>
                    <a:cubicBezTo>
                      <a:pt x="3727934" y="2986332"/>
                      <a:pt x="3727939" y="2986332"/>
                      <a:pt x="3727944" y="2986329"/>
                    </a:cubicBezTo>
                    <a:lnTo>
                      <a:pt x="4087037" y="2986329"/>
                    </a:lnTo>
                    <a:cubicBezTo>
                      <a:pt x="4240352" y="2986329"/>
                      <a:pt x="4364639" y="3110616"/>
                      <a:pt x="4364639" y="3263931"/>
                    </a:cubicBezTo>
                    <a:cubicBezTo>
                      <a:pt x="4364639" y="3417246"/>
                      <a:pt x="4240352" y="3541533"/>
                      <a:pt x="4087037" y="3541533"/>
                    </a:cubicBezTo>
                    <a:lnTo>
                      <a:pt x="1714025" y="3541533"/>
                    </a:lnTo>
                    <a:cubicBezTo>
                      <a:pt x="1196827" y="3521978"/>
                      <a:pt x="1185681" y="3470467"/>
                      <a:pt x="983851" y="3424200"/>
                    </a:cubicBezTo>
                    <a:cubicBezTo>
                      <a:pt x="782021" y="3377933"/>
                      <a:pt x="667020" y="3290642"/>
                      <a:pt x="503045" y="3263931"/>
                    </a:cubicBezTo>
                    <a:cubicBezTo>
                      <a:pt x="339070" y="3237220"/>
                      <a:pt x="248941" y="3234960"/>
                      <a:pt x="0" y="3263931"/>
                    </a:cubicBezTo>
                    <a:lnTo>
                      <a:pt x="0" y="1075558"/>
                    </a:lnTo>
                    <a:lnTo>
                      <a:pt x="665839" y="1075558"/>
                    </a:lnTo>
                    <a:cubicBezTo>
                      <a:pt x="832258" y="1056715"/>
                      <a:pt x="859924" y="1066817"/>
                      <a:pt x="955652" y="976785"/>
                    </a:cubicBezTo>
                    <a:cubicBezTo>
                      <a:pt x="1051380" y="886753"/>
                      <a:pt x="1134689" y="802745"/>
                      <a:pt x="1220705" y="760926"/>
                    </a:cubicBezTo>
                    <a:cubicBezTo>
                      <a:pt x="1755482" y="422975"/>
                      <a:pt x="2017208" y="339024"/>
                      <a:pt x="2444035" y="166173"/>
                    </a:cubicBezTo>
                    <a:cubicBezTo>
                      <a:pt x="2484728" y="146389"/>
                      <a:pt x="2827541" y="2439"/>
                      <a:pt x="2870052" y="21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Oval 23"/>
              <p:cNvSpPr/>
              <p:nvPr/>
            </p:nvSpPr>
            <p:spPr>
              <a:xfrm>
                <a:off x="1561137" y="3295433"/>
                <a:ext cx="180000" cy="180000"/>
              </a:xfrm>
              <a:prstGeom prst="ellipse">
                <a:avLst/>
              </a:prstGeom>
              <a:solidFill>
                <a:schemeClr val="tx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 name="Freeform 5"/>
              <p:cNvSpPr>
                <a:spLocks/>
              </p:cNvSpPr>
              <p:nvPr/>
            </p:nvSpPr>
            <p:spPr bwMode="auto">
              <a:xfrm>
                <a:off x="1614561" y="3321722"/>
                <a:ext cx="93667" cy="142250"/>
              </a:xfrm>
              <a:custGeom>
                <a:avLst/>
                <a:gdLst>
                  <a:gd name="T0" fmla="*/ 250 w 455"/>
                  <a:gd name="T1" fmla="*/ 264 h 691"/>
                  <a:gd name="T2" fmla="*/ 455 w 455"/>
                  <a:gd name="T3" fmla="*/ 0 h 691"/>
                  <a:gd name="T4" fmla="*/ 183 w 455"/>
                  <a:gd name="T5" fmla="*/ 28 h 691"/>
                  <a:gd name="T6" fmla="*/ 25 w 455"/>
                  <a:gd name="T7" fmla="*/ 357 h 691"/>
                  <a:gd name="T8" fmla="*/ 92 w 455"/>
                  <a:gd name="T9" fmla="*/ 350 h 691"/>
                  <a:gd name="T10" fmla="*/ 27 w 455"/>
                  <a:gd name="T11" fmla="*/ 489 h 691"/>
                  <a:gd name="T12" fmla="*/ 101 w 455"/>
                  <a:gd name="T13" fmla="*/ 479 h 691"/>
                  <a:gd name="T14" fmla="*/ 0 w 455"/>
                  <a:gd name="T15" fmla="*/ 691 h 691"/>
                  <a:gd name="T16" fmla="*/ 277 w 455"/>
                  <a:gd name="T17" fmla="*/ 408 h 691"/>
                  <a:gd name="T18" fmla="*/ 214 w 455"/>
                  <a:gd name="T19" fmla="*/ 417 h 691"/>
                  <a:gd name="T20" fmla="*/ 347 w 455"/>
                  <a:gd name="T21" fmla="*/ 253 h 691"/>
                  <a:gd name="T22" fmla="*/ 250 w 455"/>
                  <a:gd name="T23" fmla="*/ 26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5" h="691">
                    <a:moveTo>
                      <a:pt x="250" y="264"/>
                    </a:moveTo>
                    <a:lnTo>
                      <a:pt x="455" y="0"/>
                    </a:lnTo>
                    <a:lnTo>
                      <a:pt x="183" y="28"/>
                    </a:lnTo>
                    <a:lnTo>
                      <a:pt x="25" y="357"/>
                    </a:lnTo>
                    <a:lnTo>
                      <a:pt x="92" y="350"/>
                    </a:lnTo>
                    <a:lnTo>
                      <a:pt x="27" y="489"/>
                    </a:lnTo>
                    <a:lnTo>
                      <a:pt x="101" y="479"/>
                    </a:lnTo>
                    <a:lnTo>
                      <a:pt x="0" y="691"/>
                    </a:lnTo>
                    <a:lnTo>
                      <a:pt x="277" y="408"/>
                    </a:lnTo>
                    <a:lnTo>
                      <a:pt x="214" y="417"/>
                    </a:lnTo>
                    <a:lnTo>
                      <a:pt x="347" y="253"/>
                    </a:lnTo>
                    <a:lnTo>
                      <a:pt x="250" y="26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31" name="Group 30"/>
          <p:cNvGrpSpPr/>
          <p:nvPr/>
        </p:nvGrpSpPr>
        <p:grpSpPr>
          <a:xfrm>
            <a:off x="6460504" y="3001624"/>
            <a:ext cx="866342" cy="866342"/>
            <a:chOff x="6580908" y="4002166"/>
            <a:chExt cx="1155122" cy="1155122"/>
          </a:xfrm>
        </p:grpSpPr>
        <p:sp>
          <p:nvSpPr>
            <p:cNvPr id="26" name="Rechthoek 11"/>
            <p:cNvSpPr>
              <a:spLocks noChangeAspect="1"/>
            </p:cNvSpPr>
            <p:nvPr/>
          </p:nvSpPr>
          <p:spPr>
            <a:xfrm>
              <a:off x="6580908" y="4002166"/>
              <a:ext cx="1155122" cy="115512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b"/>
            <a:lstStyle/>
            <a:p>
              <a:pPr algn="ctr"/>
              <a:r>
                <a:rPr lang="en-GB" dirty="0" smtClean="0">
                  <a:solidFill>
                    <a:schemeClr val="bg1"/>
                  </a:solidFill>
                  <a:latin typeface="Calibri" pitchFamily="34" charset="0"/>
                </a:rPr>
                <a:t>Supply</a:t>
              </a:r>
              <a:endParaRPr lang="en-GB" dirty="0">
                <a:solidFill>
                  <a:schemeClr val="bg1"/>
                </a:solidFill>
                <a:latin typeface="Calibri" pitchFamily="34" charset="0"/>
              </a:endParaRPr>
            </a:p>
          </p:txBody>
        </p:sp>
        <p:grpSp>
          <p:nvGrpSpPr>
            <p:cNvPr id="14" name="Group 13"/>
            <p:cNvGrpSpPr/>
            <p:nvPr/>
          </p:nvGrpSpPr>
          <p:grpSpPr>
            <a:xfrm>
              <a:off x="7024057" y="4228986"/>
              <a:ext cx="268823" cy="390161"/>
              <a:chOff x="3622676" y="-4397375"/>
              <a:chExt cx="2774950" cy="4027487"/>
            </a:xfrm>
            <a:solidFill>
              <a:schemeClr val="bg1"/>
            </a:solidFill>
          </p:grpSpPr>
          <p:sp>
            <p:nvSpPr>
              <p:cNvPr id="15" name="Freeform 7"/>
              <p:cNvSpPr>
                <a:spLocks noEditPoints="1"/>
              </p:cNvSpPr>
              <p:nvPr/>
            </p:nvSpPr>
            <p:spPr bwMode="auto">
              <a:xfrm>
                <a:off x="4403726" y="-1955800"/>
                <a:ext cx="1390650" cy="1147762"/>
              </a:xfrm>
              <a:custGeom>
                <a:avLst/>
                <a:gdLst>
                  <a:gd name="T0" fmla="*/ 455 w 546"/>
                  <a:gd name="T1" fmla="*/ 47 h 450"/>
                  <a:gd name="T2" fmla="*/ 196 w 546"/>
                  <a:gd name="T3" fmla="*/ 311 h 450"/>
                  <a:gd name="T4" fmla="*/ 110 w 546"/>
                  <a:gd name="T5" fmla="*/ 189 h 450"/>
                  <a:gd name="T6" fmla="*/ 21 w 546"/>
                  <a:gd name="T7" fmla="*/ 261 h 450"/>
                  <a:gd name="T8" fmla="*/ 149 w 546"/>
                  <a:gd name="T9" fmla="*/ 429 h 450"/>
                  <a:gd name="T10" fmla="*/ 218 w 546"/>
                  <a:gd name="T11" fmla="*/ 411 h 450"/>
                  <a:gd name="T12" fmla="*/ 495 w 546"/>
                  <a:gd name="T13" fmla="*/ 122 h 450"/>
                  <a:gd name="T14" fmla="*/ 455 w 546"/>
                  <a:gd name="T15" fmla="*/ 47 h 450"/>
                  <a:gd name="T16" fmla="*/ 455 w 546"/>
                  <a:gd name="T17" fmla="*/ 47 h 450"/>
                  <a:gd name="T18" fmla="*/ 455 w 546"/>
                  <a:gd name="T19" fmla="*/ 47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450">
                    <a:moveTo>
                      <a:pt x="455" y="47"/>
                    </a:moveTo>
                    <a:cubicBezTo>
                      <a:pt x="357" y="124"/>
                      <a:pt x="277" y="218"/>
                      <a:pt x="196" y="311"/>
                    </a:cubicBezTo>
                    <a:cubicBezTo>
                      <a:pt x="162" y="274"/>
                      <a:pt x="131" y="236"/>
                      <a:pt x="110" y="189"/>
                    </a:cubicBezTo>
                    <a:cubicBezTo>
                      <a:pt x="87" y="135"/>
                      <a:pt x="0" y="213"/>
                      <a:pt x="21" y="261"/>
                    </a:cubicBezTo>
                    <a:cubicBezTo>
                      <a:pt x="49" y="326"/>
                      <a:pt x="100" y="379"/>
                      <a:pt x="149" y="429"/>
                    </a:cubicBezTo>
                    <a:cubicBezTo>
                      <a:pt x="169" y="450"/>
                      <a:pt x="204" y="427"/>
                      <a:pt x="218" y="411"/>
                    </a:cubicBezTo>
                    <a:cubicBezTo>
                      <a:pt x="306" y="310"/>
                      <a:pt x="389" y="205"/>
                      <a:pt x="495" y="122"/>
                    </a:cubicBezTo>
                    <a:cubicBezTo>
                      <a:pt x="546" y="82"/>
                      <a:pt x="515" y="0"/>
                      <a:pt x="455" y="47"/>
                    </a:cubicBezTo>
                    <a:close/>
                    <a:moveTo>
                      <a:pt x="455" y="47"/>
                    </a:moveTo>
                    <a:cubicBezTo>
                      <a:pt x="455" y="47"/>
                      <a:pt x="455" y="47"/>
                      <a:pt x="455"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16" name="Freeform 8"/>
              <p:cNvSpPr>
                <a:spLocks noEditPoints="1"/>
              </p:cNvSpPr>
              <p:nvPr/>
            </p:nvSpPr>
            <p:spPr bwMode="auto">
              <a:xfrm>
                <a:off x="3622676" y="-4397375"/>
                <a:ext cx="2774950" cy="4027487"/>
              </a:xfrm>
              <a:custGeom>
                <a:avLst/>
                <a:gdLst>
                  <a:gd name="T0" fmla="*/ 1042 w 1089"/>
                  <a:gd name="T1" fmla="*/ 113 h 1579"/>
                  <a:gd name="T2" fmla="*/ 798 w 1089"/>
                  <a:gd name="T3" fmla="*/ 113 h 1579"/>
                  <a:gd name="T4" fmla="*/ 729 w 1089"/>
                  <a:gd name="T5" fmla="*/ 82 h 1579"/>
                  <a:gd name="T6" fmla="*/ 635 w 1089"/>
                  <a:gd name="T7" fmla="*/ 82 h 1579"/>
                  <a:gd name="T8" fmla="*/ 635 w 1089"/>
                  <a:gd name="T9" fmla="*/ 66 h 1579"/>
                  <a:gd name="T10" fmla="*/ 545 w 1089"/>
                  <a:gd name="T11" fmla="*/ 0 h 1579"/>
                  <a:gd name="T12" fmla="*/ 454 w 1089"/>
                  <a:gd name="T13" fmla="*/ 66 h 1579"/>
                  <a:gd name="T14" fmla="*/ 454 w 1089"/>
                  <a:gd name="T15" fmla="*/ 82 h 1579"/>
                  <a:gd name="T16" fmla="*/ 360 w 1089"/>
                  <a:gd name="T17" fmla="*/ 82 h 1579"/>
                  <a:gd name="T18" fmla="*/ 291 w 1089"/>
                  <a:gd name="T19" fmla="*/ 113 h 1579"/>
                  <a:gd name="T20" fmla="*/ 47 w 1089"/>
                  <a:gd name="T21" fmla="*/ 113 h 1579"/>
                  <a:gd name="T22" fmla="*/ 0 w 1089"/>
                  <a:gd name="T23" fmla="*/ 160 h 1579"/>
                  <a:gd name="T24" fmla="*/ 0 w 1089"/>
                  <a:gd name="T25" fmla="*/ 1532 h 1579"/>
                  <a:gd name="T26" fmla="*/ 47 w 1089"/>
                  <a:gd name="T27" fmla="*/ 1579 h 1579"/>
                  <a:gd name="T28" fmla="*/ 1042 w 1089"/>
                  <a:gd name="T29" fmla="*/ 1579 h 1579"/>
                  <a:gd name="T30" fmla="*/ 1089 w 1089"/>
                  <a:gd name="T31" fmla="*/ 1532 h 1579"/>
                  <a:gd name="T32" fmla="*/ 1089 w 1089"/>
                  <a:gd name="T33" fmla="*/ 160 h 1579"/>
                  <a:gd name="T34" fmla="*/ 1042 w 1089"/>
                  <a:gd name="T35" fmla="*/ 113 h 1579"/>
                  <a:gd name="T36" fmla="*/ 995 w 1089"/>
                  <a:gd name="T37" fmla="*/ 1485 h 1579"/>
                  <a:gd name="T38" fmla="*/ 93 w 1089"/>
                  <a:gd name="T39" fmla="*/ 1485 h 1579"/>
                  <a:gd name="T40" fmla="*/ 93 w 1089"/>
                  <a:gd name="T41" fmla="*/ 206 h 1579"/>
                  <a:gd name="T42" fmla="*/ 229 w 1089"/>
                  <a:gd name="T43" fmla="*/ 206 h 1579"/>
                  <a:gd name="T44" fmla="*/ 229 w 1089"/>
                  <a:gd name="T45" fmla="*/ 206 h 1579"/>
                  <a:gd name="T46" fmla="*/ 272 w 1089"/>
                  <a:gd name="T47" fmla="*/ 206 h 1579"/>
                  <a:gd name="T48" fmla="*/ 360 w 1089"/>
                  <a:gd name="T49" fmla="*/ 270 h 1579"/>
                  <a:gd name="T50" fmla="*/ 729 w 1089"/>
                  <a:gd name="T51" fmla="*/ 270 h 1579"/>
                  <a:gd name="T52" fmla="*/ 817 w 1089"/>
                  <a:gd name="T53" fmla="*/ 206 h 1579"/>
                  <a:gd name="T54" fmla="*/ 860 w 1089"/>
                  <a:gd name="T55" fmla="*/ 206 h 1579"/>
                  <a:gd name="T56" fmla="*/ 860 w 1089"/>
                  <a:gd name="T57" fmla="*/ 206 h 1579"/>
                  <a:gd name="T58" fmla="*/ 995 w 1089"/>
                  <a:gd name="T59" fmla="*/ 206 h 1579"/>
                  <a:gd name="T60" fmla="*/ 995 w 1089"/>
                  <a:gd name="T61" fmla="*/ 1485 h 1579"/>
                  <a:gd name="T62" fmla="*/ 995 w 1089"/>
                  <a:gd name="T63" fmla="*/ 1485 h 1579"/>
                  <a:gd name="T64" fmla="*/ 995 w 1089"/>
                  <a:gd name="T65" fmla="*/ 1485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9" h="1579">
                    <a:moveTo>
                      <a:pt x="1042" y="113"/>
                    </a:moveTo>
                    <a:cubicBezTo>
                      <a:pt x="798" y="113"/>
                      <a:pt x="798" y="113"/>
                      <a:pt x="798" y="113"/>
                    </a:cubicBezTo>
                    <a:cubicBezTo>
                      <a:pt x="781" y="94"/>
                      <a:pt x="756" y="82"/>
                      <a:pt x="729" y="82"/>
                    </a:cubicBezTo>
                    <a:cubicBezTo>
                      <a:pt x="635" y="82"/>
                      <a:pt x="635" y="82"/>
                      <a:pt x="635" y="82"/>
                    </a:cubicBezTo>
                    <a:cubicBezTo>
                      <a:pt x="635" y="66"/>
                      <a:pt x="635" y="66"/>
                      <a:pt x="635" y="66"/>
                    </a:cubicBezTo>
                    <a:cubicBezTo>
                      <a:pt x="635" y="31"/>
                      <a:pt x="588" y="0"/>
                      <a:pt x="545" y="0"/>
                    </a:cubicBezTo>
                    <a:cubicBezTo>
                      <a:pt x="501" y="0"/>
                      <a:pt x="454" y="31"/>
                      <a:pt x="454" y="66"/>
                    </a:cubicBezTo>
                    <a:cubicBezTo>
                      <a:pt x="454" y="82"/>
                      <a:pt x="454" y="82"/>
                      <a:pt x="454" y="82"/>
                    </a:cubicBezTo>
                    <a:cubicBezTo>
                      <a:pt x="360" y="82"/>
                      <a:pt x="360" y="82"/>
                      <a:pt x="360" y="82"/>
                    </a:cubicBezTo>
                    <a:cubicBezTo>
                      <a:pt x="333" y="82"/>
                      <a:pt x="308" y="94"/>
                      <a:pt x="291" y="113"/>
                    </a:cubicBezTo>
                    <a:cubicBezTo>
                      <a:pt x="47" y="113"/>
                      <a:pt x="47" y="113"/>
                      <a:pt x="47" y="113"/>
                    </a:cubicBezTo>
                    <a:cubicBezTo>
                      <a:pt x="21" y="113"/>
                      <a:pt x="0" y="134"/>
                      <a:pt x="0" y="160"/>
                    </a:cubicBezTo>
                    <a:cubicBezTo>
                      <a:pt x="0" y="1532"/>
                      <a:pt x="0" y="1532"/>
                      <a:pt x="0" y="1532"/>
                    </a:cubicBezTo>
                    <a:cubicBezTo>
                      <a:pt x="0" y="1558"/>
                      <a:pt x="21" y="1579"/>
                      <a:pt x="47" y="1579"/>
                    </a:cubicBezTo>
                    <a:cubicBezTo>
                      <a:pt x="1042" y="1579"/>
                      <a:pt x="1042" y="1579"/>
                      <a:pt x="1042" y="1579"/>
                    </a:cubicBezTo>
                    <a:cubicBezTo>
                      <a:pt x="1068" y="1579"/>
                      <a:pt x="1089" y="1558"/>
                      <a:pt x="1089" y="1532"/>
                    </a:cubicBezTo>
                    <a:cubicBezTo>
                      <a:pt x="1089" y="160"/>
                      <a:pt x="1089" y="160"/>
                      <a:pt x="1089" y="160"/>
                    </a:cubicBezTo>
                    <a:cubicBezTo>
                      <a:pt x="1089" y="134"/>
                      <a:pt x="1068" y="113"/>
                      <a:pt x="1042" y="113"/>
                    </a:cubicBezTo>
                    <a:close/>
                    <a:moveTo>
                      <a:pt x="995" y="1485"/>
                    </a:moveTo>
                    <a:cubicBezTo>
                      <a:pt x="93" y="1485"/>
                      <a:pt x="93" y="1485"/>
                      <a:pt x="93" y="1485"/>
                    </a:cubicBezTo>
                    <a:cubicBezTo>
                      <a:pt x="93" y="206"/>
                      <a:pt x="93" y="206"/>
                      <a:pt x="93" y="206"/>
                    </a:cubicBezTo>
                    <a:cubicBezTo>
                      <a:pt x="229" y="206"/>
                      <a:pt x="229" y="206"/>
                      <a:pt x="229" y="206"/>
                    </a:cubicBezTo>
                    <a:cubicBezTo>
                      <a:pt x="229" y="206"/>
                      <a:pt x="229" y="206"/>
                      <a:pt x="229" y="206"/>
                    </a:cubicBezTo>
                    <a:cubicBezTo>
                      <a:pt x="272" y="206"/>
                      <a:pt x="272" y="206"/>
                      <a:pt x="272" y="206"/>
                    </a:cubicBezTo>
                    <a:cubicBezTo>
                      <a:pt x="285" y="243"/>
                      <a:pt x="319" y="270"/>
                      <a:pt x="360" y="270"/>
                    </a:cubicBezTo>
                    <a:cubicBezTo>
                      <a:pt x="729" y="270"/>
                      <a:pt x="729" y="270"/>
                      <a:pt x="729" y="270"/>
                    </a:cubicBezTo>
                    <a:cubicBezTo>
                      <a:pt x="770" y="270"/>
                      <a:pt x="804" y="243"/>
                      <a:pt x="817" y="206"/>
                    </a:cubicBezTo>
                    <a:cubicBezTo>
                      <a:pt x="860" y="206"/>
                      <a:pt x="860" y="206"/>
                      <a:pt x="860" y="206"/>
                    </a:cubicBezTo>
                    <a:cubicBezTo>
                      <a:pt x="860" y="206"/>
                      <a:pt x="860" y="206"/>
                      <a:pt x="860" y="206"/>
                    </a:cubicBezTo>
                    <a:cubicBezTo>
                      <a:pt x="995" y="206"/>
                      <a:pt x="995" y="206"/>
                      <a:pt x="995" y="206"/>
                    </a:cubicBezTo>
                    <a:lnTo>
                      <a:pt x="995" y="1485"/>
                    </a:lnTo>
                    <a:close/>
                    <a:moveTo>
                      <a:pt x="995" y="1485"/>
                    </a:moveTo>
                    <a:cubicBezTo>
                      <a:pt x="995" y="1485"/>
                      <a:pt x="995" y="1485"/>
                      <a:pt x="995" y="1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17" name="Rectangle 9"/>
              <p:cNvSpPr>
                <a:spLocks noChangeArrowheads="1"/>
              </p:cNvSpPr>
              <p:nvPr/>
            </p:nvSpPr>
            <p:spPr bwMode="auto">
              <a:xfrm>
                <a:off x="4084638" y="-3460750"/>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18" name="Rectangle 10"/>
              <p:cNvSpPr>
                <a:spLocks noChangeArrowheads="1"/>
              </p:cNvSpPr>
              <p:nvPr/>
            </p:nvSpPr>
            <p:spPr bwMode="auto">
              <a:xfrm>
                <a:off x="4084638" y="-3052763"/>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19" name="Rectangle 11"/>
              <p:cNvSpPr>
                <a:spLocks noChangeArrowheads="1"/>
              </p:cNvSpPr>
              <p:nvPr/>
            </p:nvSpPr>
            <p:spPr bwMode="auto">
              <a:xfrm>
                <a:off x="4084638" y="-2644775"/>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sp>
            <p:nvSpPr>
              <p:cNvPr id="20" name="Rectangle 12"/>
              <p:cNvSpPr>
                <a:spLocks noChangeArrowheads="1"/>
              </p:cNvSpPr>
              <p:nvPr/>
            </p:nvSpPr>
            <p:spPr bwMode="auto">
              <a:xfrm>
                <a:off x="4084638" y="-2236788"/>
                <a:ext cx="1852613" cy="185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0000"/>
                  </a:solidFill>
                  <a:latin typeface="Calibri" pitchFamily="34" charset="0"/>
                </a:endParaRPr>
              </a:p>
            </p:txBody>
          </p:sp>
        </p:grpSp>
      </p:grpSp>
      <p:cxnSp>
        <p:nvCxnSpPr>
          <p:cNvPr id="37" name="Straight Connector 36"/>
          <p:cNvCxnSpPr>
            <a:endCxn id="26" idx="0"/>
          </p:cNvCxnSpPr>
          <p:nvPr/>
        </p:nvCxnSpPr>
        <p:spPr>
          <a:xfrm>
            <a:off x="6893675" y="2291527"/>
            <a:ext cx="0" cy="710105"/>
          </a:xfrm>
          <a:prstGeom prst="lin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cxnSp>
      <p:grpSp>
        <p:nvGrpSpPr>
          <p:cNvPr id="38" name="Group 37"/>
          <p:cNvGrpSpPr/>
          <p:nvPr/>
        </p:nvGrpSpPr>
        <p:grpSpPr>
          <a:xfrm rot="16200000">
            <a:off x="6797341" y="2806639"/>
            <a:ext cx="192782" cy="192782"/>
            <a:chOff x="4149074" y="3145993"/>
            <a:chExt cx="331029" cy="337043"/>
          </a:xfrm>
        </p:grpSpPr>
        <p:sp>
          <p:nvSpPr>
            <p:cNvPr id="39" name="Rechthoek 11"/>
            <p:cNvSpPr>
              <a:spLocks/>
            </p:cNvSpPr>
            <p:nvPr/>
          </p:nvSpPr>
          <p:spPr>
            <a:xfrm rot="16200000">
              <a:off x="4146067" y="3149000"/>
              <a:ext cx="337043" cy="33102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GB" dirty="0">
                <a:solidFill>
                  <a:schemeClr val="bg1"/>
                </a:solidFill>
                <a:latin typeface="Calibri" pitchFamily="34" charset="0"/>
              </a:endParaRPr>
            </a:p>
          </p:txBody>
        </p:sp>
        <p:sp>
          <p:nvSpPr>
            <p:cNvPr id="40" name="Isosceles Triangle 1026"/>
            <p:cNvSpPr/>
            <p:nvPr/>
          </p:nvSpPr>
          <p:spPr>
            <a:xfrm rot="16200000">
              <a:off x="4244833" y="3279093"/>
              <a:ext cx="139512" cy="708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cxnSp>
        <p:nvCxnSpPr>
          <p:cNvPr id="48" name="Straight Connector 47"/>
          <p:cNvCxnSpPr/>
          <p:nvPr/>
        </p:nvCxnSpPr>
        <p:spPr>
          <a:xfrm>
            <a:off x="2236889" y="2291527"/>
            <a:ext cx="0" cy="710105"/>
          </a:xfrm>
          <a:prstGeom prst="lin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cxnSp>
      <p:grpSp>
        <p:nvGrpSpPr>
          <p:cNvPr id="49" name="Group 48"/>
          <p:cNvGrpSpPr/>
          <p:nvPr/>
        </p:nvGrpSpPr>
        <p:grpSpPr>
          <a:xfrm rot="5400000">
            <a:off x="2140559" y="2291521"/>
            <a:ext cx="192782" cy="192782"/>
            <a:chOff x="4149074" y="3145993"/>
            <a:chExt cx="331029" cy="337043"/>
          </a:xfrm>
        </p:grpSpPr>
        <p:sp>
          <p:nvSpPr>
            <p:cNvPr id="50" name="Rechthoek 11"/>
            <p:cNvSpPr>
              <a:spLocks/>
            </p:cNvSpPr>
            <p:nvPr/>
          </p:nvSpPr>
          <p:spPr>
            <a:xfrm rot="16200000">
              <a:off x="4146067" y="3149000"/>
              <a:ext cx="337043" cy="33102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GB" dirty="0">
                <a:solidFill>
                  <a:schemeClr val="bg1"/>
                </a:solidFill>
                <a:latin typeface="Calibri" pitchFamily="34" charset="0"/>
              </a:endParaRPr>
            </a:p>
          </p:txBody>
        </p:sp>
        <p:sp>
          <p:nvSpPr>
            <p:cNvPr id="51" name="Isosceles Triangle 1026"/>
            <p:cNvSpPr/>
            <p:nvPr/>
          </p:nvSpPr>
          <p:spPr>
            <a:xfrm rot="16200000">
              <a:off x="4244833" y="3279093"/>
              <a:ext cx="139512" cy="708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55" name="Group 54"/>
          <p:cNvGrpSpPr/>
          <p:nvPr/>
        </p:nvGrpSpPr>
        <p:grpSpPr>
          <a:xfrm rot="16200000">
            <a:off x="2140499" y="2806639"/>
            <a:ext cx="192782" cy="192782"/>
            <a:chOff x="4149074" y="3145993"/>
            <a:chExt cx="331029" cy="337043"/>
          </a:xfrm>
        </p:grpSpPr>
        <p:sp>
          <p:nvSpPr>
            <p:cNvPr id="56" name="Rechthoek 11"/>
            <p:cNvSpPr>
              <a:spLocks/>
            </p:cNvSpPr>
            <p:nvPr/>
          </p:nvSpPr>
          <p:spPr>
            <a:xfrm rot="16200000">
              <a:off x="4146067" y="3149000"/>
              <a:ext cx="337043" cy="33102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GB" dirty="0">
                <a:solidFill>
                  <a:schemeClr val="bg1"/>
                </a:solidFill>
                <a:latin typeface="Calibri" pitchFamily="34" charset="0"/>
              </a:endParaRPr>
            </a:p>
          </p:txBody>
        </p:sp>
        <p:sp>
          <p:nvSpPr>
            <p:cNvPr id="57" name="Isosceles Triangle 1026"/>
            <p:cNvSpPr/>
            <p:nvPr/>
          </p:nvSpPr>
          <p:spPr>
            <a:xfrm rot="16200000">
              <a:off x="4244833" y="3279093"/>
              <a:ext cx="139512" cy="708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58" name="Group 57"/>
          <p:cNvGrpSpPr/>
          <p:nvPr/>
        </p:nvGrpSpPr>
        <p:grpSpPr>
          <a:xfrm rot="5400000">
            <a:off x="6803744" y="2291521"/>
            <a:ext cx="192782" cy="192782"/>
            <a:chOff x="4149074" y="3145993"/>
            <a:chExt cx="331029" cy="337043"/>
          </a:xfrm>
        </p:grpSpPr>
        <p:sp>
          <p:nvSpPr>
            <p:cNvPr id="61" name="Rechthoek 11"/>
            <p:cNvSpPr>
              <a:spLocks/>
            </p:cNvSpPr>
            <p:nvPr/>
          </p:nvSpPr>
          <p:spPr>
            <a:xfrm rot="16200000">
              <a:off x="4146067" y="3149000"/>
              <a:ext cx="337043" cy="33102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GB" dirty="0">
                <a:solidFill>
                  <a:schemeClr val="bg1"/>
                </a:solidFill>
                <a:latin typeface="Calibri" pitchFamily="34" charset="0"/>
              </a:endParaRPr>
            </a:p>
          </p:txBody>
        </p:sp>
        <p:sp>
          <p:nvSpPr>
            <p:cNvPr id="62" name="Isosceles Triangle 1026"/>
            <p:cNvSpPr/>
            <p:nvPr/>
          </p:nvSpPr>
          <p:spPr>
            <a:xfrm rot="16200000">
              <a:off x="4244833" y="3279093"/>
              <a:ext cx="139512" cy="70843"/>
            </a:xfrm>
            <a:custGeom>
              <a:avLst/>
              <a:gdLst>
                <a:gd name="connsiteX0" fmla="*/ 0 w 203065"/>
                <a:gd name="connsiteY0" fmla="*/ 136853 h 136853"/>
                <a:gd name="connsiteX1" fmla="*/ 101533 w 203065"/>
                <a:gd name="connsiteY1" fmla="*/ 0 h 136853"/>
                <a:gd name="connsiteX2" fmla="*/ 203065 w 203065"/>
                <a:gd name="connsiteY2" fmla="*/ 136853 h 136853"/>
                <a:gd name="connsiteX3" fmla="*/ 0 w 203065"/>
                <a:gd name="connsiteY3" fmla="*/ 136853 h 136853"/>
                <a:gd name="connsiteX0" fmla="*/ 0 w 203065"/>
                <a:gd name="connsiteY0" fmla="*/ 136853 h 228293"/>
                <a:gd name="connsiteX1" fmla="*/ 101533 w 203065"/>
                <a:gd name="connsiteY1" fmla="*/ 0 h 228293"/>
                <a:gd name="connsiteX2" fmla="*/ 203065 w 203065"/>
                <a:gd name="connsiteY2" fmla="*/ 136853 h 228293"/>
                <a:gd name="connsiteX3" fmla="*/ 91440 w 203065"/>
                <a:gd name="connsiteY3" fmla="*/ 228293 h 228293"/>
                <a:gd name="connsiteX0" fmla="*/ 0 w 203065"/>
                <a:gd name="connsiteY0" fmla="*/ 136853 h 136853"/>
                <a:gd name="connsiteX1" fmla="*/ 101533 w 203065"/>
                <a:gd name="connsiteY1" fmla="*/ 0 h 136853"/>
                <a:gd name="connsiteX2" fmla="*/ 203065 w 203065"/>
                <a:gd name="connsiteY2" fmla="*/ 136853 h 136853"/>
              </a:gdLst>
              <a:ahLst/>
              <a:cxnLst>
                <a:cxn ang="0">
                  <a:pos x="connsiteX0" y="connsiteY0"/>
                </a:cxn>
                <a:cxn ang="0">
                  <a:pos x="connsiteX1" y="connsiteY1"/>
                </a:cxn>
                <a:cxn ang="0">
                  <a:pos x="connsiteX2" y="connsiteY2"/>
                </a:cxn>
              </a:cxnLst>
              <a:rect l="l" t="t" r="r" b="b"/>
              <a:pathLst>
                <a:path w="203065" h="136853">
                  <a:moveTo>
                    <a:pt x="0" y="136853"/>
                  </a:moveTo>
                  <a:lnTo>
                    <a:pt x="101533" y="0"/>
                  </a:lnTo>
                  <a:lnTo>
                    <a:pt x="203065" y="136853"/>
                  </a:lnTo>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sp>
        <p:nvSpPr>
          <p:cNvPr id="2" name="Tekstvak 1"/>
          <p:cNvSpPr txBox="1"/>
          <p:nvPr/>
        </p:nvSpPr>
        <p:spPr>
          <a:xfrm>
            <a:off x="401653" y="350374"/>
            <a:ext cx="8391970" cy="707876"/>
          </a:xfrm>
          <a:prstGeom prst="rect">
            <a:avLst/>
          </a:prstGeom>
          <a:noFill/>
        </p:spPr>
        <p:txBody>
          <a:bodyPr wrap="square" lIns="91430" tIns="45715" rIns="91430" bIns="45715" rtlCol="0">
            <a:spAutoFit/>
          </a:bodyPr>
          <a:lstStyle/>
          <a:p>
            <a:pPr algn="ctr"/>
            <a:r>
              <a:rPr lang="en-GB" sz="2000" dirty="0"/>
              <a:t>We describe new and existing market roles with their responsibilities </a:t>
            </a:r>
          </a:p>
          <a:p>
            <a:pPr algn="ctr"/>
            <a:r>
              <a:rPr lang="en-GB" sz="2000" dirty="0"/>
              <a:t>and how they interact in this new extended market model </a:t>
            </a:r>
          </a:p>
        </p:txBody>
      </p:sp>
    </p:spTree>
    <p:extLst>
      <p:ext uri="{BB962C8B-B14F-4D97-AF65-F5344CB8AC3E}">
        <p14:creationId xmlns:p14="http://schemas.microsoft.com/office/powerpoint/2010/main" val="1498797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53846E-6 -2.59259E-6 L 1.53846E-6 0.15486 " pathEditMode="relative" rAng="0" ptsTypes="AA">
                                      <p:cBhvr>
                                        <p:cTn id="6" dur="2000" fill="hold"/>
                                        <p:tgtEl>
                                          <p:spTgt spid="33"/>
                                        </p:tgtEl>
                                        <p:attrNameLst>
                                          <p:attrName>ppt_x</p:attrName>
                                          <p:attrName>ppt_y</p:attrName>
                                        </p:attrNameLst>
                                      </p:cBhvr>
                                      <p:rCtr x="0" y="7731"/>
                                    </p:animMotion>
                                  </p:childTnLst>
                                </p:cTn>
                              </p:par>
                              <p:par>
                                <p:cTn id="7" presetID="42" presetClass="path" presetSubtype="0" accel="50000" decel="50000" fill="hold" nodeType="withEffect">
                                  <p:stCondLst>
                                    <p:cond delay="0"/>
                                  </p:stCondLst>
                                  <p:childTnLst>
                                    <p:animMotion origin="layout" path="M 0 -4.07407E-6 L 0 -0.15162 " pathEditMode="relative" rAng="0" ptsTypes="AA">
                                      <p:cBhvr>
                                        <p:cTn id="8" dur="2000" fill="hold"/>
                                        <p:tgtEl>
                                          <p:spTgt spid="31"/>
                                        </p:tgtEl>
                                        <p:attrNameLst>
                                          <p:attrName>ppt_x</p:attrName>
                                          <p:attrName>ppt_y</p:attrName>
                                        </p:attrNameLst>
                                      </p:cBhvr>
                                      <p:rCtr x="0" y="-7593"/>
                                    </p:animMotion>
                                  </p:childTnLst>
                                </p:cTn>
                              </p:par>
                              <p:par>
                                <p:cTn id="9" presetID="42" presetClass="path" presetSubtype="0" accel="50000" decel="50000" fill="hold" nodeType="withEffect">
                                  <p:stCondLst>
                                    <p:cond delay="0"/>
                                  </p:stCondLst>
                                  <p:childTnLst>
                                    <p:animMotion origin="layout" path="M 0 -4.07407E-6 L 0 -0.15162 " pathEditMode="relative" rAng="0" ptsTypes="AA">
                                      <p:cBhvr>
                                        <p:cTn id="10" dur="2000" fill="hold"/>
                                        <p:tgtEl>
                                          <p:spTgt spid="32"/>
                                        </p:tgtEl>
                                        <p:attrNameLst>
                                          <p:attrName>ppt_x</p:attrName>
                                          <p:attrName>ppt_y</p:attrName>
                                        </p:attrNameLst>
                                      </p:cBhvr>
                                      <p:rCtr x="0" y="-7593"/>
                                    </p:animMotion>
                                  </p:childTnLst>
                                </p:cTn>
                              </p:par>
                              <p:par>
                                <p:cTn id="11" presetID="16" presetClass="exit" presetSubtype="26" fill="hold" nodeType="withEffect">
                                  <p:stCondLst>
                                    <p:cond delay="0"/>
                                  </p:stCondLst>
                                  <p:childTnLst>
                                    <p:animEffect transition="out" filter="barn(inHorizontal)">
                                      <p:cBhvr>
                                        <p:cTn id="12" dur="500"/>
                                        <p:tgtEl>
                                          <p:spTgt spid="37"/>
                                        </p:tgtEl>
                                      </p:cBhvr>
                                    </p:animEffect>
                                    <p:set>
                                      <p:cBhvr>
                                        <p:cTn id="13" dur="1" fill="hold">
                                          <p:stCondLst>
                                            <p:cond delay="499"/>
                                          </p:stCondLst>
                                        </p:cTn>
                                        <p:tgtEl>
                                          <p:spTgt spid="37"/>
                                        </p:tgtEl>
                                        <p:attrNameLst>
                                          <p:attrName>style.visibility</p:attrName>
                                        </p:attrNameLst>
                                      </p:cBhvr>
                                      <p:to>
                                        <p:strVal val="hidden"/>
                                      </p:to>
                                    </p:set>
                                  </p:childTnLst>
                                </p:cTn>
                              </p:par>
                              <p:par>
                                <p:cTn id="14" presetID="16" presetClass="exit" presetSubtype="26" fill="hold" nodeType="withEffect">
                                  <p:stCondLst>
                                    <p:cond delay="0"/>
                                  </p:stCondLst>
                                  <p:childTnLst>
                                    <p:animEffect transition="out" filter="barn(inHorizontal)">
                                      <p:cBhvr>
                                        <p:cTn id="15" dur="500"/>
                                        <p:tgtEl>
                                          <p:spTgt spid="48"/>
                                        </p:tgtEl>
                                      </p:cBhvr>
                                    </p:animEffect>
                                    <p:set>
                                      <p:cBhvr>
                                        <p:cTn id="16" dur="1" fill="hold">
                                          <p:stCondLst>
                                            <p:cond delay="499"/>
                                          </p:stCondLst>
                                        </p:cTn>
                                        <p:tgtEl>
                                          <p:spTgt spid="48"/>
                                        </p:tgtEl>
                                        <p:attrNameLst>
                                          <p:attrName>style.visibility</p:attrName>
                                        </p:attrNameLst>
                                      </p:cBhvr>
                                      <p:to>
                                        <p:strVal val="hidden"/>
                                      </p:to>
                                    </p:set>
                                  </p:childTnLst>
                                </p:cTn>
                              </p:par>
                              <p:par>
                                <p:cTn id="17" presetID="42" presetClass="path" presetSubtype="0" accel="50000" decel="50000" fill="hold" nodeType="withEffect">
                                  <p:stCondLst>
                                    <p:cond delay="0"/>
                                  </p:stCondLst>
                                  <p:childTnLst>
                                    <p:animMotion origin="layout" path="M 0 -1.85185E-6 L 0 -0.04815 " pathEditMode="relative" rAng="0" ptsTypes="AA">
                                      <p:cBhvr>
                                        <p:cTn id="18" dur="500" fill="hold"/>
                                        <p:tgtEl>
                                          <p:spTgt spid="38"/>
                                        </p:tgtEl>
                                        <p:attrNameLst>
                                          <p:attrName>ppt_x</p:attrName>
                                          <p:attrName>ppt_y</p:attrName>
                                        </p:attrNameLst>
                                      </p:cBhvr>
                                      <p:rCtr x="0" y="-2407"/>
                                    </p:animMotion>
                                  </p:childTnLst>
                                </p:cTn>
                              </p:par>
                              <p:par>
                                <p:cTn id="19" presetID="10" presetClass="exit" presetSubtype="0" fill="hold" nodeType="withEffect">
                                  <p:stCondLst>
                                    <p:cond delay="0"/>
                                  </p:stCondLst>
                                  <p:childTnLst>
                                    <p:animEffect transition="out" filter="fade">
                                      <p:cBhvr>
                                        <p:cTn id="20" dur="500"/>
                                        <p:tgtEl>
                                          <p:spTgt spid="38"/>
                                        </p:tgtEl>
                                      </p:cBhvr>
                                    </p:animEffect>
                                    <p:set>
                                      <p:cBhvr>
                                        <p:cTn id="21" dur="1" fill="hold">
                                          <p:stCondLst>
                                            <p:cond delay="499"/>
                                          </p:stCondLst>
                                        </p:cTn>
                                        <p:tgtEl>
                                          <p:spTgt spid="38"/>
                                        </p:tgtEl>
                                        <p:attrNameLst>
                                          <p:attrName>style.visibility</p:attrName>
                                        </p:attrNameLst>
                                      </p:cBhvr>
                                      <p:to>
                                        <p:strVal val="hidden"/>
                                      </p:to>
                                    </p:set>
                                  </p:childTnLst>
                                </p:cTn>
                              </p:par>
                              <p:par>
                                <p:cTn id="22" presetID="42" presetClass="path" presetSubtype="0" accel="50000" decel="50000" fill="hold" nodeType="withEffect">
                                  <p:stCondLst>
                                    <p:cond delay="0"/>
                                  </p:stCondLst>
                                  <p:childTnLst>
                                    <p:animMotion origin="layout" path="M 2.82051E-6 -1.85185E-6 L 2.82051E-6 0.05185 " pathEditMode="relative" rAng="0" ptsTypes="AA">
                                      <p:cBhvr>
                                        <p:cTn id="23" dur="500" fill="hold"/>
                                        <p:tgtEl>
                                          <p:spTgt spid="49"/>
                                        </p:tgtEl>
                                        <p:attrNameLst>
                                          <p:attrName>ppt_x</p:attrName>
                                          <p:attrName>ppt_y</p:attrName>
                                        </p:attrNameLst>
                                      </p:cBhvr>
                                      <p:rCtr x="0" y="2593"/>
                                    </p:animMotion>
                                  </p:childTnLst>
                                </p:cTn>
                              </p:par>
                              <p:par>
                                <p:cTn id="24" presetID="10" presetClass="exit" presetSubtype="0" fill="hold" nodeType="withEffect">
                                  <p:stCondLst>
                                    <p:cond delay="0"/>
                                  </p:stCondLst>
                                  <p:childTnLst>
                                    <p:animEffect transition="out" filter="fade">
                                      <p:cBhvr>
                                        <p:cTn id="25" dur="500"/>
                                        <p:tgtEl>
                                          <p:spTgt spid="49"/>
                                        </p:tgtEl>
                                      </p:cBhvr>
                                    </p:animEffect>
                                    <p:set>
                                      <p:cBhvr>
                                        <p:cTn id="26" dur="1" fill="hold">
                                          <p:stCondLst>
                                            <p:cond delay="499"/>
                                          </p:stCondLst>
                                        </p:cTn>
                                        <p:tgtEl>
                                          <p:spTgt spid="49"/>
                                        </p:tgtEl>
                                        <p:attrNameLst>
                                          <p:attrName>style.visibility</p:attrName>
                                        </p:attrNameLst>
                                      </p:cBhvr>
                                      <p:to>
                                        <p:strVal val="hidden"/>
                                      </p:to>
                                    </p:set>
                                  </p:childTnLst>
                                </p:cTn>
                              </p:par>
                              <p:par>
                                <p:cTn id="27" presetID="42" presetClass="path" presetSubtype="0" accel="50000" decel="50000" fill="hold" nodeType="withEffect">
                                  <p:stCondLst>
                                    <p:cond delay="0"/>
                                  </p:stCondLst>
                                  <p:childTnLst>
                                    <p:animMotion origin="layout" path="M -1.28205E-6 -1.85185E-6 L -1.28205E-6 0.02871 " pathEditMode="relative" rAng="0" ptsTypes="AA">
                                      <p:cBhvr>
                                        <p:cTn id="28" dur="500" fill="hold"/>
                                        <p:tgtEl>
                                          <p:spTgt spid="58"/>
                                        </p:tgtEl>
                                        <p:attrNameLst>
                                          <p:attrName>ppt_x</p:attrName>
                                          <p:attrName>ppt_y</p:attrName>
                                        </p:attrNameLst>
                                      </p:cBhvr>
                                      <p:rCtr x="0" y="1435"/>
                                    </p:animMotion>
                                  </p:childTnLst>
                                </p:cTn>
                              </p:par>
                              <p:par>
                                <p:cTn id="29" presetID="10" presetClass="exit" presetSubtype="0" fill="hold" nodeType="withEffect">
                                  <p:stCondLst>
                                    <p:cond delay="0"/>
                                  </p:stCondLst>
                                  <p:childTnLst>
                                    <p:animEffect transition="out" filter="fade">
                                      <p:cBhvr>
                                        <p:cTn id="30" dur="500"/>
                                        <p:tgtEl>
                                          <p:spTgt spid="58"/>
                                        </p:tgtEl>
                                      </p:cBhvr>
                                    </p:animEffect>
                                    <p:set>
                                      <p:cBhvr>
                                        <p:cTn id="31" dur="1" fill="hold">
                                          <p:stCondLst>
                                            <p:cond delay="499"/>
                                          </p:stCondLst>
                                        </p:cTn>
                                        <p:tgtEl>
                                          <p:spTgt spid="58"/>
                                        </p:tgtEl>
                                        <p:attrNameLst>
                                          <p:attrName>style.visibility</p:attrName>
                                        </p:attrNameLst>
                                      </p:cBhvr>
                                      <p:to>
                                        <p:strVal val="hidden"/>
                                      </p:to>
                                    </p:set>
                                  </p:childTnLst>
                                </p:cTn>
                              </p:par>
                              <p:par>
                                <p:cTn id="32" presetID="42" presetClass="path" presetSubtype="0" accel="50000" decel="50000" fill="hold" nodeType="withEffect">
                                  <p:stCondLst>
                                    <p:cond delay="0"/>
                                  </p:stCondLst>
                                  <p:childTnLst>
                                    <p:animMotion origin="layout" path="M 0 -1.85185E-6 L 0 -0.04815 " pathEditMode="relative" rAng="0" ptsTypes="AA">
                                      <p:cBhvr>
                                        <p:cTn id="33" dur="500" fill="hold"/>
                                        <p:tgtEl>
                                          <p:spTgt spid="55"/>
                                        </p:tgtEl>
                                        <p:attrNameLst>
                                          <p:attrName>ppt_x</p:attrName>
                                          <p:attrName>ppt_y</p:attrName>
                                        </p:attrNameLst>
                                      </p:cBhvr>
                                      <p:rCtr x="0" y="-2407"/>
                                    </p:animMotion>
                                  </p:childTnLst>
                                </p:cTn>
                              </p:par>
                              <p:par>
                                <p:cTn id="34" presetID="10" presetClass="exit" presetSubtype="0" fill="hold" nodeType="withEffect">
                                  <p:stCondLst>
                                    <p:cond delay="0"/>
                                  </p:stCondLst>
                                  <p:childTnLst>
                                    <p:animEffect transition="out" filter="fade">
                                      <p:cBhvr>
                                        <p:cTn id="35" dur="500"/>
                                        <p:tgtEl>
                                          <p:spTgt spid="55"/>
                                        </p:tgtEl>
                                      </p:cBhvr>
                                    </p:animEffect>
                                    <p:set>
                                      <p:cBhvr>
                                        <p:cTn id="36" dur="1" fill="hold">
                                          <p:stCondLst>
                                            <p:cond delay="499"/>
                                          </p:stCondLst>
                                        </p:cTn>
                                        <p:tgtEl>
                                          <p:spTgt spid="55"/>
                                        </p:tgtEl>
                                        <p:attrNameLst>
                                          <p:attrName>style.visibility</p:attrName>
                                        </p:attrNameLst>
                                      </p:cBhvr>
                                      <p:to>
                                        <p:strVal val="hidden"/>
                                      </p:to>
                                    </p:set>
                                  </p:childTnLst>
                                </p:cTn>
                              </p:par>
                              <p:par>
                                <p:cTn id="37" presetID="42" presetClass="path" presetSubtype="0" accel="50000" decel="50000" fill="hold" grpId="0" nodeType="withEffect">
                                  <p:stCondLst>
                                    <p:cond delay="0"/>
                                  </p:stCondLst>
                                  <p:childTnLst>
                                    <p:animMotion origin="layout" path="M -1.02564E-6 -2.59259E-6 L -1.02564E-6 0.15486 " pathEditMode="relative" rAng="0" ptsTypes="AA">
                                      <p:cBhvr>
                                        <p:cTn id="38" dur="2000" fill="hold"/>
                                        <p:tgtEl>
                                          <p:spTgt spid="5"/>
                                        </p:tgtEl>
                                        <p:attrNameLst>
                                          <p:attrName>ppt_x</p:attrName>
                                          <p:attrName>ppt_y</p:attrName>
                                        </p:attrNameLst>
                                      </p:cBhvr>
                                      <p:rCtr x="0" y="7731"/>
                                    </p:animMotion>
                                  </p:childTnLst>
                                </p:cTn>
                              </p:par>
                              <p:par>
                                <p:cTn id="39" presetID="42" presetClass="path" presetSubtype="0" accel="50000" decel="50000" fill="hold" grpId="0" nodeType="withEffect">
                                  <p:stCondLst>
                                    <p:cond delay="0"/>
                                  </p:stCondLst>
                                  <p:childTnLst>
                                    <p:animMotion origin="layout" path="M -1.02564E-6 -4.07407E-6 L -1.02564E-6 -0.15162 " pathEditMode="relative" rAng="0" ptsTypes="AA">
                                      <p:cBhvr>
                                        <p:cTn id="40" dur="2000" fill="hold"/>
                                        <p:tgtEl>
                                          <p:spTgt spid="7"/>
                                        </p:tgtEl>
                                        <p:attrNameLst>
                                          <p:attrName>ppt_x</p:attrName>
                                          <p:attrName>ppt_y</p:attrName>
                                        </p:attrNameLst>
                                      </p:cBhvr>
                                      <p:rCtr x="0" y="-7593"/>
                                    </p:animMotion>
                                  </p:childTnLst>
                                </p:cTn>
                              </p:par>
                              <p:par>
                                <p:cTn id="41" presetID="42" presetClass="path" presetSubtype="0" accel="50000" decel="50000" fill="hold" nodeType="withEffect">
                                  <p:stCondLst>
                                    <p:cond delay="0"/>
                                  </p:stCondLst>
                                  <p:childTnLst>
                                    <p:animMotion origin="layout" path="M 0 -4.81481E-6 L 0 -0.32245 " pathEditMode="relative" rAng="0" ptsTypes="AA">
                                      <p:cBhvr>
                                        <p:cTn id="42" dur="2000" fill="hold"/>
                                        <p:tgtEl>
                                          <p:spTgt spid="52"/>
                                        </p:tgtEl>
                                        <p:attrNameLst>
                                          <p:attrName>ppt_x</p:attrName>
                                          <p:attrName>ppt_y</p:attrName>
                                        </p:attrNameLst>
                                      </p:cBhvr>
                                      <p:rCtr x="0" y="-16134"/>
                                    </p:animMotion>
                                  </p:childTnLst>
                                </p:cTn>
                              </p:par>
                              <p:par>
                                <p:cTn id="43" presetID="10" presetClass="entr" presetSubtype="0" fill="hold" nodeType="withEffect">
                                  <p:stCondLst>
                                    <p:cond delay="100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500"/>
                                        <p:tgtEl>
                                          <p:spTgt spid="43"/>
                                        </p:tgtEl>
                                      </p:cBhvr>
                                    </p:animEffect>
                                  </p:childTnLst>
                                </p:cTn>
                              </p:par>
                              <p:par>
                                <p:cTn id="46" presetID="42" presetClass="path" presetSubtype="0" accel="50000" decel="50000" fill="hold" nodeType="withEffect">
                                  <p:stCondLst>
                                    <p:cond delay="0"/>
                                  </p:stCondLst>
                                  <p:childTnLst>
                                    <p:animMotion origin="layout" path="M 0 -4.81481E-6 L 0 -0.32245 " pathEditMode="relative" rAng="0" ptsTypes="AA">
                                      <p:cBhvr>
                                        <p:cTn id="47" dur="2000" fill="hold"/>
                                        <p:tgtEl>
                                          <p:spTgt spid="43"/>
                                        </p:tgtEl>
                                        <p:attrNameLst>
                                          <p:attrName>ppt_x</p:attrName>
                                          <p:attrName>ppt_y</p:attrName>
                                        </p:attrNameLst>
                                      </p:cBhvr>
                                      <p:rCtr x="0" y="-16134"/>
                                    </p:animMotion>
                                  </p:childTnLst>
                                </p:cTn>
                              </p:par>
                              <p:par>
                                <p:cTn id="48" presetID="10" presetClass="exit" presetSubtype="0" fill="hold" nodeType="withEffect">
                                  <p:stCondLst>
                                    <p:cond delay="1000"/>
                                  </p:stCondLst>
                                  <p:childTnLst>
                                    <p:animEffect transition="out" filter="fade">
                                      <p:cBhvr>
                                        <p:cTn id="49" dur="500"/>
                                        <p:tgtEl>
                                          <p:spTgt spid="52"/>
                                        </p:tgtEl>
                                      </p:cBhvr>
                                    </p:animEffect>
                                    <p:set>
                                      <p:cBhvr>
                                        <p:cTn id="50" dur="1" fill="hold">
                                          <p:stCondLst>
                                            <p:cond delay="499"/>
                                          </p:stCondLst>
                                        </p:cTn>
                                        <p:tgtEl>
                                          <p:spTgt spid="52"/>
                                        </p:tgtEl>
                                        <p:attrNameLst>
                                          <p:attrName>style.visibility</p:attrName>
                                        </p:attrNameLst>
                                      </p:cBhvr>
                                      <p:to>
                                        <p:strVal val="hidden"/>
                                      </p:to>
                                    </p:set>
                                  </p:childTnLst>
                                </p:cTn>
                              </p:par>
                              <p:par>
                                <p:cTn id="51" presetID="10" presetClass="entr" presetSubtype="0" fill="hold" grpId="0" nodeType="withEffect">
                                  <p:stCondLst>
                                    <p:cond delay="1500"/>
                                  </p:stCondLst>
                                  <p:childTnLst>
                                    <p:set>
                                      <p:cBhvr>
                                        <p:cTn id="52" dur="1" fill="hold">
                                          <p:stCondLst>
                                            <p:cond delay="0"/>
                                          </p:stCondLst>
                                        </p:cTn>
                                        <p:tgtEl>
                                          <p:spTgt spid="47"/>
                                        </p:tgtEl>
                                        <p:attrNameLst>
                                          <p:attrName>style.visibility</p:attrName>
                                        </p:attrNameLst>
                                      </p:cBhvr>
                                      <p:to>
                                        <p:strVal val="visible"/>
                                      </p:to>
                                    </p:set>
                                    <p:animEffect transition="in" filter="fade">
                                      <p:cBhvr>
                                        <p:cTn id="53" dur="500"/>
                                        <p:tgtEl>
                                          <p:spTgt spid="47"/>
                                        </p:tgtEl>
                                      </p:cBhvr>
                                    </p:animEffect>
                                  </p:childTnLst>
                                </p:cTn>
                              </p:par>
                              <p:par>
                                <p:cTn id="54" presetID="6" presetClass="emph" presetSubtype="0" fill="hold" grpId="1" nodeType="withEffect">
                                  <p:stCondLst>
                                    <p:cond delay="1500"/>
                                  </p:stCondLst>
                                  <p:childTnLst>
                                    <p:animScale>
                                      <p:cBhvr>
                                        <p:cTn id="55" dur="2000" fill="hold"/>
                                        <p:tgtEl>
                                          <p:spTgt spid="47"/>
                                        </p:tgtEl>
                                      </p:cBhvr>
                                      <p:by x="150000" y="150000"/>
                                    </p:animScale>
                                  </p:childTnLst>
                                </p:cTn>
                              </p:par>
                              <p:par>
                                <p:cTn id="56" presetID="10" presetClass="exit" presetSubtype="0" fill="hold" grpId="2" nodeType="withEffect">
                                  <p:stCondLst>
                                    <p:cond delay="2500"/>
                                  </p:stCondLst>
                                  <p:childTnLst>
                                    <p:animEffect transition="out" filter="fade">
                                      <p:cBhvr>
                                        <p:cTn id="57" dur="1100"/>
                                        <p:tgtEl>
                                          <p:spTgt spid="47"/>
                                        </p:tgtEl>
                                      </p:cBhvr>
                                    </p:animEffect>
                                    <p:set>
                                      <p:cBhvr>
                                        <p:cTn id="58" dur="1" fill="hold">
                                          <p:stCondLst>
                                            <p:cond delay="1099"/>
                                          </p:stCondLst>
                                        </p:cTn>
                                        <p:tgtEl>
                                          <p:spTgt spid="47"/>
                                        </p:tgtEl>
                                        <p:attrNameLst>
                                          <p:attrName>style.visibility</p:attrName>
                                        </p:attrNameLst>
                                      </p:cBhvr>
                                      <p:to>
                                        <p:strVal val="hidden"/>
                                      </p:to>
                                    </p:set>
                                  </p:childTnLst>
                                </p:cTn>
                              </p:par>
                              <p:par>
                                <p:cTn id="59" presetID="10" presetClass="entr" presetSubtype="0" fill="hold" grpId="0" nodeType="withEffect">
                                  <p:stCondLst>
                                    <p:cond delay="2500"/>
                                  </p:stCondLst>
                                  <p:childTnLst>
                                    <p:set>
                                      <p:cBhvr>
                                        <p:cTn id="60" dur="1" fill="hold">
                                          <p:stCondLst>
                                            <p:cond delay="0"/>
                                          </p:stCondLst>
                                        </p:cTn>
                                        <p:tgtEl>
                                          <p:spTgt spid="59"/>
                                        </p:tgtEl>
                                        <p:attrNameLst>
                                          <p:attrName>style.visibility</p:attrName>
                                        </p:attrNameLst>
                                      </p:cBhvr>
                                      <p:to>
                                        <p:strVal val="visible"/>
                                      </p:to>
                                    </p:set>
                                    <p:animEffect transition="in" filter="fade">
                                      <p:cBhvr>
                                        <p:cTn id="61" dur="500"/>
                                        <p:tgtEl>
                                          <p:spTgt spid="59"/>
                                        </p:tgtEl>
                                      </p:cBhvr>
                                    </p:animEffect>
                                  </p:childTnLst>
                                </p:cTn>
                              </p:par>
                              <p:par>
                                <p:cTn id="62" presetID="6" presetClass="emph" presetSubtype="0" fill="hold" grpId="1" nodeType="withEffect">
                                  <p:stCondLst>
                                    <p:cond delay="2500"/>
                                  </p:stCondLst>
                                  <p:childTnLst>
                                    <p:animScale>
                                      <p:cBhvr>
                                        <p:cTn id="63" dur="2000" fill="hold"/>
                                        <p:tgtEl>
                                          <p:spTgt spid="59"/>
                                        </p:tgtEl>
                                      </p:cBhvr>
                                      <p:by x="150000" y="150000"/>
                                    </p:animScale>
                                  </p:childTnLst>
                                </p:cTn>
                              </p:par>
                              <p:par>
                                <p:cTn id="64" presetID="10" presetClass="exit" presetSubtype="0" fill="hold" grpId="2" nodeType="withEffect">
                                  <p:stCondLst>
                                    <p:cond delay="3400"/>
                                  </p:stCondLst>
                                  <p:childTnLst>
                                    <p:animEffect transition="out" filter="fade">
                                      <p:cBhvr>
                                        <p:cTn id="65" dur="1100"/>
                                        <p:tgtEl>
                                          <p:spTgt spid="59"/>
                                        </p:tgtEl>
                                      </p:cBhvr>
                                    </p:animEffect>
                                    <p:set>
                                      <p:cBhvr>
                                        <p:cTn id="66" dur="1" fill="hold">
                                          <p:stCondLst>
                                            <p:cond delay="1099"/>
                                          </p:stCondLst>
                                        </p:cTn>
                                        <p:tgtEl>
                                          <p:spTgt spid="59"/>
                                        </p:tgtEl>
                                        <p:attrNameLst>
                                          <p:attrName>style.visibility</p:attrName>
                                        </p:attrNameLst>
                                      </p:cBhvr>
                                      <p:to>
                                        <p:strVal val="hidden"/>
                                      </p:to>
                                    </p:set>
                                  </p:childTnLst>
                                </p:cTn>
                              </p:par>
                              <p:par>
                                <p:cTn id="67" presetID="10" presetClass="entr" presetSubtype="0" fill="hold" grpId="0" nodeType="withEffect">
                                  <p:stCondLst>
                                    <p:cond delay="2000"/>
                                  </p:stCondLst>
                                  <p:childTnLst>
                                    <p:set>
                                      <p:cBhvr>
                                        <p:cTn id="68" dur="1" fill="hold">
                                          <p:stCondLst>
                                            <p:cond delay="0"/>
                                          </p:stCondLst>
                                        </p:cTn>
                                        <p:tgtEl>
                                          <p:spTgt spid="60"/>
                                        </p:tgtEl>
                                        <p:attrNameLst>
                                          <p:attrName>style.visibility</p:attrName>
                                        </p:attrNameLst>
                                      </p:cBhvr>
                                      <p:to>
                                        <p:strVal val="visible"/>
                                      </p:to>
                                    </p:set>
                                    <p:animEffect transition="in" filter="fade">
                                      <p:cBhvr>
                                        <p:cTn id="69" dur="500"/>
                                        <p:tgtEl>
                                          <p:spTgt spid="60"/>
                                        </p:tgtEl>
                                      </p:cBhvr>
                                    </p:animEffect>
                                  </p:childTnLst>
                                </p:cTn>
                              </p:par>
                              <p:par>
                                <p:cTn id="70" presetID="6" presetClass="emph" presetSubtype="0" fill="hold" grpId="1" nodeType="withEffect">
                                  <p:stCondLst>
                                    <p:cond delay="2000"/>
                                  </p:stCondLst>
                                  <p:childTnLst>
                                    <p:animScale>
                                      <p:cBhvr>
                                        <p:cTn id="71" dur="2000" fill="hold"/>
                                        <p:tgtEl>
                                          <p:spTgt spid="60"/>
                                        </p:tgtEl>
                                      </p:cBhvr>
                                      <p:by x="150000" y="150000"/>
                                    </p:animScale>
                                  </p:childTnLst>
                                </p:cTn>
                              </p:par>
                              <p:par>
                                <p:cTn id="72" presetID="10" presetClass="exit" presetSubtype="0" fill="hold" grpId="2" nodeType="withEffect">
                                  <p:stCondLst>
                                    <p:cond delay="3000"/>
                                  </p:stCondLst>
                                  <p:childTnLst>
                                    <p:animEffect transition="out" filter="fade">
                                      <p:cBhvr>
                                        <p:cTn id="73" dur="1100"/>
                                        <p:tgtEl>
                                          <p:spTgt spid="60"/>
                                        </p:tgtEl>
                                      </p:cBhvr>
                                    </p:animEffect>
                                    <p:set>
                                      <p:cBhvr>
                                        <p:cTn id="74" dur="1" fill="hold">
                                          <p:stCondLst>
                                            <p:cond delay="1099"/>
                                          </p:stCondLst>
                                        </p:cTn>
                                        <p:tgtEl>
                                          <p:spTgt spid="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animBg="1"/>
      <p:bldP spid="47" grpId="0" animBg="1"/>
      <p:bldP spid="47" grpId="1" animBg="1"/>
      <p:bldP spid="47" grpId="2" animBg="1"/>
      <p:bldP spid="59" grpId="0" animBg="1"/>
      <p:bldP spid="59" grpId="1" animBg="1"/>
      <p:bldP spid="59" grpId="2" animBg="1"/>
      <p:bldP spid="60" grpId="0" animBg="1"/>
      <p:bldP spid="60" grpId="1" animBg="1"/>
      <p:bldP spid="60" grpId="2"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voettekst 2"/>
          <p:cNvSpPr>
            <a:spLocks noGrp="1"/>
          </p:cNvSpPr>
          <p:nvPr>
            <p:ph type="ftr" sz="quarter" idx="10"/>
          </p:nvPr>
        </p:nvSpPr>
        <p:spPr/>
        <p:txBody>
          <a:bodyPr/>
          <a:lstStyle/>
          <a:p>
            <a:endParaRPr lang="en-GB"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9479" y="32734"/>
            <a:ext cx="6322331" cy="4325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Afbeelding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2157" y="1936595"/>
            <a:ext cx="1660467" cy="1660467"/>
          </a:xfrm>
          <a:prstGeom prst="rect">
            <a:avLst/>
          </a:prstGeom>
        </p:spPr>
      </p:pic>
      <p:sp>
        <p:nvSpPr>
          <p:cNvPr id="5" name="Rechthoek 4"/>
          <p:cNvSpPr/>
          <p:nvPr/>
        </p:nvSpPr>
        <p:spPr>
          <a:xfrm>
            <a:off x="264920" y="1865604"/>
            <a:ext cx="1760433" cy="1734078"/>
          </a:xfrm>
          <a:prstGeom prst="rect">
            <a:avLst/>
          </a:prstGeom>
          <a:noFill/>
          <a:ln w="19050">
            <a:solidFill>
              <a:srgbClr val="EE3E27"/>
            </a:solidFill>
          </a:ln>
          <a:effectLst/>
        </p:spPr>
        <p:style>
          <a:lnRef idx="1">
            <a:schemeClr val="accent1"/>
          </a:lnRef>
          <a:fillRef idx="3">
            <a:schemeClr val="accent1"/>
          </a:fillRef>
          <a:effectRef idx="2">
            <a:schemeClr val="accent1"/>
          </a:effectRef>
          <a:fontRef idx="minor">
            <a:schemeClr val="lt1"/>
          </a:fontRef>
        </p:style>
        <p:txBody>
          <a:bodyPr lIns="91430" tIns="45715" rIns="91430" bIns="45715" spcCol="0" rtlCol="0" anchor="ctr"/>
          <a:lstStyle/>
          <a:p>
            <a:pPr algn="ctr"/>
            <a:endParaRPr lang="en-GB"/>
          </a:p>
        </p:txBody>
      </p:sp>
      <p:cxnSp>
        <p:nvCxnSpPr>
          <p:cNvPr id="7" name="Rechte verbindingslijn 6"/>
          <p:cNvCxnSpPr/>
          <p:nvPr/>
        </p:nvCxnSpPr>
        <p:spPr>
          <a:xfrm flipH="1">
            <a:off x="2025354" y="2698459"/>
            <a:ext cx="640936" cy="0"/>
          </a:xfrm>
          <a:prstGeom prst="line">
            <a:avLst/>
          </a:prstGeom>
          <a:ln w="19050"/>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8602918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p:cNvGrpSpPr/>
          <p:nvPr/>
        </p:nvGrpSpPr>
        <p:grpSpPr>
          <a:xfrm>
            <a:off x="8259671" y="1047757"/>
            <a:ext cx="644623" cy="644623"/>
            <a:chOff x="8259665" y="1047750"/>
            <a:chExt cx="644623" cy="644623"/>
          </a:xfrm>
        </p:grpSpPr>
        <p:sp>
          <p:nvSpPr>
            <p:cNvPr id="63" name="Rechthoek 10"/>
            <p:cNvSpPr>
              <a:spLocks noChangeAspect="1"/>
            </p:cNvSpPr>
            <p:nvPr/>
          </p:nvSpPr>
          <p:spPr>
            <a:xfrm>
              <a:off x="8259665"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64" name="Freeform 197"/>
            <p:cNvSpPr>
              <a:spLocks noEditPoints="1"/>
            </p:cNvSpPr>
            <p:nvPr/>
          </p:nvSpPr>
          <p:spPr bwMode="auto">
            <a:xfrm>
              <a:off x="8352033" y="1158387"/>
              <a:ext cx="459886" cy="423348"/>
            </a:xfrm>
            <a:custGeom>
              <a:avLst/>
              <a:gdLst>
                <a:gd name="T0" fmla="*/ 27 w 400"/>
                <a:gd name="T1" fmla="*/ 60 h 368"/>
                <a:gd name="T2" fmla="*/ 53 w 400"/>
                <a:gd name="T3" fmla="*/ 104 h 368"/>
                <a:gd name="T4" fmla="*/ 134 w 400"/>
                <a:gd name="T5" fmla="*/ 305 h 368"/>
                <a:gd name="T6" fmla="*/ 139 w 400"/>
                <a:gd name="T7" fmla="*/ 307 h 368"/>
                <a:gd name="T8" fmla="*/ 191 w 400"/>
                <a:gd name="T9" fmla="*/ 109 h 368"/>
                <a:gd name="T10" fmla="*/ 134 w 400"/>
                <a:gd name="T11" fmla="*/ 305 h 368"/>
                <a:gd name="T12" fmla="*/ 134 w 400"/>
                <a:gd name="T13" fmla="*/ 33 h 368"/>
                <a:gd name="T14" fmla="*/ 134 w 400"/>
                <a:gd name="T15" fmla="*/ 83 h 368"/>
                <a:gd name="T16" fmla="*/ 253 w 400"/>
                <a:gd name="T17" fmla="*/ 68 h 368"/>
                <a:gd name="T18" fmla="*/ 247 w 400"/>
                <a:gd name="T19" fmla="*/ 66 h 368"/>
                <a:gd name="T20" fmla="*/ 253 w 400"/>
                <a:gd name="T21" fmla="*/ 339 h 368"/>
                <a:gd name="T22" fmla="*/ 201 w 400"/>
                <a:gd name="T23" fmla="*/ 232 h 368"/>
                <a:gd name="T24" fmla="*/ 63 w 400"/>
                <a:gd name="T25" fmla="*/ 101 h 368"/>
                <a:gd name="T26" fmla="*/ 131 w 400"/>
                <a:gd name="T27" fmla="*/ 33 h 368"/>
                <a:gd name="T28" fmla="*/ 63 w 400"/>
                <a:gd name="T29" fmla="*/ 101 h 368"/>
                <a:gd name="T30" fmla="*/ 125 w 400"/>
                <a:gd name="T31" fmla="*/ 306 h 368"/>
                <a:gd name="T32" fmla="*/ 131 w 400"/>
                <a:gd name="T33" fmla="*/ 305 h 368"/>
                <a:gd name="T34" fmla="*/ 27 w 400"/>
                <a:gd name="T35" fmla="*/ 120 h 368"/>
                <a:gd name="T36" fmla="*/ 201 w 400"/>
                <a:gd name="T37" fmla="*/ 221 h 368"/>
                <a:gd name="T38" fmla="*/ 253 w 400"/>
                <a:gd name="T39" fmla="*/ 126 h 368"/>
                <a:gd name="T40" fmla="*/ 201 w 400"/>
                <a:gd name="T41" fmla="*/ 221 h 368"/>
                <a:gd name="T42" fmla="*/ 256 w 400"/>
                <a:gd name="T43" fmla="*/ 116 h 368"/>
                <a:gd name="T44" fmla="*/ 373 w 400"/>
                <a:gd name="T45" fmla="*/ 35 h 368"/>
                <a:gd name="T46" fmla="*/ 258 w 400"/>
                <a:gd name="T47" fmla="*/ 67 h 368"/>
                <a:gd name="T48" fmla="*/ 254 w 400"/>
                <a:gd name="T49" fmla="*/ 40 h 368"/>
                <a:gd name="T50" fmla="*/ 0 w 400"/>
                <a:gd name="T51" fmla="*/ 39 h 368"/>
                <a:gd name="T52" fmla="*/ 132 w 400"/>
                <a:gd name="T53" fmla="*/ 332 h 368"/>
                <a:gd name="T54" fmla="*/ 387 w 400"/>
                <a:gd name="T55" fmla="*/ 333 h 368"/>
                <a:gd name="T56" fmla="*/ 400 w 400"/>
                <a:gd name="T57" fmla="*/ 0 h 368"/>
                <a:gd name="T58" fmla="*/ 387 w 400"/>
                <a:gd name="T59" fmla="*/ 319 h 368"/>
                <a:gd name="T60" fmla="*/ 136 w 400"/>
                <a:gd name="T61" fmla="*/ 320 h 368"/>
                <a:gd name="T62" fmla="*/ 128 w 400"/>
                <a:gd name="T63" fmla="*/ 319 h 368"/>
                <a:gd name="T64" fmla="*/ 13 w 400"/>
                <a:gd name="T65" fmla="*/ 49 h 368"/>
                <a:gd name="T66" fmla="*/ 250 w 400"/>
                <a:gd name="T67" fmla="*/ 53 h 368"/>
                <a:gd name="T68" fmla="*/ 258 w 400"/>
                <a:gd name="T69" fmla="*/ 53 h 368"/>
                <a:gd name="T70" fmla="*/ 387 w 400"/>
                <a:gd name="T71" fmla="*/ 319 h 368"/>
                <a:gd name="T72" fmla="*/ 256 w 400"/>
                <a:gd name="T73" fmla="*/ 339 h 368"/>
                <a:gd name="T74" fmla="*/ 345 w 400"/>
                <a:gd name="T75" fmla="*/ 236 h 368"/>
                <a:gd name="T76" fmla="*/ 256 w 400"/>
                <a:gd name="T77" fmla="*/ 339 h 368"/>
                <a:gd name="T78" fmla="*/ 373 w 400"/>
                <a:gd name="T79" fmla="*/ 219 h 368"/>
                <a:gd name="T80" fmla="*/ 256 w 400"/>
                <a:gd name="T81" fmla="*/ 126 h 368"/>
                <a:gd name="T82" fmla="*/ 355 w 400"/>
                <a:gd name="T83" fmla="*/ 313 h 368"/>
                <a:gd name="T84" fmla="*/ 373 w 400"/>
                <a:gd name="T85" fmla="*/ 228 h 368"/>
                <a:gd name="T86" fmla="*/ 355 w 400"/>
                <a:gd name="T87" fmla="*/ 313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0" h="368">
                  <a:moveTo>
                    <a:pt x="53" y="53"/>
                  </a:moveTo>
                  <a:cubicBezTo>
                    <a:pt x="27" y="60"/>
                    <a:pt x="27" y="60"/>
                    <a:pt x="27" y="60"/>
                  </a:cubicBezTo>
                  <a:cubicBezTo>
                    <a:pt x="27" y="111"/>
                    <a:pt x="27" y="111"/>
                    <a:pt x="27" y="111"/>
                  </a:cubicBezTo>
                  <a:cubicBezTo>
                    <a:pt x="53" y="104"/>
                    <a:pt x="53" y="104"/>
                    <a:pt x="53" y="104"/>
                  </a:cubicBezTo>
                  <a:lnTo>
                    <a:pt x="53" y="53"/>
                  </a:lnTo>
                  <a:close/>
                  <a:moveTo>
                    <a:pt x="134" y="305"/>
                  </a:moveTo>
                  <a:cubicBezTo>
                    <a:pt x="136" y="306"/>
                    <a:pt x="136" y="306"/>
                    <a:pt x="136" y="306"/>
                  </a:cubicBezTo>
                  <a:cubicBezTo>
                    <a:pt x="139" y="307"/>
                    <a:pt x="139" y="307"/>
                    <a:pt x="139" y="307"/>
                  </a:cubicBezTo>
                  <a:cubicBezTo>
                    <a:pt x="191" y="321"/>
                    <a:pt x="191" y="321"/>
                    <a:pt x="191" y="321"/>
                  </a:cubicBezTo>
                  <a:cubicBezTo>
                    <a:pt x="191" y="109"/>
                    <a:pt x="191" y="109"/>
                    <a:pt x="191" y="109"/>
                  </a:cubicBezTo>
                  <a:cubicBezTo>
                    <a:pt x="134" y="93"/>
                    <a:pt x="134" y="93"/>
                    <a:pt x="134" y="93"/>
                  </a:cubicBezTo>
                  <a:lnTo>
                    <a:pt x="134" y="305"/>
                  </a:lnTo>
                  <a:close/>
                  <a:moveTo>
                    <a:pt x="247" y="66"/>
                  </a:moveTo>
                  <a:cubicBezTo>
                    <a:pt x="134" y="33"/>
                    <a:pt x="134" y="33"/>
                    <a:pt x="134" y="33"/>
                  </a:cubicBezTo>
                  <a:cubicBezTo>
                    <a:pt x="134" y="33"/>
                    <a:pt x="134" y="33"/>
                    <a:pt x="134" y="33"/>
                  </a:cubicBezTo>
                  <a:cubicBezTo>
                    <a:pt x="134" y="83"/>
                    <a:pt x="134" y="83"/>
                    <a:pt x="134" y="83"/>
                  </a:cubicBezTo>
                  <a:cubicBezTo>
                    <a:pt x="253" y="116"/>
                    <a:pt x="253" y="116"/>
                    <a:pt x="253" y="116"/>
                  </a:cubicBezTo>
                  <a:cubicBezTo>
                    <a:pt x="253" y="68"/>
                    <a:pt x="253" y="68"/>
                    <a:pt x="253" y="68"/>
                  </a:cubicBezTo>
                  <a:cubicBezTo>
                    <a:pt x="250" y="67"/>
                    <a:pt x="250" y="67"/>
                    <a:pt x="250" y="67"/>
                  </a:cubicBezTo>
                  <a:lnTo>
                    <a:pt x="247" y="66"/>
                  </a:lnTo>
                  <a:close/>
                  <a:moveTo>
                    <a:pt x="201" y="324"/>
                  </a:moveTo>
                  <a:cubicBezTo>
                    <a:pt x="253" y="339"/>
                    <a:pt x="253" y="339"/>
                    <a:pt x="253" y="339"/>
                  </a:cubicBezTo>
                  <a:cubicBezTo>
                    <a:pt x="253" y="259"/>
                    <a:pt x="253" y="259"/>
                    <a:pt x="253" y="259"/>
                  </a:cubicBezTo>
                  <a:cubicBezTo>
                    <a:pt x="201" y="232"/>
                    <a:pt x="201" y="232"/>
                    <a:pt x="201" y="232"/>
                  </a:cubicBezTo>
                  <a:lnTo>
                    <a:pt x="201" y="324"/>
                  </a:lnTo>
                  <a:close/>
                  <a:moveTo>
                    <a:pt x="63" y="101"/>
                  </a:moveTo>
                  <a:cubicBezTo>
                    <a:pt x="131" y="84"/>
                    <a:pt x="131" y="84"/>
                    <a:pt x="131" y="84"/>
                  </a:cubicBezTo>
                  <a:cubicBezTo>
                    <a:pt x="131" y="33"/>
                    <a:pt x="131" y="33"/>
                    <a:pt x="131" y="33"/>
                  </a:cubicBezTo>
                  <a:cubicBezTo>
                    <a:pt x="63" y="51"/>
                    <a:pt x="63" y="51"/>
                    <a:pt x="63" y="51"/>
                  </a:cubicBezTo>
                  <a:lnTo>
                    <a:pt x="63" y="101"/>
                  </a:lnTo>
                  <a:close/>
                  <a:moveTo>
                    <a:pt x="27" y="333"/>
                  </a:moveTo>
                  <a:cubicBezTo>
                    <a:pt x="125" y="306"/>
                    <a:pt x="125" y="306"/>
                    <a:pt x="125" y="306"/>
                  </a:cubicBezTo>
                  <a:cubicBezTo>
                    <a:pt x="129" y="306"/>
                    <a:pt x="129" y="306"/>
                    <a:pt x="129" y="306"/>
                  </a:cubicBezTo>
                  <a:cubicBezTo>
                    <a:pt x="131" y="305"/>
                    <a:pt x="131" y="305"/>
                    <a:pt x="131" y="305"/>
                  </a:cubicBezTo>
                  <a:cubicBezTo>
                    <a:pt x="131" y="93"/>
                    <a:pt x="131" y="93"/>
                    <a:pt x="131" y="93"/>
                  </a:cubicBezTo>
                  <a:cubicBezTo>
                    <a:pt x="27" y="120"/>
                    <a:pt x="27" y="120"/>
                    <a:pt x="27" y="120"/>
                  </a:cubicBezTo>
                  <a:lnTo>
                    <a:pt x="27" y="333"/>
                  </a:lnTo>
                  <a:close/>
                  <a:moveTo>
                    <a:pt x="201" y="221"/>
                  </a:moveTo>
                  <a:cubicBezTo>
                    <a:pt x="253" y="248"/>
                    <a:pt x="253" y="248"/>
                    <a:pt x="253" y="248"/>
                  </a:cubicBezTo>
                  <a:cubicBezTo>
                    <a:pt x="253" y="126"/>
                    <a:pt x="253" y="126"/>
                    <a:pt x="253" y="126"/>
                  </a:cubicBezTo>
                  <a:cubicBezTo>
                    <a:pt x="201" y="112"/>
                    <a:pt x="201" y="112"/>
                    <a:pt x="201" y="112"/>
                  </a:cubicBezTo>
                  <a:lnTo>
                    <a:pt x="201" y="221"/>
                  </a:lnTo>
                  <a:close/>
                  <a:moveTo>
                    <a:pt x="256" y="68"/>
                  </a:moveTo>
                  <a:cubicBezTo>
                    <a:pt x="256" y="116"/>
                    <a:pt x="256" y="116"/>
                    <a:pt x="256" y="116"/>
                  </a:cubicBezTo>
                  <a:cubicBezTo>
                    <a:pt x="373" y="85"/>
                    <a:pt x="373" y="85"/>
                    <a:pt x="373" y="85"/>
                  </a:cubicBezTo>
                  <a:cubicBezTo>
                    <a:pt x="373" y="35"/>
                    <a:pt x="373" y="35"/>
                    <a:pt x="373" y="35"/>
                  </a:cubicBezTo>
                  <a:cubicBezTo>
                    <a:pt x="261" y="66"/>
                    <a:pt x="261" y="66"/>
                    <a:pt x="261" y="66"/>
                  </a:cubicBezTo>
                  <a:cubicBezTo>
                    <a:pt x="258" y="67"/>
                    <a:pt x="258" y="67"/>
                    <a:pt x="258" y="67"/>
                  </a:cubicBezTo>
                  <a:lnTo>
                    <a:pt x="256" y="68"/>
                  </a:lnTo>
                  <a:close/>
                  <a:moveTo>
                    <a:pt x="254" y="40"/>
                  </a:moveTo>
                  <a:cubicBezTo>
                    <a:pt x="135" y="5"/>
                    <a:pt x="135" y="5"/>
                    <a:pt x="135" y="5"/>
                  </a:cubicBezTo>
                  <a:cubicBezTo>
                    <a:pt x="0" y="39"/>
                    <a:pt x="0" y="39"/>
                    <a:pt x="0" y="39"/>
                  </a:cubicBezTo>
                  <a:cubicBezTo>
                    <a:pt x="0" y="368"/>
                    <a:pt x="0" y="368"/>
                    <a:pt x="0" y="368"/>
                  </a:cubicBezTo>
                  <a:cubicBezTo>
                    <a:pt x="132" y="332"/>
                    <a:pt x="132" y="332"/>
                    <a:pt x="132" y="332"/>
                  </a:cubicBezTo>
                  <a:cubicBezTo>
                    <a:pt x="256" y="367"/>
                    <a:pt x="256" y="367"/>
                    <a:pt x="256" y="367"/>
                  </a:cubicBezTo>
                  <a:cubicBezTo>
                    <a:pt x="256" y="367"/>
                    <a:pt x="376" y="335"/>
                    <a:pt x="387" y="333"/>
                  </a:cubicBezTo>
                  <a:cubicBezTo>
                    <a:pt x="398" y="330"/>
                    <a:pt x="400" y="327"/>
                    <a:pt x="400" y="315"/>
                  </a:cubicBezTo>
                  <a:cubicBezTo>
                    <a:pt x="400" y="310"/>
                    <a:pt x="400" y="0"/>
                    <a:pt x="400" y="0"/>
                  </a:cubicBezTo>
                  <a:lnTo>
                    <a:pt x="254" y="40"/>
                  </a:lnTo>
                  <a:close/>
                  <a:moveTo>
                    <a:pt x="387" y="319"/>
                  </a:moveTo>
                  <a:cubicBezTo>
                    <a:pt x="256" y="353"/>
                    <a:pt x="256" y="353"/>
                    <a:pt x="256" y="353"/>
                  </a:cubicBezTo>
                  <a:cubicBezTo>
                    <a:pt x="136" y="320"/>
                    <a:pt x="136" y="320"/>
                    <a:pt x="136" y="320"/>
                  </a:cubicBezTo>
                  <a:cubicBezTo>
                    <a:pt x="132" y="319"/>
                    <a:pt x="132" y="319"/>
                    <a:pt x="132" y="319"/>
                  </a:cubicBezTo>
                  <a:cubicBezTo>
                    <a:pt x="128" y="319"/>
                    <a:pt x="128" y="319"/>
                    <a:pt x="128" y="319"/>
                  </a:cubicBezTo>
                  <a:cubicBezTo>
                    <a:pt x="13" y="350"/>
                    <a:pt x="13" y="350"/>
                    <a:pt x="13" y="350"/>
                  </a:cubicBezTo>
                  <a:cubicBezTo>
                    <a:pt x="13" y="49"/>
                    <a:pt x="13" y="49"/>
                    <a:pt x="13" y="49"/>
                  </a:cubicBezTo>
                  <a:cubicBezTo>
                    <a:pt x="134" y="19"/>
                    <a:pt x="134" y="19"/>
                    <a:pt x="134" y="19"/>
                  </a:cubicBezTo>
                  <a:cubicBezTo>
                    <a:pt x="250" y="53"/>
                    <a:pt x="250" y="53"/>
                    <a:pt x="250" y="53"/>
                  </a:cubicBezTo>
                  <a:cubicBezTo>
                    <a:pt x="254" y="54"/>
                    <a:pt x="254" y="54"/>
                    <a:pt x="254" y="54"/>
                  </a:cubicBezTo>
                  <a:cubicBezTo>
                    <a:pt x="258" y="53"/>
                    <a:pt x="258" y="53"/>
                    <a:pt x="258" y="53"/>
                  </a:cubicBezTo>
                  <a:cubicBezTo>
                    <a:pt x="387" y="18"/>
                    <a:pt x="387" y="18"/>
                    <a:pt x="387" y="18"/>
                  </a:cubicBezTo>
                  <a:cubicBezTo>
                    <a:pt x="387" y="319"/>
                    <a:pt x="387" y="319"/>
                    <a:pt x="387" y="319"/>
                  </a:cubicBezTo>
                  <a:close/>
                  <a:moveTo>
                    <a:pt x="256" y="339"/>
                  </a:moveTo>
                  <a:cubicBezTo>
                    <a:pt x="256" y="339"/>
                    <a:pt x="256" y="339"/>
                    <a:pt x="256" y="339"/>
                  </a:cubicBezTo>
                  <a:cubicBezTo>
                    <a:pt x="345" y="316"/>
                    <a:pt x="345" y="316"/>
                    <a:pt x="345" y="316"/>
                  </a:cubicBezTo>
                  <a:cubicBezTo>
                    <a:pt x="345" y="236"/>
                    <a:pt x="345" y="236"/>
                    <a:pt x="345" y="236"/>
                  </a:cubicBezTo>
                  <a:cubicBezTo>
                    <a:pt x="256" y="259"/>
                    <a:pt x="256" y="259"/>
                    <a:pt x="256" y="259"/>
                  </a:cubicBezTo>
                  <a:lnTo>
                    <a:pt x="256" y="339"/>
                  </a:lnTo>
                  <a:close/>
                  <a:moveTo>
                    <a:pt x="256" y="249"/>
                  </a:moveTo>
                  <a:cubicBezTo>
                    <a:pt x="373" y="219"/>
                    <a:pt x="373" y="219"/>
                    <a:pt x="373" y="219"/>
                  </a:cubicBezTo>
                  <a:cubicBezTo>
                    <a:pt x="373" y="94"/>
                    <a:pt x="373" y="94"/>
                    <a:pt x="373" y="94"/>
                  </a:cubicBezTo>
                  <a:cubicBezTo>
                    <a:pt x="256" y="126"/>
                    <a:pt x="256" y="126"/>
                    <a:pt x="256" y="126"/>
                  </a:cubicBezTo>
                  <a:lnTo>
                    <a:pt x="256" y="249"/>
                  </a:lnTo>
                  <a:close/>
                  <a:moveTo>
                    <a:pt x="355" y="313"/>
                  </a:moveTo>
                  <a:cubicBezTo>
                    <a:pt x="373" y="308"/>
                    <a:pt x="373" y="308"/>
                    <a:pt x="373" y="308"/>
                  </a:cubicBezTo>
                  <a:cubicBezTo>
                    <a:pt x="373" y="228"/>
                    <a:pt x="373" y="228"/>
                    <a:pt x="373" y="228"/>
                  </a:cubicBezTo>
                  <a:cubicBezTo>
                    <a:pt x="355" y="233"/>
                    <a:pt x="355" y="233"/>
                    <a:pt x="355" y="233"/>
                  </a:cubicBezTo>
                  <a:lnTo>
                    <a:pt x="355" y="31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65" name="Group 64"/>
          <p:cNvGrpSpPr/>
          <p:nvPr/>
        </p:nvGrpSpPr>
        <p:grpSpPr>
          <a:xfrm>
            <a:off x="2106521" y="1047757"/>
            <a:ext cx="644623" cy="644623"/>
            <a:chOff x="2106514" y="1047750"/>
            <a:chExt cx="644623" cy="644623"/>
          </a:xfrm>
        </p:grpSpPr>
        <p:sp>
          <p:nvSpPr>
            <p:cNvPr id="66" name="Rechthoek 10"/>
            <p:cNvSpPr>
              <a:spLocks noChangeAspect="1"/>
            </p:cNvSpPr>
            <p:nvPr/>
          </p:nvSpPr>
          <p:spPr>
            <a:xfrm>
              <a:off x="2106514"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sp>
          <p:nvSpPr>
            <p:cNvPr id="67" name="Freeform 25"/>
            <p:cNvSpPr>
              <a:spLocks/>
            </p:cNvSpPr>
            <p:nvPr/>
          </p:nvSpPr>
          <p:spPr bwMode="auto">
            <a:xfrm>
              <a:off x="2232820" y="1184076"/>
              <a:ext cx="379200" cy="371970"/>
            </a:xfrm>
            <a:custGeom>
              <a:avLst/>
              <a:gdLst>
                <a:gd name="T0" fmla="*/ 173 w 200"/>
                <a:gd name="T1" fmla="*/ 109 h 196"/>
                <a:gd name="T2" fmla="*/ 180 w 200"/>
                <a:gd name="T3" fmla="*/ 118 h 196"/>
                <a:gd name="T4" fmla="*/ 200 w 200"/>
                <a:gd name="T5" fmla="*/ 118 h 196"/>
                <a:gd name="T6" fmla="*/ 102 w 200"/>
                <a:gd name="T7" fmla="*/ 0 h 196"/>
                <a:gd name="T8" fmla="*/ 64 w 200"/>
                <a:gd name="T9" fmla="*/ 44 h 196"/>
                <a:gd name="T10" fmla="*/ 64 w 200"/>
                <a:gd name="T11" fmla="*/ 20 h 196"/>
                <a:gd name="T12" fmla="*/ 38 w 200"/>
                <a:gd name="T13" fmla="*/ 20 h 196"/>
                <a:gd name="T14" fmla="*/ 38 w 200"/>
                <a:gd name="T15" fmla="*/ 75 h 196"/>
                <a:gd name="T16" fmla="*/ 0 w 200"/>
                <a:gd name="T17" fmla="*/ 118 h 196"/>
                <a:gd name="T18" fmla="*/ 21 w 200"/>
                <a:gd name="T19" fmla="*/ 118 h 196"/>
                <a:gd name="T20" fmla="*/ 28 w 200"/>
                <a:gd name="T21" fmla="*/ 110 h 196"/>
                <a:gd name="T22" fmla="*/ 28 w 200"/>
                <a:gd name="T23" fmla="*/ 184 h 196"/>
                <a:gd name="T24" fmla="*/ 18 w 200"/>
                <a:gd name="T25" fmla="*/ 184 h 196"/>
                <a:gd name="T26" fmla="*/ 18 w 200"/>
                <a:gd name="T27" fmla="*/ 196 h 196"/>
                <a:gd name="T28" fmla="*/ 69 w 200"/>
                <a:gd name="T29" fmla="*/ 196 h 196"/>
                <a:gd name="T30" fmla="*/ 77 w 200"/>
                <a:gd name="T31" fmla="*/ 185 h 196"/>
                <a:gd name="T32" fmla="*/ 77 w 200"/>
                <a:gd name="T33" fmla="*/ 185 h 196"/>
                <a:gd name="T34" fmla="*/ 81 w 200"/>
                <a:gd name="T35" fmla="*/ 174 h 196"/>
                <a:gd name="T36" fmla="*/ 96 w 200"/>
                <a:gd name="T37" fmla="*/ 119 h 196"/>
                <a:gd name="T38" fmla="*/ 77 w 200"/>
                <a:gd name="T39" fmla="*/ 169 h 196"/>
                <a:gd name="T40" fmla="*/ 76 w 200"/>
                <a:gd name="T41" fmla="*/ 173 h 196"/>
                <a:gd name="T42" fmla="*/ 76 w 200"/>
                <a:gd name="T43" fmla="*/ 173 h 196"/>
                <a:gd name="T44" fmla="*/ 69 w 200"/>
                <a:gd name="T45" fmla="*/ 110 h 196"/>
                <a:gd name="T46" fmla="*/ 126 w 200"/>
                <a:gd name="T47" fmla="*/ 60 h 196"/>
                <a:gd name="T48" fmla="*/ 128 w 200"/>
                <a:gd name="T49" fmla="*/ 83 h 196"/>
                <a:gd name="T50" fmla="*/ 129 w 200"/>
                <a:gd name="T51" fmla="*/ 136 h 196"/>
                <a:gd name="T52" fmla="*/ 100 w 200"/>
                <a:gd name="T53" fmla="*/ 177 h 196"/>
                <a:gd name="T54" fmla="*/ 83 w 200"/>
                <a:gd name="T55" fmla="*/ 184 h 196"/>
                <a:gd name="T56" fmla="*/ 77 w 200"/>
                <a:gd name="T57" fmla="*/ 196 h 196"/>
                <a:gd name="T58" fmla="*/ 183 w 200"/>
                <a:gd name="T59" fmla="*/ 196 h 196"/>
                <a:gd name="T60" fmla="*/ 183 w 200"/>
                <a:gd name="T61" fmla="*/ 184 h 196"/>
                <a:gd name="T62" fmla="*/ 173 w 200"/>
                <a:gd name="T63" fmla="*/ 184 h 196"/>
                <a:gd name="T64" fmla="*/ 173 w 200"/>
                <a:gd name="T65" fmla="*/ 10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196">
                  <a:moveTo>
                    <a:pt x="173" y="109"/>
                  </a:moveTo>
                  <a:cubicBezTo>
                    <a:pt x="180" y="118"/>
                    <a:pt x="180" y="118"/>
                    <a:pt x="180" y="118"/>
                  </a:cubicBezTo>
                  <a:cubicBezTo>
                    <a:pt x="200" y="118"/>
                    <a:pt x="200" y="118"/>
                    <a:pt x="200" y="118"/>
                  </a:cubicBezTo>
                  <a:cubicBezTo>
                    <a:pt x="102" y="0"/>
                    <a:pt x="102" y="0"/>
                    <a:pt x="102" y="0"/>
                  </a:cubicBezTo>
                  <a:cubicBezTo>
                    <a:pt x="64" y="44"/>
                    <a:pt x="64" y="44"/>
                    <a:pt x="64" y="44"/>
                  </a:cubicBezTo>
                  <a:cubicBezTo>
                    <a:pt x="64" y="20"/>
                    <a:pt x="64" y="20"/>
                    <a:pt x="64" y="20"/>
                  </a:cubicBezTo>
                  <a:cubicBezTo>
                    <a:pt x="38" y="20"/>
                    <a:pt x="38" y="20"/>
                    <a:pt x="38" y="20"/>
                  </a:cubicBezTo>
                  <a:cubicBezTo>
                    <a:pt x="38" y="75"/>
                    <a:pt x="38" y="75"/>
                    <a:pt x="38" y="75"/>
                  </a:cubicBezTo>
                  <a:cubicBezTo>
                    <a:pt x="0" y="118"/>
                    <a:pt x="0" y="118"/>
                    <a:pt x="0" y="118"/>
                  </a:cubicBezTo>
                  <a:cubicBezTo>
                    <a:pt x="21" y="118"/>
                    <a:pt x="21" y="118"/>
                    <a:pt x="21" y="118"/>
                  </a:cubicBezTo>
                  <a:cubicBezTo>
                    <a:pt x="28" y="110"/>
                    <a:pt x="28" y="110"/>
                    <a:pt x="28" y="110"/>
                  </a:cubicBezTo>
                  <a:cubicBezTo>
                    <a:pt x="28" y="184"/>
                    <a:pt x="28" y="184"/>
                    <a:pt x="28" y="184"/>
                  </a:cubicBezTo>
                  <a:cubicBezTo>
                    <a:pt x="18" y="184"/>
                    <a:pt x="18" y="184"/>
                    <a:pt x="18" y="184"/>
                  </a:cubicBezTo>
                  <a:cubicBezTo>
                    <a:pt x="18" y="196"/>
                    <a:pt x="18" y="196"/>
                    <a:pt x="18" y="196"/>
                  </a:cubicBezTo>
                  <a:cubicBezTo>
                    <a:pt x="69" y="196"/>
                    <a:pt x="69" y="196"/>
                    <a:pt x="69" y="196"/>
                  </a:cubicBezTo>
                  <a:cubicBezTo>
                    <a:pt x="73" y="192"/>
                    <a:pt x="75" y="188"/>
                    <a:pt x="77" y="185"/>
                  </a:cubicBezTo>
                  <a:cubicBezTo>
                    <a:pt x="77" y="185"/>
                    <a:pt x="77" y="185"/>
                    <a:pt x="77" y="185"/>
                  </a:cubicBezTo>
                  <a:cubicBezTo>
                    <a:pt x="79" y="181"/>
                    <a:pt x="80" y="178"/>
                    <a:pt x="81" y="174"/>
                  </a:cubicBezTo>
                  <a:cubicBezTo>
                    <a:pt x="95" y="140"/>
                    <a:pt x="95" y="120"/>
                    <a:pt x="96" y="119"/>
                  </a:cubicBezTo>
                  <a:cubicBezTo>
                    <a:pt x="95" y="120"/>
                    <a:pt x="85" y="138"/>
                    <a:pt x="77" y="169"/>
                  </a:cubicBezTo>
                  <a:cubicBezTo>
                    <a:pt x="77" y="170"/>
                    <a:pt x="77" y="171"/>
                    <a:pt x="76" y="173"/>
                  </a:cubicBezTo>
                  <a:cubicBezTo>
                    <a:pt x="76" y="173"/>
                    <a:pt x="76" y="173"/>
                    <a:pt x="76" y="173"/>
                  </a:cubicBezTo>
                  <a:cubicBezTo>
                    <a:pt x="77" y="173"/>
                    <a:pt x="57" y="146"/>
                    <a:pt x="69" y="110"/>
                  </a:cubicBezTo>
                  <a:cubicBezTo>
                    <a:pt x="80" y="73"/>
                    <a:pt x="126" y="60"/>
                    <a:pt x="126" y="60"/>
                  </a:cubicBezTo>
                  <a:cubicBezTo>
                    <a:pt x="127" y="60"/>
                    <a:pt x="127" y="68"/>
                    <a:pt x="128" y="83"/>
                  </a:cubicBezTo>
                  <a:cubicBezTo>
                    <a:pt x="129" y="97"/>
                    <a:pt x="132" y="117"/>
                    <a:pt x="129" y="136"/>
                  </a:cubicBezTo>
                  <a:cubicBezTo>
                    <a:pt x="126" y="156"/>
                    <a:pt x="114" y="169"/>
                    <a:pt x="100" y="177"/>
                  </a:cubicBezTo>
                  <a:cubicBezTo>
                    <a:pt x="94" y="180"/>
                    <a:pt x="88" y="182"/>
                    <a:pt x="83" y="184"/>
                  </a:cubicBezTo>
                  <a:cubicBezTo>
                    <a:pt x="81" y="187"/>
                    <a:pt x="79" y="191"/>
                    <a:pt x="77" y="196"/>
                  </a:cubicBezTo>
                  <a:cubicBezTo>
                    <a:pt x="183" y="196"/>
                    <a:pt x="183" y="196"/>
                    <a:pt x="183" y="196"/>
                  </a:cubicBezTo>
                  <a:cubicBezTo>
                    <a:pt x="183" y="184"/>
                    <a:pt x="183" y="184"/>
                    <a:pt x="183" y="184"/>
                  </a:cubicBezTo>
                  <a:cubicBezTo>
                    <a:pt x="173" y="184"/>
                    <a:pt x="173" y="184"/>
                    <a:pt x="173" y="184"/>
                  </a:cubicBezTo>
                  <a:lnTo>
                    <a:pt x="173" y="10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68" name="Group 67"/>
          <p:cNvGrpSpPr/>
          <p:nvPr/>
        </p:nvGrpSpPr>
        <p:grpSpPr>
          <a:xfrm>
            <a:off x="5183090" y="1047751"/>
            <a:ext cx="644624" cy="644624"/>
            <a:chOff x="5183089" y="1047750"/>
            <a:chExt cx="644624" cy="644624"/>
          </a:xfrm>
        </p:grpSpPr>
        <p:sp>
          <p:nvSpPr>
            <p:cNvPr id="69" name="Rechthoek 10"/>
            <p:cNvSpPr>
              <a:spLocks noChangeAspect="1"/>
            </p:cNvSpPr>
            <p:nvPr/>
          </p:nvSpPr>
          <p:spPr>
            <a:xfrm>
              <a:off x="5183089" y="1047750"/>
              <a:ext cx="644623" cy="6446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        </a:t>
              </a:r>
              <a:endParaRPr lang="en-GB" dirty="0"/>
            </a:p>
          </p:txBody>
        </p:sp>
        <p:pic>
          <p:nvPicPr>
            <p:cNvPr id="70" name="Afbeelding 1" descr="USEF outline wit.png"/>
            <p:cNvPicPr>
              <a:picLocks noChangeAspect="1"/>
            </p:cNvPicPr>
            <p:nvPr/>
          </p:nvPicPr>
          <p:blipFill rotWithShape="1">
            <a:blip r:embed="rId3">
              <a:extLst>
                <a:ext uri="{28A0092B-C50C-407E-A947-70E740481C1C}">
                  <a14:useLocalDpi xmlns:a14="http://schemas.microsoft.com/office/drawing/2010/main" val="0"/>
                </a:ext>
              </a:extLst>
            </a:blip>
            <a:srcRect r="23389" b="64315"/>
            <a:stretch/>
          </p:blipFill>
          <p:spPr>
            <a:xfrm>
              <a:off x="5250657" y="1078546"/>
              <a:ext cx="577056" cy="613828"/>
            </a:xfrm>
            <a:prstGeom prst="rect">
              <a:avLst/>
            </a:prstGeom>
          </p:spPr>
        </p:pic>
      </p:grpSp>
      <p:sp>
        <p:nvSpPr>
          <p:cNvPr id="2" name="Text Placeholder 1"/>
          <p:cNvSpPr>
            <a:spLocks noGrp="1"/>
          </p:cNvSpPr>
          <p:nvPr>
            <p:ph type="body" sz="quarter" idx="11"/>
          </p:nvPr>
        </p:nvSpPr>
        <p:spPr/>
        <p:txBody>
          <a:bodyPr/>
          <a:lstStyle/>
          <a:p>
            <a:r>
              <a:rPr lang="en-GB" dirty="0">
                <a:solidFill>
                  <a:schemeClr val="accent1"/>
                </a:solidFill>
              </a:rPr>
              <a:t>How working along one common standard enhances value </a:t>
            </a:r>
            <a:r>
              <a:rPr lang="en-GB" dirty="0" smtClean="0">
                <a:solidFill>
                  <a:schemeClr val="accent1"/>
                </a:solidFill>
              </a:rPr>
              <a:t>creation</a:t>
            </a:r>
            <a:endParaRPr lang="en-GB" dirty="0">
              <a:solidFill>
                <a:schemeClr val="accent1"/>
              </a:solidFill>
            </a:endParaRPr>
          </a:p>
        </p:txBody>
      </p:sp>
      <p:sp>
        <p:nvSpPr>
          <p:cNvPr id="72" name="Rechthoek 10"/>
          <p:cNvSpPr>
            <a:spLocks noChangeAspect="1"/>
          </p:cNvSpPr>
          <p:nvPr/>
        </p:nvSpPr>
        <p:spPr>
          <a:xfrm>
            <a:off x="3341695" y="1778099"/>
            <a:ext cx="1841401" cy="184140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73" name="Rechthoek 10"/>
          <p:cNvSpPr>
            <a:spLocks noChangeAspect="1"/>
          </p:cNvSpPr>
          <p:nvPr/>
        </p:nvSpPr>
        <p:spPr>
          <a:xfrm>
            <a:off x="265120" y="1778099"/>
            <a:ext cx="1841401" cy="184140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74" name="Rechthoek 10"/>
          <p:cNvSpPr>
            <a:spLocks noChangeAspect="1"/>
          </p:cNvSpPr>
          <p:nvPr/>
        </p:nvSpPr>
        <p:spPr>
          <a:xfrm>
            <a:off x="6418271" y="1778099"/>
            <a:ext cx="1841401" cy="184140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76" name="Freeform 75"/>
          <p:cNvSpPr/>
          <p:nvPr/>
        </p:nvSpPr>
        <p:spPr>
          <a:xfrm>
            <a:off x="1123951" y="3619500"/>
            <a:ext cx="2217738" cy="838200"/>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Lst>
            <a:ahLst/>
            <a:cxnLst>
              <a:cxn ang="0">
                <a:pos x="connsiteX0" y="connsiteY0"/>
              </a:cxn>
              <a:cxn ang="0">
                <a:pos x="connsiteX1" y="connsiteY1"/>
              </a:cxn>
              <a:cxn ang="0">
                <a:pos x="connsiteX2" y="connsiteY2"/>
              </a:cxn>
              <a:cxn ang="0">
                <a:pos x="connsiteX3" y="connsiteY3"/>
              </a:cxn>
            </a:cxnLst>
            <a:rect l="l" t="t" r="r" b="b"/>
            <a:pathLst>
              <a:path w="3438525" h="838200">
                <a:moveTo>
                  <a:pt x="3438525" y="838200"/>
                </a:moveTo>
                <a:lnTo>
                  <a:pt x="3438525" y="542925"/>
                </a:lnTo>
                <a:lnTo>
                  <a:pt x="0" y="542925"/>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sp>
        <p:nvSpPr>
          <p:cNvPr id="77" name="Freeform 76"/>
          <p:cNvSpPr/>
          <p:nvPr/>
        </p:nvSpPr>
        <p:spPr>
          <a:xfrm flipH="1">
            <a:off x="5183089" y="3619500"/>
            <a:ext cx="2155874" cy="838200"/>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Lst>
            <a:ahLst/>
            <a:cxnLst>
              <a:cxn ang="0">
                <a:pos x="connsiteX0" y="connsiteY0"/>
              </a:cxn>
              <a:cxn ang="0">
                <a:pos x="connsiteX1" y="connsiteY1"/>
              </a:cxn>
              <a:cxn ang="0">
                <a:pos x="connsiteX2" y="connsiteY2"/>
              </a:cxn>
              <a:cxn ang="0">
                <a:pos x="connsiteX3" y="connsiteY3"/>
              </a:cxn>
            </a:cxnLst>
            <a:rect l="l" t="t" r="r" b="b"/>
            <a:pathLst>
              <a:path w="3438525" h="838200">
                <a:moveTo>
                  <a:pt x="3438525" y="838200"/>
                </a:moveTo>
                <a:lnTo>
                  <a:pt x="3438525" y="542925"/>
                </a:lnTo>
                <a:lnTo>
                  <a:pt x="0" y="542925"/>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sp>
        <p:nvSpPr>
          <p:cNvPr id="78" name="Titel 7"/>
          <p:cNvSpPr txBox="1">
            <a:spLocks/>
          </p:cNvSpPr>
          <p:nvPr/>
        </p:nvSpPr>
        <p:spPr>
          <a:xfrm>
            <a:off x="350838" y="1809803"/>
            <a:ext cx="1561090" cy="640875"/>
          </a:xfrm>
          <a:prstGeom prst="rect">
            <a:avLst/>
          </a:prstGeom>
        </p:spPr>
        <p:txBody>
          <a:bodyPr lIns="0" tIns="34285" rIns="68563" bIns="34285"/>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flexibility value chain</a:t>
            </a:r>
          </a:p>
        </p:txBody>
      </p:sp>
      <p:sp>
        <p:nvSpPr>
          <p:cNvPr id="79" name="Titel 7"/>
          <p:cNvSpPr txBox="1">
            <a:spLocks/>
          </p:cNvSpPr>
          <p:nvPr/>
        </p:nvSpPr>
        <p:spPr>
          <a:xfrm>
            <a:off x="350841" y="2932445"/>
            <a:ext cx="1755677" cy="640875"/>
          </a:xfrm>
          <a:prstGeom prst="rect">
            <a:avLst/>
          </a:prstGeom>
        </p:spPr>
        <p:txBody>
          <a:bodyPr lIns="0" tIns="34285" rIns="68563" bIns="34285"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How flexibility is used today and will be used tomorrow</a:t>
            </a:r>
          </a:p>
        </p:txBody>
      </p:sp>
      <p:sp>
        <p:nvSpPr>
          <p:cNvPr id="80" name="Freeform 79"/>
          <p:cNvSpPr/>
          <p:nvPr/>
        </p:nvSpPr>
        <p:spPr>
          <a:xfrm>
            <a:off x="4262391" y="3619500"/>
            <a:ext cx="531285" cy="838200"/>
          </a:xfrm>
          <a:custGeom>
            <a:avLst/>
            <a:gdLst>
              <a:gd name="connsiteX0" fmla="*/ 3438525 w 3438525"/>
              <a:gd name="connsiteY0" fmla="*/ 838200 h 838200"/>
              <a:gd name="connsiteX1" fmla="*/ 3438525 w 3438525"/>
              <a:gd name="connsiteY1" fmla="*/ 542925 h 838200"/>
              <a:gd name="connsiteX2" fmla="*/ 0 w 3438525"/>
              <a:gd name="connsiteY2" fmla="*/ 542925 h 838200"/>
              <a:gd name="connsiteX3" fmla="*/ 0 w 3438525"/>
              <a:gd name="connsiteY3" fmla="*/ 0 h 838200"/>
            </a:gdLst>
            <a:ahLst/>
            <a:cxnLst>
              <a:cxn ang="0">
                <a:pos x="connsiteX0" y="connsiteY0"/>
              </a:cxn>
              <a:cxn ang="0">
                <a:pos x="connsiteX1" y="connsiteY1"/>
              </a:cxn>
              <a:cxn ang="0">
                <a:pos x="connsiteX2" y="connsiteY2"/>
              </a:cxn>
              <a:cxn ang="0">
                <a:pos x="connsiteX3" y="connsiteY3"/>
              </a:cxn>
            </a:cxnLst>
            <a:rect l="l" t="t" r="r" b="b"/>
            <a:pathLst>
              <a:path w="3438525" h="838200">
                <a:moveTo>
                  <a:pt x="3438525" y="838200"/>
                </a:moveTo>
                <a:lnTo>
                  <a:pt x="3438525" y="542925"/>
                </a:lnTo>
                <a:lnTo>
                  <a:pt x="0" y="542925"/>
                </a:lnTo>
                <a:lnTo>
                  <a:pt x="0" y="0"/>
                </a:ln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endParaRPr lang="en-GB" dirty="0">
              <a:solidFill>
                <a:schemeClr val="lt1"/>
              </a:solidFill>
            </a:endParaRPr>
          </a:p>
        </p:txBody>
      </p:sp>
      <p:sp>
        <p:nvSpPr>
          <p:cNvPr id="81" name="Titel 7"/>
          <p:cNvSpPr txBox="1">
            <a:spLocks/>
          </p:cNvSpPr>
          <p:nvPr/>
        </p:nvSpPr>
        <p:spPr>
          <a:xfrm>
            <a:off x="3419874" y="1809803"/>
            <a:ext cx="1561090" cy="640875"/>
          </a:xfrm>
          <a:prstGeom prst="rect">
            <a:avLst/>
          </a:prstGeom>
        </p:spPr>
        <p:txBody>
          <a:bodyPr lIns="0" tIns="34285" rIns="68563" bIns="34285"/>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framework</a:t>
            </a:r>
          </a:p>
        </p:txBody>
      </p:sp>
      <p:sp>
        <p:nvSpPr>
          <p:cNvPr id="82" name="Titel 7"/>
          <p:cNvSpPr txBox="1">
            <a:spLocks/>
          </p:cNvSpPr>
          <p:nvPr/>
        </p:nvSpPr>
        <p:spPr>
          <a:xfrm>
            <a:off x="3419878" y="2932445"/>
            <a:ext cx="1763215" cy="640875"/>
          </a:xfrm>
          <a:prstGeom prst="rect">
            <a:avLst/>
          </a:prstGeom>
        </p:spPr>
        <p:txBody>
          <a:bodyPr lIns="0" tIns="34285" rIns="68563" bIns="34285"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How USEF supports an optimal flexibility market</a:t>
            </a:r>
          </a:p>
        </p:txBody>
      </p:sp>
      <p:sp>
        <p:nvSpPr>
          <p:cNvPr id="83" name="Titel 7"/>
          <p:cNvSpPr txBox="1">
            <a:spLocks/>
          </p:cNvSpPr>
          <p:nvPr/>
        </p:nvSpPr>
        <p:spPr>
          <a:xfrm>
            <a:off x="6489450" y="1809803"/>
            <a:ext cx="1561090" cy="640875"/>
          </a:xfrm>
          <a:prstGeom prst="rect">
            <a:avLst/>
          </a:prstGeom>
        </p:spPr>
        <p:txBody>
          <a:bodyPr lIns="0" tIns="34285" rIns="68563" bIns="34285"/>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800" b="1" dirty="0">
                <a:solidFill>
                  <a:schemeClr val="bg1"/>
                </a:solidFill>
              </a:rPr>
              <a:t>The offer</a:t>
            </a:r>
          </a:p>
        </p:txBody>
      </p:sp>
      <p:sp>
        <p:nvSpPr>
          <p:cNvPr id="84" name="Titel 7"/>
          <p:cNvSpPr txBox="1">
            <a:spLocks/>
          </p:cNvSpPr>
          <p:nvPr/>
        </p:nvSpPr>
        <p:spPr>
          <a:xfrm>
            <a:off x="6489454" y="2932445"/>
            <a:ext cx="1770217" cy="640875"/>
          </a:xfrm>
          <a:prstGeom prst="rect">
            <a:avLst/>
          </a:prstGeom>
        </p:spPr>
        <p:txBody>
          <a:bodyPr lIns="0" tIns="34285" rIns="68563" bIns="34285" anchor="b" anchorCtr="0"/>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1400" dirty="0">
                <a:solidFill>
                  <a:schemeClr val="bg1"/>
                </a:solidFill>
              </a:rPr>
              <a:t>Access to </a:t>
            </a:r>
          </a:p>
          <a:p>
            <a:pPr algn="l"/>
            <a:r>
              <a:rPr lang="en-GB" sz="1400" dirty="0">
                <a:solidFill>
                  <a:schemeClr val="bg1"/>
                </a:solidFill>
              </a:rPr>
              <a:t>specifications, designs and implementation </a:t>
            </a:r>
          </a:p>
          <a:p>
            <a:pPr algn="l"/>
            <a:r>
              <a:rPr lang="en-GB" sz="1400" dirty="0">
                <a:solidFill>
                  <a:schemeClr val="bg1"/>
                </a:solidFill>
              </a:rPr>
              <a:t>guidelines</a:t>
            </a:r>
          </a:p>
        </p:txBody>
      </p:sp>
      <p:sp>
        <p:nvSpPr>
          <p:cNvPr id="85" name="Rechthoek 10"/>
          <p:cNvSpPr>
            <a:spLocks noChangeAspect="1"/>
          </p:cNvSpPr>
          <p:nvPr/>
        </p:nvSpPr>
        <p:spPr>
          <a:xfrm>
            <a:off x="265120" y="1778099"/>
            <a:ext cx="1841401" cy="1841401"/>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86" name="Rechthoek 10"/>
          <p:cNvSpPr>
            <a:spLocks noChangeAspect="1"/>
          </p:cNvSpPr>
          <p:nvPr/>
        </p:nvSpPr>
        <p:spPr>
          <a:xfrm>
            <a:off x="3341695" y="1778099"/>
            <a:ext cx="1841401" cy="1841401"/>
          </a:xfrm>
          <a:prstGeom prst="rect">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
        <p:nvSpPr>
          <p:cNvPr id="87" name="Rechthoek 10"/>
          <p:cNvSpPr>
            <a:spLocks noChangeAspect="1"/>
          </p:cNvSpPr>
          <p:nvPr/>
        </p:nvSpPr>
        <p:spPr>
          <a:xfrm>
            <a:off x="6418798" y="1778099"/>
            <a:ext cx="1841401" cy="1841401"/>
          </a:xfrm>
          <a:prstGeom prst="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91417" tIns="45709" rIns="91417" bIns="45709" rtlCol="0" anchor="ctr"/>
          <a:lstStyle/>
          <a:p>
            <a:pPr algn="ctr"/>
            <a:r>
              <a:rPr lang="en-GB" dirty="0" smtClean="0"/>
              <a:t>        </a:t>
            </a:r>
            <a:endParaRPr lang="en-GB" dirty="0"/>
          </a:p>
        </p:txBody>
      </p:sp>
    </p:spTree>
    <p:extLst>
      <p:ext uri="{BB962C8B-B14F-4D97-AF65-F5344CB8AC3E}">
        <p14:creationId xmlns:p14="http://schemas.microsoft.com/office/powerpoint/2010/main" val="117338327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lsUDSKGE06.9DHwpLuW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tPt1D8_LUqoaOmLLv2I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lsUDSKGE06.9DHwpLuWOQ"/>
</p:tagLst>
</file>

<file path=ppt/theme/theme1.xml><?xml version="1.0" encoding="utf-8"?>
<a:theme xmlns:a="http://schemas.openxmlformats.org/drawingml/2006/main" name="Office-thema">
  <a:themeElements>
    <a:clrScheme name="Custom 35">
      <a:dk1>
        <a:srgbClr val="197AA0"/>
      </a:dk1>
      <a:lt1>
        <a:sysClr val="window" lastClr="FFFFFF"/>
      </a:lt1>
      <a:dk2>
        <a:srgbClr val="E95120"/>
      </a:dk2>
      <a:lt2>
        <a:srgbClr val="EFE64E"/>
      </a:lt2>
      <a:accent1>
        <a:srgbClr val="197AA0"/>
      </a:accent1>
      <a:accent2>
        <a:srgbClr val="E95120"/>
      </a:accent2>
      <a:accent3>
        <a:srgbClr val="264054"/>
      </a:accent3>
      <a:accent4>
        <a:srgbClr val="6BA6C3"/>
      </a:accent4>
      <a:accent5>
        <a:srgbClr val="519A35"/>
      </a:accent5>
      <a:accent6>
        <a:srgbClr val="9EC525"/>
      </a:accent6>
      <a:hlink>
        <a:srgbClr val="0000FF"/>
      </a:hlink>
      <a:folHlink>
        <a:srgbClr val="800080"/>
      </a:folHlink>
    </a:clrScheme>
    <a:fontScheme name="Custom 4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Blank">
  <a:themeElements>
    <a:clrScheme name="DNV powerpoint">
      <a:dk1>
        <a:srgbClr val="333333"/>
      </a:dk1>
      <a:lt1>
        <a:srgbClr val="FFFFFF"/>
      </a:lt1>
      <a:dk2>
        <a:srgbClr val="0F204B"/>
      </a:dk2>
      <a:lt2>
        <a:srgbClr val="C8C8C8"/>
      </a:lt2>
      <a:accent1>
        <a:srgbClr val="99D6F0"/>
      </a:accent1>
      <a:accent2>
        <a:srgbClr val="3F9C35"/>
      </a:accent2>
      <a:accent3>
        <a:srgbClr val="003591"/>
      </a:accent3>
      <a:accent4>
        <a:srgbClr val="009FDA"/>
      </a:accent4>
      <a:accent5>
        <a:srgbClr val="66C5E9"/>
      </a:accent5>
      <a:accent6>
        <a:srgbClr val="FECB00"/>
      </a:accent6>
      <a:hlink>
        <a:srgbClr val="003591"/>
      </a:hlink>
      <a:folHlink>
        <a:srgbClr val="6E5091"/>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4"/>
          </a:solidFill>
        </a:ln>
      </a:spPr>
      <a:bodyPr rtlCol="0" anchor="ctr"/>
      <a:lstStyle>
        <a:defPPr algn="ctr">
          <a:lnSpc>
            <a:spcPct val="113000"/>
          </a:lnSpc>
          <a:spcBef>
            <a:spcPts val="600"/>
          </a:spcBef>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3000"/>
          </a:lnSpc>
          <a:spcBef>
            <a:spcPts val="600"/>
          </a:spcBef>
          <a:defRPr sz="1600" dirty="0" err="1" smtClean="0">
            <a:solidFill>
              <a:srgbClr val="333333"/>
            </a:solidFill>
          </a:defRPr>
        </a:defPPr>
      </a:lstStyle>
    </a:txDef>
  </a:objectDefaults>
  <a:extraClrSchemeLst/>
  <a:custClrLst>
    <a:custClr name="Sky blue">
      <a:srgbClr val="99D6F0"/>
    </a:custClr>
    <a:custClr name="Land green">
      <a:srgbClr val="3F9C35"/>
    </a:custClr>
    <a:custClr name="Sea Blue">
      <a:srgbClr val="003591"/>
    </a:custClr>
    <a:custClr name="Dark blue">
      <a:srgbClr val="0F204B"/>
    </a:custClr>
    <a:custClr name="White">
      <a:srgbClr val="FFFFFF"/>
    </a:custClr>
    <a:custClr name="Cyan">
      <a:srgbClr val="009FDA"/>
    </a:custClr>
    <a:custClr name="80 % Cyan">
      <a:srgbClr val="33B2E1"/>
    </a:custClr>
    <a:custClr name="60 % Cyan">
      <a:srgbClr val="66C5E9"/>
    </a:custClr>
    <a:custClr name="40 % Cyan">
      <a:srgbClr val="99D6F0"/>
    </a:custClr>
    <a:custClr name="20 % Cyan">
      <a:srgbClr val="CCECF8"/>
    </a:custClr>
    <a:custClr name="10 % Cyan">
      <a:srgbClr val="E5F5FB"/>
    </a:custClr>
    <a:custClr name="Black">
      <a:srgbClr val="000000"/>
    </a:custClr>
    <a:custClr name="80 % Black (Text)">
      <a:srgbClr val="333333"/>
    </a:custClr>
    <a:custClr name="60 % Black">
      <a:srgbClr val="666666"/>
    </a:custClr>
    <a:custClr name="40 % Black">
      <a:srgbClr val="999999"/>
    </a:custClr>
    <a:custClr name="20 % Black">
      <a:srgbClr val="CCCCCC"/>
    </a:custClr>
    <a:custClr name="10 % Black">
      <a:srgbClr val="E5E5E5"/>
    </a:custClr>
    <a:custClr name="Yellow">
      <a:srgbClr val="FECB00"/>
    </a:custClr>
    <a:custClr name="Orange">
      <a:srgbClr val="E98300"/>
    </a:custClr>
    <a:custClr name="Purple">
      <a:srgbClr val="6E5091"/>
    </a:custClr>
    <a:custClr name="Red">
      <a:srgbClr val="C4262E"/>
    </a:custClr>
    <a:custClr name="Warm grey">
      <a:srgbClr val="988F86"/>
    </a:custClr>
  </a:custClrLst>
  <a:extLst>
    <a:ext uri="{05A4C25C-085E-4340-85A3-A5531E510DB2}">
      <thm15:themeFamily xmlns:thm15="http://schemas.microsoft.com/office/thememl/2012/main" xmlns="" name="Blank.potx" id="{B8AE6F96-1862-4C7A-9FAD-9339A7213C6E}" vid="{0A4DC0B5-110A-4547-821D-6920FD2D16B2}"/>
    </a:ext>
  </a:extLst>
</a:theme>
</file>

<file path=ppt/theme/theme3.xml><?xml version="1.0" encoding="utf-8"?>
<a:theme xmlns:a="http://schemas.openxmlformats.org/drawingml/2006/main" name="1_Office-thema">
  <a:themeElements>
    <a:clrScheme name="Custom 35">
      <a:dk1>
        <a:srgbClr val="197AA0"/>
      </a:dk1>
      <a:lt1>
        <a:sysClr val="window" lastClr="FFFFFF"/>
      </a:lt1>
      <a:dk2>
        <a:srgbClr val="E95120"/>
      </a:dk2>
      <a:lt2>
        <a:srgbClr val="EFE64E"/>
      </a:lt2>
      <a:accent1>
        <a:srgbClr val="197AA0"/>
      </a:accent1>
      <a:accent2>
        <a:srgbClr val="E95120"/>
      </a:accent2>
      <a:accent3>
        <a:srgbClr val="264054"/>
      </a:accent3>
      <a:accent4>
        <a:srgbClr val="6BA6C3"/>
      </a:accent4>
      <a:accent5>
        <a:srgbClr val="519A35"/>
      </a:accent5>
      <a:accent6>
        <a:srgbClr val="9EC525"/>
      </a:accent6>
      <a:hlink>
        <a:srgbClr val="0000FF"/>
      </a:hlink>
      <a:folHlink>
        <a:srgbClr val="800080"/>
      </a:folHlink>
    </a:clrScheme>
    <a:fontScheme name="Custom 4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4.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DECFE416E926C14EBD8FCE6ACD0F388F" ma:contentTypeVersion="2" ma:contentTypeDescription="Create a new document." ma:contentTypeScope="" ma:versionID="7d82cf41e8b50f444d62c9cc2a9242d5">
  <xsd:schema xmlns:xsd="http://www.w3.org/2001/XMLSchema" xmlns:xs="http://www.w3.org/2001/XMLSchema" xmlns:p="http://schemas.microsoft.com/office/2006/metadata/properties" xmlns:ns1="http://schemas.microsoft.com/sharepoint/v3" xmlns:ns2="e4f1168d-fefe-4af1-8f81-938cd654b11e" targetNamespace="http://schemas.microsoft.com/office/2006/metadata/properties" ma:root="true" ma:fieldsID="edf7234ac356a750beced28e415b3c92" ns1:_="" ns2:_="">
    <xsd:import namespace="http://schemas.microsoft.com/sharepoint/v3"/>
    <xsd:import namespace="e4f1168d-fefe-4af1-8f81-938cd654b11e"/>
    <xsd:element name="properties">
      <xsd:complexType>
        <xsd:sequence>
          <xsd:element name="documentManagement">
            <xsd:complexType>
              <xsd:all>
                <xsd:element ref="ns2:_dlc_DocId" minOccurs="0"/>
                <xsd:element ref="ns2:_dlc_DocIdUrl" minOccurs="0"/>
                <xsd:element ref="ns2:_dlc_DocIdPersistId"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11" nillable="true" ma:displayName="Rating (0-5)" ma:decimals="2" ma:description="Average value of all the ratings that have been submitted" ma:internalName="AverageRating" ma:readOnly="true">
      <xsd:simpleType>
        <xsd:restriction base="dms:Number"/>
      </xsd:simpleType>
    </xsd:element>
    <xsd:element name="RatingCount" ma:index="12" nillable="true" ma:displayName="Number of Ratings" ma:decimals="0" ma:description="Number of ratings submitted"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e4f1168d-fefe-4af1-8f81-938cd654b11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e4f1168d-fefe-4af1-8f81-938cd654b11e">4KK5JWUDPN7F-8-105</_dlc_DocId>
    <_dlc_DocIdUrl xmlns="e4f1168d-fefe-4af1-8f81-938cd654b11e">
      <Url>https://meet.dnv.com/sites/USEF/_layouts/DocIdRedir.aspx?ID=4KK5JWUDPN7F-8-105</Url>
      <Description>4KK5JWUDPN7F-8-105</Description>
    </_dlc_DocIdUrl>
    <AverageRating xmlns="http://schemas.microsoft.com/sharepoint/v3" xsi:nil="true"/>
  </documentManagement>
</p:properties>
</file>

<file path=customXml/itemProps1.xml><?xml version="1.0" encoding="utf-8"?>
<ds:datastoreItem xmlns:ds="http://schemas.openxmlformats.org/officeDocument/2006/customXml" ds:itemID="{BEDB3801-4B40-4788-93C7-071D4347F5F7}">
  <ds:schemaRefs>
    <ds:schemaRef ds:uri="http://schemas.microsoft.com/sharepoint/v3/contenttype/forms"/>
  </ds:schemaRefs>
</ds:datastoreItem>
</file>

<file path=customXml/itemProps2.xml><?xml version="1.0" encoding="utf-8"?>
<ds:datastoreItem xmlns:ds="http://schemas.openxmlformats.org/officeDocument/2006/customXml" ds:itemID="{5349CEC3-87CE-4650-A1FA-1CF27188848A}">
  <ds:schemaRefs>
    <ds:schemaRef ds:uri="http://schemas.microsoft.com/sharepoint/events"/>
  </ds:schemaRefs>
</ds:datastoreItem>
</file>

<file path=customXml/itemProps3.xml><?xml version="1.0" encoding="utf-8"?>
<ds:datastoreItem xmlns:ds="http://schemas.openxmlformats.org/officeDocument/2006/customXml" ds:itemID="{FC67233B-68A8-474B-9FBF-E53DB17217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4f1168d-fefe-4af1-8f81-938cd654b1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315B3F2-0C59-43F9-84E7-86824AA39655}">
  <ds:schemaRefs>
    <ds:schemaRef ds:uri="http://schemas.microsoft.com/office/2006/documentManagement/types"/>
    <ds:schemaRef ds:uri="http://schemas.microsoft.com/office/infopath/2007/PartnerControls"/>
    <ds:schemaRef ds:uri="http://schemas.microsoft.com/sharepoint/v3"/>
    <ds:schemaRef ds:uri="http://purl.org/dc/elements/1.1/"/>
    <ds:schemaRef ds:uri="http://purl.org/dc/dcmitype/"/>
    <ds:schemaRef ds:uri="e4f1168d-fefe-4af1-8f81-938cd654b11e"/>
    <ds:schemaRef ds:uri="http://schemas.microsoft.com/office/2006/metadata/properties"/>
    <ds:schemaRef ds:uri="http://purl.org/dc/terms/"/>
    <ds:schemaRef ds:uri="http://www.w3.org/XML/1998/namespace"/>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0</TotalTime>
  <Words>1343</Words>
  <Application>Microsoft Office PowerPoint</Application>
  <PresentationFormat>Diavoorstelling (16:9)</PresentationFormat>
  <Paragraphs>329</Paragraphs>
  <Slides>28</Slides>
  <Notes>28</Notes>
  <HiddenSlides>0</HiddenSlides>
  <MMClips>0</MMClips>
  <ScaleCrop>false</ScaleCrop>
  <HeadingPairs>
    <vt:vector size="4" baseType="variant">
      <vt:variant>
        <vt:lpstr>Thema</vt:lpstr>
      </vt:variant>
      <vt:variant>
        <vt:i4>3</vt:i4>
      </vt:variant>
      <vt:variant>
        <vt:lpstr>Diatitels</vt:lpstr>
      </vt:variant>
      <vt:variant>
        <vt:i4>28</vt:i4>
      </vt:variant>
    </vt:vector>
  </HeadingPairs>
  <TitlesOfParts>
    <vt:vector size="31" baseType="lpstr">
      <vt:lpstr>Office-thema</vt:lpstr>
      <vt:lpstr>Blank</vt:lpstr>
      <vt:lpstr>1_Office-thema</vt:lpstr>
      <vt:lpstr>PowerPoint-presentatie</vt:lpstr>
      <vt:lpstr>PowerPoint-presentatie</vt:lpstr>
      <vt:lpstr>PowerPoint-presentatie</vt:lpstr>
      <vt:lpstr>PowerPoint-presentatie</vt:lpstr>
      <vt:lpstr>PowerPoint-presentatie</vt:lpstr>
      <vt:lpstr>The flexibility and the wholesale market should be connected to create a solution that benefits the entire system and that keeps the societal costs low. </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Campagn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Eu Utility Week 2014</dc:title>
  <dc:creator>Eyeful Presentations</dc:creator>
  <cp:lastModifiedBy>Balster-Hofs, Karin</cp:lastModifiedBy>
  <cp:revision>683</cp:revision>
  <cp:lastPrinted>2016-01-18T16:24:44Z</cp:lastPrinted>
  <dcterms:created xsi:type="dcterms:W3CDTF">2014-04-22T10:08:50Z</dcterms:created>
  <dcterms:modified xsi:type="dcterms:W3CDTF">2016-02-22T13:2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CFE416E926C14EBD8FCE6ACD0F388F</vt:lpwstr>
  </property>
  <property fmtid="{D5CDD505-2E9C-101B-9397-08002B2CF9AE}" pid="3" name="_dlc_DocIdItemGuid">
    <vt:lpwstr>39b5397f-cac6-4f44-87be-8e4bfe945393</vt:lpwstr>
  </property>
  <property fmtid="{D5CDD505-2E9C-101B-9397-08002B2CF9AE}" pid="4" name="SD_DocumentLanguage">
    <vt:lpwstr>en-GB</vt:lpwstr>
  </property>
  <property fmtid="{D5CDD505-2E9C-101B-9397-08002B2CF9AE}" pid="5" name="SD_DocumentLanguageString">
    <vt:lpwstr>English (United Kingdom)</vt:lpwstr>
  </property>
  <property fmtid="{D5CDD505-2E9C-101B-9397-08002B2CF9AE}" pid="6" name="SD_CtlText_BusinessAreaName">
    <vt:lpwstr/>
  </property>
  <property fmtid="{D5CDD505-2E9C-101B-9397-08002B2CF9AE}" pid="7" name="SD_CtlText_DocumentNumber">
    <vt:lpwstr/>
  </property>
  <property fmtid="{D5CDD505-2E9C-101B-9397-08002B2CF9AE}" pid="8" name="sdDocumentDate">
    <vt:lpwstr>42388</vt:lpwstr>
  </property>
  <property fmtid="{D5CDD505-2E9C-101B-9397-08002B2CF9AE}" pid="9" name="sdDocumentDateFormat">
    <vt:lpwstr>en-GB:dd MMMM yyyy</vt:lpwstr>
  </property>
  <property fmtid="{D5CDD505-2E9C-101B-9397-08002B2CF9AE}" pid="10" name="SD_CtlText_AuthorName">
    <vt:lpwstr/>
  </property>
  <property fmtid="{D5CDD505-2E9C-101B-9397-08002B2CF9AE}" pid="11" name="SD_CtlText_Confidentiality">
    <vt:lpwstr>Ungraded</vt:lpwstr>
  </property>
  <property fmtid="{D5CDD505-2E9C-101B-9397-08002B2CF9AE}" pid="12" name="SD_UserprofileName">
    <vt:lpwstr/>
  </property>
  <property fmtid="{D5CDD505-2E9C-101B-9397-08002B2CF9AE}" pid="13" name="DocumentInfoFinished">
    <vt:lpwstr>True</vt:lpwstr>
  </property>
</Properties>
</file>